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2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38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72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47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67" r:id="rId4"/>
    <p:sldMasterId id="2147493472" r:id="rId5"/>
  </p:sldMasterIdLst>
  <p:notesMasterIdLst>
    <p:notesMasterId r:id="rId15"/>
  </p:notesMasterIdLst>
  <p:handoutMasterIdLst>
    <p:handoutMasterId r:id="rId16"/>
  </p:handoutMasterIdLst>
  <p:sldIdLst>
    <p:sldId id="645" r:id="rId6"/>
    <p:sldId id="650" r:id="rId7"/>
    <p:sldId id="771" r:id="rId8"/>
    <p:sldId id="818" r:id="rId9"/>
    <p:sldId id="816" r:id="rId10"/>
    <p:sldId id="808" r:id="rId11"/>
    <p:sldId id="819" r:id="rId12"/>
    <p:sldId id="820" r:id="rId13"/>
    <p:sldId id="548" r:id="rId14"/>
  </p:sldIdLst>
  <p:sldSz cx="13444538" cy="7562850"/>
  <p:notesSz cx="6858000" cy="9144000"/>
  <p:defaultTextStyle>
    <a:defPPr>
      <a:defRPr lang="en-US"/>
    </a:defPPr>
    <a:lvl1pPr marL="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 userDrawn="1">
          <p15:clr>
            <a:srgbClr val="A4A3A4"/>
          </p15:clr>
        </p15:guide>
        <p15:guide id="2" pos="8114" userDrawn="1">
          <p15:clr>
            <a:srgbClr val="A4A3A4"/>
          </p15:clr>
        </p15:guide>
        <p15:guide id="3" pos="355" userDrawn="1">
          <p15:clr>
            <a:srgbClr val="A4A3A4"/>
          </p15:clr>
        </p15:guide>
        <p15:guide id="4" pos="42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6B082"/>
    <a:srgbClr val="3BACE2"/>
    <a:srgbClr val="00FFF4"/>
    <a:srgbClr val="A7A5A8"/>
    <a:srgbClr val="23A09A"/>
    <a:srgbClr val="00EFE6"/>
    <a:srgbClr val="D12150"/>
    <a:srgbClr val="FA1100"/>
    <a:srgbClr val="4364B8"/>
    <a:srgbClr val="F6C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08" autoAdjust="0"/>
    <p:restoredTop sz="98925" autoAdjust="0"/>
  </p:normalViewPr>
  <p:slideViewPr>
    <p:cSldViewPr snapToGrid="0" snapToObjects="1">
      <p:cViewPr>
        <p:scale>
          <a:sx n="110" d="100"/>
          <a:sy n="110" d="100"/>
        </p:scale>
        <p:origin x="1344" y="896"/>
      </p:cViewPr>
      <p:guideLst>
        <p:guide orient="horz" pos="2382"/>
        <p:guide pos="8114"/>
        <p:guide pos="355"/>
        <p:guide pos="42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notesViewPr>
    <p:cSldViewPr snapToGrid="0" snapToObjects="1">
      <p:cViewPr varScale="1">
        <p:scale>
          <a:sx n="120" d="100"/>
          <a:sy n="120" d="100"/>
        </p:scale>
        <p:origin x="268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004FDB-7C91-F248-B6CC-9454F5D99CE8}" type="datetime1">
              <a:rPr lang="it-IT" smtClean="0"/>
              <a:t>13/12/21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F7AEE4-C2E2-6948-9CCE-802B5CEC6B3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195372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FC3341-9666-804C-8029-05A2A4C41047}" type="datetime1">
              <a:rPr lang="it-IT" smtClean="0"/>
              <a:t>13/12/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46B83C-F344-5446-A575-C1C3FAEA659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14800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521437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slideMaster" Target="../slideMasters/slideMaster1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www.craqdesignstudio.it" TargetMode="External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www.craqdesignstudio.it" TargetMode="External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www.craqdesignstudio.it" TargetMode="Externa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://www.craqdesignstudio.it" TargetMode="External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www.craqdesignstudio.it" TargetMode="External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9" y="2225675"/>
            <a:ext cx="5767215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546709" y="3357568"/>
            <a:ext cx="5767215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22"/>
          </p:nvPr>
        </p:nvSpPr>
        <p:spPr>
          <a:xfrm>
            <a:off x="7004817" y="3357568"/>
            <a:ext cx="5854654" cy="334803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96503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655084" y="1942564"/>
            <a:ext cx="10204388" cy="34273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2632098" y="1195206"/>
            <a:ext cx="10526568" cy="641258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40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22"/>
          </p:nvPr>
        </p:nvSpPr>
        <p:spPr>
          <a:xfrm>
            <a:off x="4849760" y="3344012"/>
            <a:ext cx="8009712" cy="16389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buNone/>
              <a:defRPr sz="12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23"/>
          </p:nvPr>
        </p:nvSpPr>
        <p:spPr>
          <a:xfrm>
            <a:off x="574005" y="1012508"/>
            <a:ext cx="1797131" cy="14287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cxnSp>
        <p:nvCxnSpPr>
          <p:cNvPr id="14" name="Straight Connector 12"/>
          <p:cNvCxnSpPr/>
          <p:nvPr userDrawn="1"/>
        </p:nvCxnSpPr>
        <p:spPr>
          <a:xfrm flipV="1">
            <a:off x="4443607" y="2759264"/>
            <a:ext cx="0" cy="3946336"/>
          </a:xfrm>
          <a:prstGeom prst="line">
            <a:avLst/>
          </a:prstGeom>
          <a:ln w="285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4007" y="3012444"/>
            <a:ext cx="588041" cy="46750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25"/>
          </p:nvPr>
        </p:nvSpPr>
        <p:spPr>
          <a:xfrm>
            <a:off x="1356450" y="3018041"/>
            <a:ext cx="2677336" cy="461905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1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574007" y="3670282"/>
            <a:ext cx="588041" cy="46750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2" name="Segnaposto testo 3"/>
          <p:cNvSpPr>
            <a:spLocks noGrp="1"/>
          </p:cNvSpPr>
          <p:nvPr>
            <p:ph type="body" sz="quarter" idx="27"/>
          </p:nvPr>
        </p:nvSpPr>
        <p:spPr>
          <a:xfrm>
            <a:off x="1356450" y="3675874"/>
            <a:ext cx="2677336" cy="461905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3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574007" y="4318983"/>
            <a:ext cx="588041" cy="46750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4" name="Segnaposto testo 3"/>
          <p:cNvSpPr>
            <a:spLocks noGrp="1"/>
          </p:cNvSpPr>
          <p:nvPr>
            <p:ph type="body" sz="quarter" idx="29"/>
          </p:nvPr>
        </p:nvSpPr>
        <p:spPr>
          <a:xfrm>
            <a:off x="1356450" y="4324580"/>
            <a:ext cx="2677336" cy="461905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immagine 2"/>
          <p:cNvSpPr>
            <a:spLocks noGrp="1"/>
          </p:cNvSpPr>
          <p:nvPr>
            <p:ph type="pic" sz="quarter" idx="30"/>
          </p:nvPr>
        </p:nvSpPr>
        <p:spPr>
          <a:xfrm>
            <a:off x="574007" y="4983011"/>
            <a:ext cx="588041" cy="467503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31"/>
          </p:nvPr>
        </p:nvSpPr>
        <p:spPr>
          <a:xfrm>
            <a:off x="1356450" y="4988608"/>
            <a:ext cx="2677336" cy="461905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3"/>
          <p:cNvSpPr>
            <a:spLocks noGrp="1"/>
          </p:cNvSpPr>
          <p:nvPr>
            <p:ph type="body" sz="quarter" idx="32"/>
          </p:nvPr>
        </p:nvSpPr>
        <p:spPr>
          <a:xfrm>
            <a:off x="447585" y="6003610"/>
            <a:ext cx="3586203" cy="46190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8" name="Segnaposto testo 3"/>
          <p:cNvSpPr>
            <a:spLocks noGrp="1"/>
          </p:cNvSpPr>
          <p:nvPr>
            <p:ph type="body" sz="quarter" idx="33"/>
          </p:nvPr>
        </p:nvSpPr>
        <p:spPr>
          <a:xfrm>
            <a:off x="4849760" y="2893658"/>
            <a:ext cx="8009712" cy="395532"/>
          </a:xfrm>
          <a:prstGeom prst="rect">
            <a:avLst/>
          </a:prstGeom>
        </p:spPr>
        <p:txBody>
          <a:bodyPr vert="horz" anchor="t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0" name="5-Point Star 28"/>
          <p:cNvSpPr/>
          <p:nvPr userDrawn="1"/>
        </p:nvSpPr>
        <p:spPr>
          <a:xfrm>
            <a:off x="7193110" y="5287188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2" name="5-Point Star 51"/>
          <p:cNvSpPr/>
          <p:nvPr userDrawn="1"/>
        </p:nvSpPr>
        <p:spPr>
          <a:xfrm>
            <a:off x="7604608" y="5287188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3" name="5-Point Star 52"/>
          <p:cNvSpPr/>
          <p:nvPr userDrawn="1"/>
        </p:nvSpPr>
        <p:spPr>
          <a:xfrm>
            <a:off x="8016107" y="5287188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4" name="5-Point Star 53"/>
          <p:cNvSpPr/>
          <p:nvPr userDrawn="1"/>
        </p:nvSpPr>
        <p:spPr>
          <a:xfrm>
            <a:off x="8427609" y="5287188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5" name="5-Point Star 54"/>
          <p:cNvSpPr/>
          <p:nvPr userDrawn="1"/>
        </p:nvSpPr>
        <p:spPr>
          <a:xfrm>
            <a:off x="8839111" y="5287188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6" name="Segnaposto testo 3"/>
          <p:cNvSpPr>
            <a:spLocks noGrp="1"/>
          </p:cNvSpPr>
          <p:nvPr>
            <p:ph type="body" sz="quarter" idx="34"/>
          </p:nvPr>
        </p:nvSpPr>
        <p:spPr>
          <a:xfrm>
            <a:off x="4849760" y="5189609"/>
            <a:ext cx="2114566" cy="41215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7" name="5-Point Star 28"/>
          <p:cNvSpPr/>
          <p:nvPr userDrawn="1"/>
        </p:nvSpPr>
        <p:spPr>
          <a:xfrm>
            <a:off x="7193110" y="6278850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8" name="5-Point Star 51"/>
          <p:cNvSpPr/>
          <p:nvPr userDrawn="1"/>
        </p:nvSpPr>
        <p:spPr>
          <a:xfrm>
            <a:off x="7604608" y="6278850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39" name="5-Point Star 52"/>
          <p:cNvSpPr/>
          <p:nvPr userDrawn="1"/>
        </p:nvSpPr>
        <p:spPr>
          <a:xfrm>
            <a:off x="8016107" y="6278850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0" name="5-Point Star 53"/>
          <p:cNvSpPr/>
          <p:nvPr userDrawn="1"/>
        </p:nvSpPr>
        <p:spPr>
          <a:xfrm>
            <a:off x="8427609" y="6278850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1" name="5-Point Star 54"/>
          <p:cNvSpPr/>
          <p:nvPr userDrawn="1"/>
        </p:nvSpPr>
        <p:spPr>
          <a:xfrm>
            <a:off x="8839111" y="6278850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2" name="Segnaposto testo 3"/>
          <p:cNvSpPr>
            <a:spLocks noGrp="1"/>
          </p:cNvSpPr>
          <p:nvPr>
            <p:ph type="body" sz="quarter" idx="35"/>
          </p:nvPr>
        </p:nvSpPr>
        <p:spPr>
          <a:xfrm>
            <a:off x="4849760" y="6181271"/>
            <a:ext cx="2114566" cy="41215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3" name="5-Point Star 28"/>
          <p:cNvSpPr/>
          <p:nvPr userDrawn="1"/>
        </p:nvSpPr>
        <p:spPr>
          <a:xfrm>
            <a:off x="7193110" y="5785472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4" name="5-Point Star 51"/>
          <p:cNvSpPr/>
          <p:nvPr userDrawn="1"/>
        </p:nvSpPr>
        <p:spPr>
          <a:xfrm>
            <a:off x="7604608" y="5785472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5" name="5-Point Star 52"/>
          <p:cNvSpPr/>
          <p:nvPr userDrawn="1"/>
        </p:nvSpPr>
        <p:spPr>
          <a:xfrm>
            <a:off x="8016107" y="5785472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6" name="5-Point Star 53"/>
          <p:cNvSpPr/>
          <p:nvPr userDrawn="1"/>
        </p:nvSpPr>
        <p:spPr>
          <a:xfrm>
            <a:off x="8427609" y="5785472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7" name="5-Point Star 54"/>
          <p:cNvSpPr/>
          <p:nvPr userDrawn="1"/>
        </p:nvSpPr>
        <p:spPr>
          <a:xfrm>
            <a:off x="8839111" y="5785472"/>
            <a:ext cx="279152" cy="221931"/>
          </a:xfrm>
          <a:prstGeom prst="star5">
            <a:avLst>
              <a:gd name="adj" fmla="val 26796"/>
              <a:gd name="hf" fmla="val 105146"/>
              <a:gd name="vf" fmla="val 110557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100"/>
          </a:p>
        </p:txBody>
      </p:sp>
      <p:sp>
        <p:nvSpPr>
          <p:cNvPr id="48" name="Segnaposto testo 3"/>
          <p:cNvSpPr>
            <a:spLocks noGrp="1"/>
          </p:cNvSpPr>
          <p:nvPr>
            <p:ph type="body" sz="quarter" idx="36"/>
          </p:nvPr>
        </p:nvSpPr>
        <p:spPr>
          <a:xfrm>
            <a:off x="4849760" y="5687893"/>
            <a:ext cx="2114566" cy="41215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4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7860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8" y="2225675"/>
            <a:ext cx="8035592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9"/>
          </p:nvPr>
        </p:nvSpPr>
        <p:spPr>
          <a:xfrm>
            <a:off x="9010498" y="2225675"/>
            <a:ext cx="384897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5" y="3357568"/>
            <a:ext cx="8035593" cy="334803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Text Placeholder 1"/>
          <p:cNvSpPr txBox="1">
            <a:spLocks/>
          </p:cNvSpPr>
          <p:nvPr userDrawn="1"/>
        </p:nvSpPr>
        <p:spPr>
          <a:xfrm>
            <a:off x="9010468" y="5679758"/>
            <a:ext cx="3049317" cy="348793"/>
          </a:xfrm>
          <a:prstGeom prst="rect">
            <a:avLst/>
          </a:prstGeom>
        </p:spPr>
        <p:txBody>
          <a:bodyPr vert="horz" lIns="0" tIns="0" rIns="0" bIns="0" anchor="b"/>
          <a:lstStyle>
            <a:defPPr>
              <a:defRPr lang="en-US"/>
            </a:defPPr>
            <a:lvl1pPr marL="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437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287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31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574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18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8620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056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1493" algn="l" defTabSz="521437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b="1" spc="300" dirty="0">
                <a:solidFill>
                  <a:schemeClr val="accent1"/>
                </a:solidFill>
              </a:rPr>
              <a:t>€ € € </a:t>
            </a:r>
            <a:r>
              <a:rPr lang="en-US" sz="2100" b="1" spc="300" dirty="0">
                <a:solidFill>
                  <a:schemeClr val="bg1">
                    <a:lumMod val="50000"/>
                  </a:schemeClr>
                </a:solidFill>
              </a:rPr>
              <a:t>€ €</a:t>
            </a:r>
          </a:p>
        </p:txBody>
      </p:sp>
      <p:grpSp>
        <p:nvGrpSpPr>
          <p:cNvPr id="15" name="Group 83"/>
          <p:cNvGrpSpPr/>
          <p:nvPr userDrawn="1"/>
        </p:nvGrpSpPr>
        <p:grpSpPr>
          <a:xfrm>
            <a:off x="8996217" y="3861075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17" name="Oval 84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18" name="Triangle 85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19" name="Group 86"/>
          <p:cNvGrpSpPr/>
          <p:nvPr userDrawn="1"/>
        </p:nvGrpSpPr>
        <p:grpSpPr>
          <a:xfrm>
            <a:off x="9411559" y="3861075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20" name="Oval 87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21" name="Triangle 88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22" name="Group 89"/>
          <p:cNvGrpSpPr/>
          <p:nvPr userDrawn="1"/>
        </p:nvGrpSpPr>
        <p:grpSpPr>
          <a:xfrm>
            <a:off x="9823059" y="3861075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23" name="Oval 90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24" name="Triangle 91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2" name="Gruppo 1"/>
          <p:cNvGrpSpPr/>
          <p:nvPr userDrawn="1"/>
        </p:nvGrpSpPr>
        <p:grpSpPr>
          <a:xfrm>
            <a:off x="10234559" y="3861075"/>
            <a:ext cx="240790" cy="177800"/>
            <a:chOff x="8136650" y="3861075"/>
            <a:chExt cx="191432" cy="177800"/>
          </a:xfrm>
          <a:solidFill>
            <a:srgbClr val="7F7F7F"/>
          </a:solidFill>
        </p:grpSpPr>
        <p:sp>
          <p:nvSpPr>
            <p:cNvPr id="26" name="Oval 93"/>
            <p:cNvSpPr/>
            <p:nvPr userDrawn="1"/>
          </p:nvSpPr>
          <p:spPr>
            <a:xfrm>
              <a:off x="8136650" y="3861075"/>
              <a:ext cx="177800" cy="17780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27" name="Triangle 94"/>
            <p:cNvSpPr/>
            <p:nvPr userDrawn="1"/>
          </p:nvSpPr>
          <p:spPr>
            <a:xfrm rot="351291">
              <a:off x="8259333" y="3958936"/>
              <a:ext cx="68749" cy="59267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28" name="Group 95"/>
          <p:cNvGrpSpPr/>
          <p:nvPr userDrawn="1"/>
        </p:nvGrpSpPr>
        <p:grpSpPr>
          <a:xfrm>
            <a:off x="10642700" y="3861075"/>
            <a:ext cx="240790" cy="177800"/>
            <a:chOff x="6492875" y="3724275"/>
            <a:chExt cx="338424" cy="314325"/>
          </a:xfrm>
          <a:solidFill>
            <a:srgbClr val="7F7F7F"/>
          </a:solidFill>
        </p:grpSpPr>
        <p:sp>
          <p:nvSpPr>
            <p:cNvPr id="29" name="Oval 96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30" name="Triangle 97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sp>
        <p:nvSpPr>
          <p:cNvPr id="46" name="Segnaposto testo 6"/>
          <p:cNvSpPr>
            <a:spLocks noGrp="1"/>
          </p:cNvSpPr>
          <p:nvPr userDrawn="1">
            <p:ph type="body" sz="quarter" idx="25"/>
          </p:nvPr>
        </p:nvSpPr>
        <p:spPr>
          <a:xfrm>
            <a:off x="9010465" y="3342321"/>
            <a:ext cx="3848974" cy="368842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grpSp>
        <p:nvGrpSpPr>
          <p:cNvPr id="47" name="Group 83"/>
          <p:cNvGrpSpPr/>
          <p:nvPr userDrawn="1"/>
        </p:nvGrpSpPr>
        <p:grpSpPr>
          <a:xfrm>
            <a:off x="8996217" y="4774736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48" name="Oval 84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49" name="Triangle 85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50" name="Group 86"/>
          <p:cNvGrpSpPr/>
          <p:nvPr userDrawn="1"/>
        </p:nvGrpSpPr>
        <p:grpSpPr>
          <a:xfrm>
            <a:off x="9411559" y="4774736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51" name="Oval 87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52" name="Triangle 88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53" name="Group 89"/>
          <p:cNvGrpSpPr/>
          <p:nvPr userDrawn="1"/>
        </p:nvGrpSpPr>
        <p:grpSpPr>
          <a:xfrm>
            <a:off x="9823059" y="4774736"/>
            <a:ext cx="240790" cy="177800"/>
            <a:chOff x="6492875" y="3724275"/>
            <a:chExt cx="338424" cy="314325"/>
          </a:xfrm>
          <a:solidFill>
            <a:schemeClr val="accent1"/>
          </a:solidFill>
        </p:grpSpPr>
        <p:sp>
          <p:nvSpPr>
            <p:cNvPr id="54" name="Oval 90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55" name="Triangle 91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56" name="Group 92"/>
          <p:cNvGrpSpPr/>
          <p:nvPr userDrawn="1"/>
        </p:nvGrpSpPr>
        <p:grpSpPr>
          <a:xfrm>
            <a:off x="10234559" y="4774736"/>
            <a:ext cx="240790" cy="177800"/>
            <a:chOff x="6492875" y="3724275"/>
            <a:chExt cx="338424" cy="314325"/>
          </a:xfrm>
          <a:solidFill>
            <a:srgbClr val="7F7F7F"/>
          </a:solidFill>
        </p:grpSpPr>
        <p:sp>
          <p:nvSpPr>
            <p:cNvPr id="57" name="Oval 93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58" name="Triangle 94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grpSp>
        <p:nvGrpSpPr>
          <p:cNvPr id="59" name="Group 95"/>
          <p:cNvGrpSpPr/>
          <p:nvPr userDrawn="1"/>
        </p:nvGrpSpPr>
        <p:grpSpPr>
          <a:xfrm>
            <a:off x="10642700" y="4774736"/>
            <a:ext cx="240790" cy="177800"/>
            <a:chOff x="6492875" y="3724275"/>
            <a:chExt cx="338424" cy="314325"/>
          </a:xfrm>
          <a:solidFill>
            <a:srgbClr val="7F7F7F"/>
          </a:solidFill>
        </p:grpSpPr>
        <p:sp>
          <p:nvSpPr>
            <p:cNvPr id="60" name="Oval 96"/>
            <p:cNvSpPr/>
            <p:nvPr userDrawn="1"/>
          </p:nvSpPr>
          <p:spPr>
            <a:xfrm>
              <a:off x="6492875" y="3724275"/>
              <a:ext cx="314325" cy="314325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  <p:sp>
          <p:nvSpPr>
            <p:cNvPr id="61" name="Triangle 97"/>
            <p:cNvSpPr/>
            <p:nvPr userDrawn="1"/>
          </p:nvSpPr>
          <p:spPr>
            <a:xfrm rot="351291">
              <a:off x="6709760" y="3897279"/>
              <a:ext cx="121539" cy="104775"/>
            </a:xfrm>
            <a:prstGeom prst="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437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287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31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574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18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8620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056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1493" algn="l" defTabSz="521437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100"/>
            </a:p>
          </p:txBody>
        </p:sp>
      </p:grpSp>
      <p:sp>
        <p:nvSpPr>
          <p:cNvPr id="62" name="Segnaposto testo 6"/>
          <p:cNvSpPr>
            <a:spLocks noGrp="1"/>
          </p:cNvSpPr>
          <p:nvPr userDrawn="1">
            <p:ph type="body" sz="quarter" idx="26"/>
          </p:nvPr>
        </p:nvSpPr>
        <p:spPr>
          <a:xfrm>
            <a:off x="9010465" y="4255982"/>
            <a:ext cx="3848974" cy="368842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3" name="Segnaposto testo 6"/>
          <p:cNvSpPr>
            <a:spLocks noGrp="1"/>
          </p:cNvSpPr>
          <p:nvPr userDrawn="1">
            <p:ph type="body" sz="quarter" idx="27"/>
          </p:nvPr>
        </p:nvSpPr>
        <p:spPr>
          <a:xfrm>
            <a:off x="9010465" y="5178783"/>
            <a:ext cx="3848974" cy="368842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solidFill>
                  <a:srgbClr val="706F6F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40" name="Segnaposto testo 10"/>
          <p:cNvSpPr>
            <a:spLocks noGrp="1"/>
          </p:cNvSpPr>
          <p:nvPr userDrawn="1"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7241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22"/>
          </p:nvPr>
        </p:nvSpPr>
        <p:spPr>
          <a:xfrm>
            <a:off x="4864905" y="3895152"/>
            <a:ext cx="3717394" cy="2810448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42" indent="-171442" algn="l">
              <a:lnSpc>
                <a:spcPct val="15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85066" y="3895152"/>
            <a:ext cx="3714072" cy="2810448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 algn="l">
              <a:lnSpc>
                <a:spcPct val="15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1251764" y="2795791"/>
            <a:ext cx="12192774" cy="0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egnaposto immagine 4"/>
          <p:cNvSpPr>
            <a:spLocks noGrp="1" noChangeAspect="1"/>
          </p:cNvSpPr>
          <p:nvPr>
            <p:ph type="pic" sz="quarter" idx="25"/>
          </p:nvPr>
        </p:nvSpPr>
        <p:spPr>
          <a:xfrm>
            <a:off x="585066" y="2165796"/>
            <a:ext cx="1584870" cy="125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9" name="Segnaposto immagine 4"/>
          <p:cNvSpPr>
            <a:spLocks noGrp="1" noChangeAspect="1"/>
          </p:cNvSpPr>
          <p:nvPr>
            <p:ph type="pic" sz="quarter" idx="26"/>
          </p:nvPr>
        </p:nvSpPr>
        <p:spPr>
          <a:xfrm>
            <a:off x="4864906" y="2165796"/>
            <a:ext cx="1584870" cy="125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0" name="Segnaposto immagine 4"/>
          <p:cNvSpPr>
            <a:spLocks noGrp="1" noChangeAspect="1"/>
          </p:cNvSpPr>
          <p:nvPr>
            <p:ph type="pic" sz="quarter" idx="27"/>
          </p:nvPr>
        </p:nvSpPr>
        <p:spPr>
          <a:xfrm>
            <a:off x="9144747" y="2165796"/>
            <a:ext cx="1584870" cy="125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0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5"/>
          <p:cNvSpPr>
            <a:spLocks noGrp="1"/>
          </p:cNvSpPr>
          <p:nvPr>
            <p:ph type="body" sz="quarter" idx="28"/>
          </p:nvPr>
        </p:nvSpPr>
        <p:spPr>
          <a:xfrm>
            <a:off x="9142077" y="3895152"/>
            <a:ext cx="3717394" cy="2810448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42" indent="-171442" algn="l">
              <a:lnSpc>
                <a:spcPct val="15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168073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22"/>
          </p:nvPr>
        </p:nvSpPr>
        <p:spPr>
          <a:xfrm>
            <a:off x="3838640" y="3705606"/>
            <a:ext cx="2573860" cy="2999994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42" indent="-171442" algn="l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85067" y="3705611"/>
            <a:ext cx="2581141" cy="3023999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1251764" y="2701019"/>
            <a:ext cx="12192774" cy="0"/>
          </a:xfrm>
          <a:prstGeom prst="line">
            <a:avLst/>
          </a:prstGeom>
          <a:ln w="12700">
            <a:solidFill>
              <a:srgbClr val="00A99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egnaposto immagine 4"/>
          <p:cNvSpPr>
            <a:spLocks noGrp="1" noChangeAspect="1"/>
          </p:cNvSpPr>
          <p:nvPr>
            <p:ph type="pic" sz="quarter" idx="25"/>
          </p:nvPr>
        </p:nvSpPr>
        <p:spPr>
          <a:xfrm>
            <a:off x="585066" y="2165796"/>
            <a:ext cx="1358460" cy="107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4"/>
          <p:cNvSpPr>
            <a:spLocks noGrp="1" noChangeAspect="1"/>
          </p:cNvSpPr>
          <p:nvPr>
            <p:ph type="pic" sz="quarter" idx="26"/>
          </p:nvPr>
        </p:nvSpPr>
        <p:spPr>
          <a:xfrm>
            <a:off x="3838641" y="2165796"/>
            <a:ext cx="1358460" cy="107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7" name="Segnaposto testo 5"/>
          <p:cNvSpPr>
            <a:spLocks noGrp="1"/>
          </p:cNvSpPr>
          <p:nvPr>
            <p:ph type="body" sz="quarter" idx="27"/>
          </p:nvPr>
        </p:nvSpPr>
        <p:spPr>
          <a:xfrm>
            <a:off x="10285613" y="3705606"/>
            <a:ext cx="2573860" cy="2999994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42" indent="-171442" algn="l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8" name="Segnaposto immagine 4"/>
          <p:cNvSpPr>
            <a:spLocks noGrp="1" noChangeAspect="1"/>
          </p:cNvSpPr>
          <p:nvPr>
            <p:ph type="pic" sz="quarter" idx="28"/>
          </p:nvPr>
        </p:nvSpPr>
        <p:spPr>
          <a:xfrm>
            <a:off x="10285614" y="2165796"/>
            <a:ext cx="1358460" cy="107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1" name="Segnaposto testo 5"/>
          <p:cNvSpPr>
            <a:spLocks noGrp="1"/>
          </p:cNvSpPr>
          <p:nvPr>
            <p:ph type="body" sz="quarter" idx="29"/>
          </p:nvPr>
        </p:nvSpPr>
        <p:spPr>
          <a:xfrm>
            <a:off x="7066789" y="3705606"/>
            <a:ext cx="2573860" cy="2999994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42" indent="-171442" algn="l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2" name="Segnaposto immagine 4"/>
          <p:cNvSpPr>
            <a:spLocks noGrp="1" noChangeAspect="1"/>
          </p:cNvSpPr>
          <p:nvPr>
            <p:ph type="pic" sz="quarter" idx="30"/>
          </p:nvPr>
        </p:nvSpPr>
        <p:spPr>
          <a:xfrm>
            <a:off x="7066793" y="2165796"/>
            <a:ext cx="1358460" cy="10799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58047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8" y="4030133"/>
            <a:ext cx="375243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immagine 4"/>
          <p:cNvSpPr>
            <a:spLocks noGrp="1" noChangeAspect="1"/>
          </p:cNvSpPr>
          <p:nvPr>
            <p:ph type="pic" sz="quarter" idx="25"/>
          </p:nvPr>
        </p:nvSpPr>
        <p:spPr>
          <a:xfrm>
            <a:off x="546707" y="2013390"/>
            <a:ext cx="1129446" cy="89792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7" y="2980271"/>
            <a:ext cx="3752432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7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8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9107041" y="4030133"/>
            <a:ext cx="375243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9" name="Segnaposto immagine 4"/>
          <p:cNvSpPr>
            <a:spLocks noGrp="1" noChangeAspect="1"/>
          </p:cNvSpPr>
          <p:nvPr>
            <p:ph type="pic" sz="quarter" idx="27"/>
          </p:nvPr>
        </p:nvSpPr>
        <p:spPr>
          <a:xfrm>
            <a:off x="9107038" y="2013390"/>
            <a:ext cx="1129446" cy="89792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0" name="Segnaposto testo 3"/>
          <p:cNvSpPr>
            <a:spLocks noGrp="1"/>
          </p:cNvSpPr>
          <p:nvPr>
            <p:ph type="body" sz="quarter" idx="28"/>
          </p:nvPr>
        </p:nvSpPr>
        <p:spPr>
          <a:xfrm>
            <a:off x="9107039" y="2980271"/>
            <a:ext cx="3752432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29"/>
          </p:nvPr>
        </p:nvSpPr>
        <p:spPr>
          <a:xfrm>
            <a:off x="4852895" y="4030133"/>
            <a:ext cx="375243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4" name="Segnaposto immagine 4"/>
          <p:cNvSpPr>
            <a:spLocks noGrp="1" noChangeAspect="1"/>
          </p:cNvSpPr>
          <p:nvPr>
            <p:ph type="pic" sz="quarter" idx="30"/>
          </p:nvPr>
        </p:nvSpPr>
        <p:spPr>
          <a:xfrm>
            <a:off x="4852892" y="2013390"/>
            <a:ext cx="1129446" cy="89792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5" name="Segnaposto testo 3"/>
          <p:cNvSpPr>
            <a:spLocks noGrp="1"/>
          </p:cNvSpPr>
          <p:nvPr>
            <p:ph type="body" sz="quarter" idx="31"/>
          </p:nvPr>
        </p:nvSpPr>
        <p:spPr>
          <a:xfrm>
            <a:off x="4852893" y="2980271"/>
            <a:ext cx="3752432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212445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5" y="4030133"/>
            <a:ext cx="261950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immagine 4"/>
          <p:cNvSpPr>
            <a:spLocks noGrp="1" noChangeAspect="1"/>
          </p:cNvSpPr>
          <p:nvPr>
            <p:ph type="pic" sz="quarter" idx="25"/>
          </p:nvPr>
        </p:nvSpPr>
        <p:spPr>
          <a:xfrm>
            <a:off x="546707" y="2013390"/>
            <a:ext cx="1129446" cy="89792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4"/>
          <p:cNvSpPr>
            <a:spLocks noGrp="1" noChangeAspect="1"/>
          </p:cNvSpPr>
          <p:nvPr>
            <p:ph type="pic" sz="quarter" idx="26"/>
          </p:nvPr>
        </p:nvSpPr>
        <p:spPr>
          <a:xfrm>
            <a:off x="3784789" y="2013385"/>
            <a:ext cx="1132051" cy="9000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8" name="Segnaposto immagine 4"/>
          <p:cNvSpPr>
            <a:spLocks noGrp="1" noChangeAspect="1"/>
          </p:cNvSpPr>
          <p:nvPr>
            <p:ph type="pic" sz="quarter" idx="28"/>
          </p:nvPr>
        </p:nvSpPr>
        <p:spPr>
          <a:xfrm>
            <a:off x="10265204" y="2013385"/>
            <a:ext cx="1132051" cy="9000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2" name="Segnaposto immagine 4"/>
          <p:cNvSpPr>
            <a:spLocks noGrp="1" noChangeAspect="1"/>
          </p:cNvSpPr>
          <p:nvPr>
            <p:ph type="pic" sz="quarter" idx="30"/>
          </p:nvPr>
        </p:nvSpPr>
        <p:spPr>
          <a:xfrm>
            <a:off x="7030890" y="2013385"/>
            <a:ext cx="1132051" cy="90000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5" y="2980271"/>
            <a:ext cx="2619501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0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31"/>
          </p:nvPr>
        </p:nvSpPr>
        <p:spPr>
          <a:xfrm>
            <a:off x="3784790" y="4030133"/>
            <a:ext cx="261950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4" name="Segnaposto testo 3"/>
          <p:cNvSpPr>
            <a:spLocks noGrp="1"/>
          </p:cNvSpPr>
          <p:nvPr>
            <p:ph type="body" sz="quarter" idx="32"/>
          </p:nvPr>
        </p:nvSpPr>
        <p:spPr>
          <a:xfrm>
            <a:off x="3784790" y="2980271"/>
            <a:ext cx="2619501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15"/>
          <p:cNvSpPr>
            <a:spLocks noGrp="1"/>
          </p:cNvSpPr>
          <p:nvPr>
            <p:ph type="body" sz="quarter" idx="33"/>
          </p:nvPr>
        </p:nvSpPr>
        <p:spPr>
          <a:xfrm>
            <a:off x="7030890" y="4030133"/>
            <a:ext cx="261950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6" name="Segnaposto testo 3"/>
          <p:cNvSpPr>
            <a:spLocks noGrp="1"/>
          </p:cNvSpPr>
          <p:nvPr>
            <p:ph type="body" sz="quarter" idx="34"/>
          </p:nvPr>
        </p:nvSpPr>
        <p:spPr>
          <a:xfrm>
            <a:off x="7030890" y="2980271"/>
            <a:ext cx="2619501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15"/>
          <p:cNvSpPr>
            <a:spLocks noGrp="1"/>
          </p:cNvSpPr>
          <p:nvPr>
            <p:ph type="body" sz="quarter" idx="35"/>
          </p:nvPr>
        </p:nvSpPr>
        <p:spPr>
          <a:xfrm>
            <a:off x="10265204" y="4030133"/>
            <a:ext cx="2619501" cy="2699472"/>
          </a:xfrm>
          <a:prstGeom prst="rect">
            <a:avLst/>
          </a:prstGeom>
        </p:spPr>
        <p:txBody>
          <a:bodyPr vert="horz" lIns="0" tIns="0" rIns="0" bIns="0"/>
          <a:lstStyle>
            <a:lvl1pPr marL="171442" indent="-171442">
              <a:lnSpc>
                <a:spcPct val="100000"/>
              </a:lnSpc>
              <a:buFont typeface="Arial"/>
              <a:buChar char="•"/>
              <a:defRPr sz="14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8" name="Segnaposto testo 3"/>
          <p:cNvSpPr>
            <a:spLocks noGrp="1"/>
          </p:cNvSpPr>
          <p:nvPr>
            <p:ph type="body" sz="quarter" idx="36"/>
          </p:nvPr>
        </p:nvSpPr>
        <p:spPr>
          <a:xfrm>
            <a:off x="10265204" y="2980271"/>
            <a:ext cx="2619501" cy="919691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86057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9" y="2225675"/>
            <a:ext cx="5767215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0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7092259" y="2225680"/>
            <a:ext cx="5767215" cy="44799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7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546709" y="3357568"/>
            <a:ext cx="5767215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833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9" y="2225675"/>
            <a:ext cx="5767215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23"/>
          </p:nvPr>
        </p:nvSpPr>
        <p:spPr>
          <a:xfrm>
            <a:off x="546709" y="3357568"/>
            <a:ext cx="5767215" cy="334803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0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7092259" y="2225675"/>
            <a:ext cx="5767215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7092259" y="3357568"/>
            <a:ext cx="5767215" cy="334803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368966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5" y="679450"/>
            <a:ext cx="5767217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7" y="1829111"/>
            <a:ext cx="5767215" cy="48764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immagine 4"/>
          <p:cNvSpPr>
            <a:spLocks noGrp="1"/>
          </p:cNvSpPr>
          <p:nvPr>
            <p:ph type="pic" sz="quarter" idx="25"/>
          </p:nvPr>
        </p:nvSpPr>
        <p:spPr>
          <a:xfrm>
            <a:off x="6723761" y="679454"/>
            <a:ext cx="6135713" cy="602615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134210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25"/>
          </p:nvPr>
        </p:nvSpPr>
        <p:spPr>
          <a:xfrm>
            <a:off x="4732447" y="679454"/>
            <a:ext cx="8127026" cy="602615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cxnSp>
        <p:nvCxnSpPr>
          <p:cNvPr id="15" name="Connettore 1 14"/>
          <p:cNvCxnSpPr/>
          <p:nvPr userDrawn="1"/>
        </p:nvCxnSpPr>
        <p:spPr>
          <a:xfrm>
            <a:off x="4732447" y="6705601"/>
            <a:ext cx="8127026" cy="0"/>
          </a:xfrm>
          <a:prstGeom prst="line">
            <a:avLst/>
          </a:prstGeom>
          <a:ln w="38100"/>
          <a:effectLst>
            <a:outerShdw blurRad="25400" dist="12700" dir="5400000" algn="t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4" y="679450"/>
            <a:ext cx="375243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7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546704" y="1829111"/>
            <a:ext cx="3752434" cy="48764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80932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9" y="2225675"/>
            <a:ext cx="5767215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546709" y="3357568"/>
            <a:ext cx="5767215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22"/>
          </p:nvPr>
        </p:nvSpPr>
        <p:spPr>
          <a:xfrm>
            <a:off x="7004817" y="3357568"/>
            <a:ext cx="5854654" cy="334803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706F6F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" name="Segnaposto testo 3"/>
          <p:cNvSpPr>
            <a:spLocks noGrp="1"/>
          </p:cNvSpPr>
          <p:nvPr>
            <p:ph type="body" sz="quarter" idx="23"/>
          </p:nvPr>
        </p:nvSpPr>
        <p:spPr>
          <a:xfrm>
            <a:off x="7004817" y="2225675"/>
            <a:ext cx="585465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771788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25"/>
          </p:nvPr>
        </p:nvSpPr>
        <p:spPr>
          <a:xfrm>
            <a:off x="9010498" y="679454"/>
            <a:ext cx="3848974" cy="602615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cxnSp>
        <p:nvCxnSpPr>
          <p:cNvPr id="15" name="Connettore 1 14"/>
          <p:cNvCxnSpPr/>
          <p:nvPr userDrawn="1"/>
        </p:nvCxnSpPr>
        <p:spPr>
          <a:xfrm>
            <a:off x="9010498" y="6705605"/>
            <a:ext cx="3848974" cy="1"/>
          </a:xfrm>
          <a:prstGeom prst="line">
            <a:avLst/>
          </a:prstGeom>
          <a:ln w="38100">
            <a:solidFill>
              <a:srgbClr val="00A99D"/>
            </a:solidFill>
          </a:ln>
          <a:effectLst>
            <a:outerShdw blurRad="25400" dist="12700" dir="5400000" algn="t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egnaposto immagine 4"/>
          <p:cNvSpPr>
            <a:spLocks noGrp="1"/>
          </p:cNvSpPr>
          <p:nvPr>
            <p:ph type="pic" sz="quarter" idx="27"/>
          </p:nvPr>
        </p:nvSpPr>
        <p:spPr>
          <a:xfrm>
            <a:off x="4730873" y="679450"/>
            <a:ext cx="3848974" cy="60261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4730873" y="6705605"/>
            <a:ext cx="3848974" cy="1"/>
          </a:xfrm>
          <a:prstGeom prst="line">
            <a:avLst/>
          </a:prstGeom>
          <a:ln w="38100">
            <a:solidFill>
              <a:srgbClr val="00A99D"/>
            </a:solidFill>
          </a:ln>
          <a:effectLst>
            <a:outerShdw blurRad="25400" dist="12700" dir="5400000" algn="t" rotWithShape="0">
              <a:schemeClr val="accent4">
                <a:alpha val="40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4" y="679450"/>
            <a:ext cx="375243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chemeClr val="bg2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546704" y="1829111"/>
            <a:ext cx="3752434" cy="48764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50000"/>
              </a:lnSpc>
              <a:buNone/>
              <a:defRPr sz="1200">
                <a:solidFill>
                  <a:schemeClr val="bg2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496704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5" y="2225681"/>
            <a:ext cx="5767214" cy="3753255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6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" name="Rettangolo 1"/>
          <p:cNvSpPr/>
          <p:nvPr userDrawn="1"/>
        </p:nvSpPr>
        <p:spPr>
          <a:xfrm>
            <a:off x="546707" y="626240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7" name="Segnaposto testo 15"/>
          <p:cNvSpPr>
            <a:spLocks noGrp="1"/>
          </p:cNvSpPr>
          <p:nvPr>
            <p:ph type="body" sz="quarter" idx="25" hasCustomPrompt="1"/>
          </p:nvPr>
        </p:nvSpPr>
        <p:spPr>
          <a:xfrm>
            <a:off x="546707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  <p:sp>
        <p:nvSpPr>
          <p:cNvPr id="10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7116399" y="2225676"/>
            <a:ext cx="5767214" cy="3753256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6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  <p:sp>
        <p:nvSpPr>
          <p:cNvPr id="15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5276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5" y="679450"/>
            <a:ext cx="5767214" cy="5299482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6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" name="Rettangolo 1"/>
          <p:cNvSpPr/>
          <p:nvPr userDrawn="1"/>
        </p:nvSpPr>
        <p:spPr>
          <a:xfrm>
            <a:off x="546707" y="626240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7" name="Segnaposto testo 15"/>
          <p:cNvSpPr>
            <a:spLocks noGrp="1"/>
          </p:cNvSpPr>
          <p:nvPr>
            <p:ph type="body" sz="quarter" idx="25" hasCustomPrompt="1"/>
          </p:nvPr>
        </p:nvSpPr>
        <p:spPr>
          <a:xfrm>
            <a:off x="546707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  <p:sp>
        <p:nvSpPr>
          <p:cNvPr id="10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7116399" y="679450"/>
            <a:ext cx="5767214" cy="5299482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6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86013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46705" y="679451"/>
            <a:ext cx="5767214" cy="605577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lnSpc>
                <a:spcPct val="150000"/>
              </a:lnSpc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0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7116399" y="3895585"/>
            <a:ext cx="5767214" cy="2211777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28"/>
          </p:nvPr>
        </p:nvSpPr>
        <p:spPr>
          <a:xfrm>
            <a:off x="7116399" y="679455"/>
            <a:ext cx="5767214" cy="2211777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2" name="Rettangolo 21"/>
          <p:cNvSpPr/>
          <p:nvPr userDrawn="1"/>
        </p:nvSpPr>
        <p:spPr>
          <a:xfrm>
            <a:off x="7116401" y="304627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29" hasCustomPrompt="1"/>
          </p:nvPr>
        </p:nvSpPr>
        <p:spPr>
          <a:xfrm>
            <a:off x="7116401" y="321100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</p:spTree>
    <p:extLst>
      <p:ext uri="{BB962C8B-B14F-4D97-AF65-F5344CB8AC3E}">
        <p14:creationId xmlns:p14="http://schemas.microsoft.com/office/powerpoint/2010/main" val="30926419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546707" y="626240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7" name="Segnaposto testo 15"/>
          <p:cNvSpPr>
            <a:spLocks noGrp="1"/>
          </p:cNvSpPr>
          <p:nvPr>
            <p:ph type="body" sz="quarter" idx="25" hasCustomPrompt="1"/>
          </p:nvPr>
        </p:nvSpPr>
        <p:spPr>
          <a:xfrm>
            <a:off x="546707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  <p:sp>
        <p:nvSpPr>
          <p:cNvPr id="15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immagine 4"/>
          <p:cNvSpPr>
            <a:spLocks noGrp="1"/>
          </p:cNvSpPr>
          <p:nvPr>
            <p:ph type="pic" sz="quarter" idx="28"/>
          </p:nvPr>
        </p:nvSpPr>
        <p:spPr>
          <a:xfrm>
            <a:off x="546705" y="2225676"/>
            <a:ext cx="5767214" cy="3753256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immagine 4"/>
          <p:cNvSpPr>
            <a:spLocks noGrp="1"/>
          </p:cNvSpPr>
          <p:nvPr>
            <p:ph type="pic" sz="quarter" idx="29"/>
          </p:nvPr>
        </p:nvSpPr>
        <p:spPr>
          <a:xfrm>
            <a:off x="7116397" y="2225676"/>
            <a:ext cx="5743074" cy="3753256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35749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546707" y="626240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7" name="Segnaposto testo 15"/>
          <p:cNvSpPr>
            <a:spLocks noGrp="1"/>
          </p:cNvSpPr>
          <p:nvPr>
            <p:ph type="body" sz="quarter" idx="25" hasCustomPrompt="1"/>
          </p:nvPr>
        </p:nvSpPr>
        <p:spPr>
          <a:xfrm>
            <a:off x="546707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  <p:sp>
        <p:nvSpPr>
          <p:cNvPr id="8" name="Segnaposto immagine 4"/>
          <p:cNvSpPr>
            <a:spLocks noGrp="1"/>
          </p:cNvSpPr>
          <p:nvPr>
            <p:ph type="pic" sz="quarter" idx="28"/>
          </p:nvPr>
        </p:nvSpPr>
        <p:spPr>
          <a:xfrm>
            <a:off x="546705" y="679450"/>
            <a:ext cx="5767214" cy="529948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Segnaposto immagine 4"/>
          <p:cNvSpPr>
            <a:spLocks noGrp="1"/>
          </p:cNvSpPr>
          <p:nvPr>
            <p:ph type="pic" sz="quarter" idx="29"/>
          </p:nvPr>
        </p:nvSpPr>
        <p:spPr>
          <a:xfrm>
            <a:off x="7116397" y="679450"/>
            <a:ext cx="5743074" cy="529948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230949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15"/>
          <p:cNvSpPr>
            <a:spLocks noGrp="1"/>
          </p:cNvSpPr>
          <p:nvPr>
            <p:ph type="body" sz="quarter" idx="26"/>
          </p:nvPr>
        </p:nvSpPr>
        <p:spPr>
          <a:xfrm>
            <a:off x="7116399" y="3895585"/>
            <a:ext cx="5767214" cy="2211777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Rettangolo 10"/>
          <p:cNvSpPr/>
          <p:nvPr userDrawn="1"/>
        </p:nvSpPr>
        <p:spPr>
          <a:xfrm>
            <a:off x="7116401" y="6262407"/>
            <a:ext cx="5767215" cy="1219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12" name="Segnaposto testo 15"/>
          <p:cNvSpPr>
            <a:spLocks noGrp="1"/>
          </p:cNvSpPr>
          <p:nvPr>
            <p:ph type="body" sz="quarter" idx="27" hasCustomPrompt="1"/>
          </p:nvPr>
        </p:nvSpPr>
        <p:spPr>
          <a:xfrm>
            <a:off x="7116401" y="642713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5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 err="1"/>
              <a:t>Don’t</a:t>
            </a:r>
            <a:endParaRPr lang="it-IT" dirty="0"/>
          </a:p>
        </p:txBody>
      </p:sp>
      <p:sp>
        <p:nvSpPr>
          <p:cNvPr id="21" name="Segnaposto testo 15"/>
          <p:cNvSpPr>
            <a:spLocks noGrp="1"/>
          </p:cNvSpPr>
          <p:nvPr>
            <p:ph type="body" sz="quarter" idx="28"/>
          </p:nvPr>
        </p:nvSpPr>
        <p:spPr>
          <a:xfrm>
            <a:off x="7116399" y="679455"/>
            <a:ext cx="5767214" cy="2211777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ct val="150000"/>
              </a:lnSpc>
              <a:buNone/>
              <a:defRPr sz="14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2" name="Rettangolo 21"/>
          <p:cNvSpPr/>
          <p:nvPr userDrawn="1"/>
        </p:nvSpPr>
        <p:spPr>
          <a:xfrm>
            <a:off x="7116401" y="3046277"/>
            <a:ext cx="5767215" cy="1219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A19A"/>
              </a:solidFill>
            </a:endParaRPr>
          </a:p>
        </p:txBody>
      </p:sp>
      <p:sp>
        <p:nvSpPr>
          <p:cNvPr id="23" name="Segnaposto testo 15"/>
          <p:cNvSpPr>
            <a:spLocks noGrp="1"/>
          </p:cNvSpPr>
          <p:nvPr>
            <p:ph type="body" sz="quarter" idx="29" hasCustomPrompt="1"/>
          </p:nvPr>
        </p:nvSpPr>
        <p:spPr>
          <a:xfrm>
            <a:off x="7116401" y="3211007"/>
            <a:ext cx="5767215" cy="3080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accent2">
                    <a:lumMod val="75000"/>
                  </a:schemeClr>
                </a:solidFill>
                <a:latin typeface="Montserrat Semi Bold"/>
                <a:cs typeface="Montserrat Semi Bold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Do</a:t>
            </a:r>
          </a:p>
        </p:txBody>
      </p:sp>
      <p:sp>
        <p:nvSpPr>
          <p:cNvPr id="9" name="Segnaposto immagine 4"/>
          <p:cNvSpPr>
            <a:spLocks noGrp="1"/>
          </p:cNvSpPr>
          <p:nvPr>
            <p:ph type="pic" sz="quarter" idx="30"/>
          </p:nvPr>
        </p:nvSpPr>
        <p:spPr>
          <a:xfrm>
            <a:off x="546708" y="679450"/>
            <a:ext cx="5767213" cy="6026150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20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661770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9" y="2217680"/>
            <a:ext cx="3850663" cy="160165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4792471" y="2217684"/>
            <a:ext cx="3850663" cy="16016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4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9008812" y="2217684"/>
            <a:ext cx="3850663" cy="16016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9"/>
          </p:nvPr>
        </p:nvSpPr>
        <p:spPr>
          <a:xfrm>
            <a:off x="572239" y="3894910"/>
            <a:ext cx="3850663" cy="52149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30"/>
          </p:nvPr>
        </p:nvSpPr>
        <p:spPr>
          <a:xfrm>
            <a:off x="4792350" y="3894143"/>
            <a:ext cx="3849854" cy="5222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31"/>
          </p:nvPr>
        </p:nvSpPr>
        <p:spPr>
          <a:xfrm>
            <a:off x="9009617" y="3894143"/>
            <a:ext cx="3849854" cy="5222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sz="quarter" idx="32"/>
          </p:nvPr>
        </p:nvSpPr>
        <p:spPr>
          <a:xfrm>
            <a:off x="572239" y="4634398"/>
            <a:ext cx="3850663" cy="1601654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6" name="Segnaposto immagine 2"/>
          <p:cNvSpPr>
            <a:spLocks noGrp="1"/>
          </p:cNvSpPr>
          <p:nvPr>
            <p:ph type="pic" sz="quarter" idx="33"/>
          </p:nvPr>
        </p:nvSpPr>
        <p:spPr>
          <a:xfrm>
            <a:off x="4792471" y="4634402"/>
            <a:ext cx="3850663" cy="16016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7" name="Segnaposto immagine 2"/>
          <p:cNvSpPr>
            <a:spLocks noGrp="1"/>
          </p:cNvSpPr>
          <p:nvPr>
            <p:ph type="pic" sz="quarter" idx="34"/>
          </p:nvPr>
        </p:nvSpPr>
        <p:spPr>
          <a:xfrm>
            <a:off x="9008812" y="4634402"/>
            <a:ext cx="3850663" cy="160165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8" name="Segnaposto testo 3"/>
          <p:cNvSpPr>
            <a:spLocks noGrp="1"/>
          </p:cNvSpPr>
          <p:nvPr>
            <p:ph type="body" sz="quarter" idx="35"/>
          </p:nvPr>
        </p:nvSpPr>
        <p:spPr>
          <a:xfrm>
            <a:off x="572239" y="6311628"/>
            <a:ext cx="3850663" cy="52149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9" name="Segnaposto testo 5"/>
          <p:cNvSpPr>
            <a:spLocks noGrp="1"/>
          </p:cNvSpPr>
          <p:nvPr>
            <p:ph type="body" sz="quarter" idx="36"/>
          </p:nvPr>
        </p:nvSpPr>
        <p:spPr>
          <a:xfrm>
            <a:off x="4792350" y="6310861"/>
            <a:ext cx="3849854" cy="5222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0" name="Segnaposto testo 8"/>
          <p:cNvSpPr>
            <a:spLocks noGrp="1"/>
          </p:cNvSpPr>
          <p:nvPr>
            <p:ph type="body" sz="quarter" idx="37"/>
          </p:nvPr>
        </p:nvSpPr>
        <p:spPr>
          <a:xfrm>
            <a:off x="9009617" y="6310861"/>
            <a:ext cx="3849854" cy="52228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66404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23"/>
          </p:nvPr>
        </p:nvSpPr>
        <p:spPr>
          <a:xfrm>
            <a:off x="596081" y="2225680"/>
            <a:ext cx="5717843" cy="44799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7141632" y="2225680"/>
            <a:ext cx="5717843" cy="44799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5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281572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9" y="2217684"/>
            <a:ext cx="3850663" cy="448792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4792471" y="2217684"/>
            <a:ext cx="3850663" cy="448792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4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9008812" y="2217684"/>
            <a:ext cx="3850663" cy="4487921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6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16145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5" y="2225675"/>
            <a:ext cx="384897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546705" y="3357568"/>
            <a:ext cx="3848974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7" name="Segnaposto testo 3"/>
          <p:cNvSpPr>
            <a:spLocks noGrp="1"/>
          </p:cNvSpPr>
          <p:nvPr>
            <p:ph type="body" sz="quarter" idx="22"/>
          </p:nvPr>
        </p:nvSpPr>
        <p:spPr>
          <a:xfrm>
            <a:off x="9010498" y="2225675"/>
            <a:ext cx="384897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12"/>
          <p:cNvSpPr>
            <a:spLocks noGrp="1"/>
          </p:cNvSpPr>
          <p:nvPr>
            <p:ph type="body" sz="quarter" idx="23"/>
          </p:nvPr>
        </p:nvSpPr>
        <p:spPr>
          <a:xfrm>
            <a:off x="9010498" y="3357568"/>
            <a:ext cx="3848974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4774301" y="2225675"/>
            <a:ext cx="3848974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0" name="Segnaposto testo 12"/>
          <p:cNvSpPr>
            <a:spLocks noGrp="1"/>
          </p:cNvSpPr>
          <p:nvPr>
            <p:ph type="body" sz="quarter" idx="25"/>
          </p:nvPr>
        </p:nvSpPr>
        <p:spPr>
          <a:xfrm>
            <a:off x="4774301" y="3357568"/>
            <a:ext cx="3848974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207839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23"/>
          </p:nvPr>
        </p:nvSpPr>
        <p:spPr>
          <a:xfrm>
            <a:off x="572239" y="4624906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9" y="2217684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0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4792471" y="4624906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4792471" y="2217684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immagine 2"/>
          <p:cNvSpPr>
            <a:spLocks noGrp="1"/>
          </p:cNvSpPr>
          <p:nvPr>
            <p:ph type="pic" sz="quarter" idx="27"/>
          </p:nvPr>
        </p:nvSpPr>
        <p:spPr>
          <a:xfrm>
            <a:off x="9008812" y="4624906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4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9008812" y="2217684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784405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7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572237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572237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6" name="Segnaposto immagine 2"/>
          <p:cNvSpPr>
            <a:spLocks noGrp="1"/>
          </p:cNvSpPr>
          <p:nvPr>
            <p:ph type="pic" sz="quarter" idx="27"/>
          </p:nvPr>
        </p:nvSpPr>
        <p:spPr>
          <a:xfrm>
            <a:off x="10022141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7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10022141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8" name="Segnaposto immagine 2"/>
          <p:cNvSpPr>
            <a:spLocks noGrp="1"/>
          </p:cNvSpPr>
          <p:nvPr>
            <p:ph type="pic" sz="quarter" idx="29"/>
          </p:nvPr>
        </p:nvSpPr>
        <p:spPr>
          <a:xfrm>
            <a:off x="10022141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9" name="Segnaposto immagine 2"/>
          <p:cNvSpPr>
            <a:spLocks noGrp="1"/>
          </p:cNvSpPr>
          <p:nvPr>
            <p:ph type="pic" sz="quarter" idx="30"/>
          </p:nvPr>
        </p:nvSpPr>
        <p:spPr>
          <a:xfrm>
            <a:off x="3727556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0" name="Segnaposto immagine 2"/>
          <p:cNvSpPr>
            <a:spLocks noGrp="1"/>
          </p:cNvSpPr>
          <p:nvPr>
            <p:ph type="pic" sz="quarter" idx="31"/>
          </p:nvPr>
        </p:nvSpPr>
        <p:spPr>
          <a:xfrm>
            <a:off x="3727556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1" name="Segnaposto immagine 2"/>
          <p:cNvSpPr>
            <a:spLocks noGrp="1"/>
          </p:cNvSpPr>
          <p:nvPr>
            <p:ph type="pic" sz="quarter" idx="32"/>
          </p:nvPr>
        </p:nvSpPr>
        <p:spPr>
          <a:xfrm>
            <a:off x="3727556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2" name="Segnaposto immagine 2"/>
          <p:cNvSpPr>
            <a:spLocks noGrp="1"/>
          </p:cNvSpPr>
          <p:nvPr>
            <p:ph type="pic" sz="quarter" idx="33"/>
          </p:nvPr>
        </p:nvSpPr>
        <p:spPr>
          <a:xfrm>
            <a:off x="6874849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3" name="Segnaposto immagine 2"/>
          <p:cNvSpPr>
            <a:spLocks noGrp="1"/>
          </p:cNvSpPr>
          <p:nvPr>
            <p:ph type="pic" sz="quarter" idx="34"/>
          </p:nvPr>
        </p:nvSpPr>
        <p:spPr>
          <a:xfrm>
            <a:off x="6874849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4" name="Segnaposto immagine 2"/>
          <p:cNvSpPr>
            <a:spLocks noGrp="1"/>
          </p:cNvSpPr>
          <p:nvPr>
            <p:ph type="pic" sz="quarter" idx="35"/>
          </p:nvPr>
        </p:nvSpPr>
        <p:spPr>
          <a:xfrm>
            <a:off x="6874849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5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775635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7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572237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5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572237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6" name="Segnaposto immagine 2"/>
          <p:cNvSpPr>
            <a:spLocks noGrp="1"/>
          </p:cNvSpPr>
          <p:nvPr>
            <p:ph type="pic" sz="quarter" idx="27"/>
          </p:nvPr>
        </p:nvSpPr>
        <p:spPr>
          <a:xfrm>
            <a:off x="10022141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7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10022141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8" name="Segnaposto immagine 2"/>
          <p:cNvSpPr>
            <a:spLocks noGrp="1"/>
          </p:cNvSpPr>
          <p:nvPr>
            <p:ph type="pic" sz="quarter" idx="29"/>
          </p:nvPr>
        </p:nvSpPr>
        <p:spPr>
          <a:xfrm>
            <a:off x="10022141" y="3771951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9" name="Segnaposto immagine 2"/>
          <p:cNvSpPr>
            <a:spLocks noGrp="1"/>
          </p:cNvSpPr>
          <p:nvPr>
            <p:ph type="pic" sz="quarter" idx="30"/>
          </p:nvPr>
        </p:nvSpPr>
        <p:spPr>
          <a:xfrm>
            <a:off x="3727556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0" name="Segnaposto immagine 2"/>
          <p:cNvSpPr>
            <a:spLocks noGrp="1"/>
          </p:cNvSpPr>
          <p:nvPr>
            <p:ph type="pic" sz="quarter" idx="31"/>
          </p:nvPr>
        </p:nvSpPr>
        <p:spPr>
          <a:xfrm>
            <a:off x="3727556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2" name="Segnaposto immagine 2"/>
          <p:cNvSpPr>
            <a:spLocks noGrp="1"/>
          </p:cNvSpPr>
          <p:nvPr>
            <p:ph type="pic" sz="quarter" idx="33"/>
          </p:nvPr>
        </p:nvSpPr>
        <p:spPr>
          <a:xfrm>
            <a:off x="6874849" y="221768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3" name="Segnaposto immagine 2"/>
          <p:cNvSpPr>
            <a:spLocks noGrp="1"/>
          </p:cNvSpPr>
          <p:nvPr>
            <p:ph type="pic" sz="quarter" idx="34"/>
          </p:nvPr>
        </p:nvSpPr>
        <p:spPr>
          <a:xfrm>
            <a:off x="6874849" y="5326220"/>
            <a:ext cx="2837330" cy="1402632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rgbClr val="00A99D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25" name="Segnaposto testo 2"/>
          <p:cNvSpPr>
            <a:spLocks noGrp="1"/>
          </p:cNvSpPr>
          <p:nvPr>
            <p:ph type="body" sz="quarter" idx="21"/>
          </p:nvPr>
        </p:nvSpPr>
        <p:spPr>
          <a:xfrm>
            <a:off x="3727556" y="3771955"/>
            <a:ext cx="5984623" cy="1402633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3500" b="0" i="0">
                <a:solidFill>
                  <a:schemeClr val="accent1"/>
                </a:solidFill>
                <a:latin typeface="Montserrat"/>
                <a:cs typeface="Montserrat"/>
              </a:defRPr>
            </a:lvl1pPr>
            <a:lvl2pPr marL="521410" indent="0" algn="ctr">
              <a:buNone/>
              <a:defRPr sz="3000">
                <a:latin typeface="Novecento wide DemiBold"/>
                <a:cs typeface="Novecento wide DemiBold"/>
              </a:defRPr>
            </a:lvl2pPr>
            <a:lvl3pPr marL="1042823" indent="0" algn="ctr">
              <a:buNone/>
              <a:defRPr sz="3000">
                <a:latin typeface="Novecento wide DemiBold"/>
                <a:cs typeface="Novecento wide DemiBold"/>
              </a:defRPr>
            </a:lvl3pPr>
            <a:lvl4pPr marL="1564233" indent="0" algn="ctr">
              <a:buNone/>
              <a:defRPr sz="3000">
                <a:latin typeface="Novecento wide DemiBold"/>
                <a:cs typeface="Novecento wide DemiBold"/>
              </a:defRPr>
            </a:lvl4pPr>
            <a:lvl5pPr marL="2085645" indent="0" algn="ctr">
              <a:buNone/>
              <a:defRPr sz="30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4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336565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1784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76875" y="2008631"/>
            <a:ext cx="8690790" cy="4844810"/>
          </a:xfrm>
          <a:prstGeom prst="rect">
            <a:avLst/>
          </a:prstGeom>
        </p:spPr>
      </p:pic>
      <p:grpSp>
        <p:nvGrpSpPr>
          <p:cNvPr id="320" name="Gruppo 319"/>
          <p:cNvGrpSpPr/>
          <p:nvPr userDrawn="1"/>
        </p:nvGrpSpPr>
        <p:grpSpPr>
          <a:xfrm>
            <a:off x="5864280" y="4790327"/>
            <a:ext cx="1539803" cy="1190654"/>
            <a:chOff x="539571" y="5132303"/>
            <a:chExt cx="1224170" cy="1190654"/>
          </a:xfrm>
          <a:solidFill>
            <a:schemeClr val="accent1"/>
          </a:solidFill>
        </p:grpSpPr>
        <p:sp>
          <p:nvSpPr>
            <p:cNvPr id="321" name="Fumetto 1 320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22" name="Ovale 321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sp>
        <p:nvSpPr>
          <p:cNvPr id="323" name="Segnaposto testo 3"/>
          <p:cNvSpPr>
            <a:spLocks noGrp="1"/>
          </p:cNvSpPr>
          <p:nvPr>
            <p:ph type="body" sz="quarter" idx="21"/>
          </p:nvPr>
        </p:nvSpPr>
        <p:spPr>
          <a:xfrm>
            <a:off x="5864281" y="4790327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581337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o 13"/>
          <p:cNvGrpSpPr/>
          <p:nvPr userDrawn="1"/>
        </p:nvGrpSpPr>
        <p:grpSpPr>
          <a:xfrm>
            <a:off x="992575" y="2005014"/>
            <a:ext cx="11396279" cy="4726898"/>
            <a:chOff x="363325" y="1216638"/>
            <a:chExt cx="8433971" cy="4400163"/>
          </a:xfrm>
          <a:solidFill>
            <a:schemeClr val="bg1">
              <a:lumMod val="75000"/>
            </a:schemeClr>
          </a:solidFill>
        </p:grpSpPr>
        <p:sp>
          <p:nvSpPr>
            <p:cNvPr id="21" name="Freeform 633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059927" y="2572657"/>
              <a:ext cx="1431181" cy="974660"/>
            </a:xfrm>
            <a:custGeom>
              <a:avLst/>
              <a:gdLst>
                <a:gd name="T0" fmla="*/ 9 w 237"/>
                <a:gd name="T1" fmla="*/ 66 h 151"/>
                <a:gd name="T2" fmla="*/ 18 w 237"/>
                <a:gd name="T3" fmla="*/ 62 h 151"/>
                <a:gd name="T4" fmla="*/ 27 w 237"/>
                <a:gd name="T5" fmla="*/ 52 h 151"/>
                <a:gd name="T6" fmla="*/ 37 w 237"/>
                <a:gd name="T7" fmla="*/ 33 h 151"/>
                <a:gd name="T8" fmla="*/ 50 w 237"/>
                <a:gd name="T9" fmla="*/ 26 h 151"/>
                <a:gd name="T10" fmla="*/ 58 w 237"/>
                <a:gd name="T11" fmla="*/ 28 h 151"/>
                <a:gd name="T12" fmla="*/ 67 w 237"/>
                <a:gd name="T13" fmla="*/ 42 h 151"/>
                <a:gd name="T14" fmla="*/ 88 w 237"/>
                <a:gd name="T15" fmla="*/ 54 h 151"/>
                <a:gd name="T16" fmla="*/ 131 w 237"/>
                <a:gd name="T17" fmla="*/ 56 h 151"/>
                <a:gd name="T18" fmla="*/ 146 w 237"/>
                <a:gd name="T19" fmla="*/ 46 h 151"/>
                <a:gd name="T20" fmla="*/ 165 w 237"/>
                <a:gd name="T21" fmla="*/ 40 h 151"/>
                <a:gd name="T22" fmla="*/ 179 w 237"/>
                <a:gd name="T23" fmla="*/ 37 h 151"/>
                <a:gd name="T24" fmla="*/ 173 w 237"/>
                <a:gd name="T25" fmla="*/ 29 h 151"/>
                <a:gd name="T26" fmla="*/ 162 w 237"/>
                <a:gd name="T27" fmla="*/ 28 h 151"/>
                <a:gd name="T28" fmla="*/ 177 w 237"/>
                <a:gd name="T29" fmla="*/ 18 h 151"/>
                <a:gd name="T30" fmla="*/ 179 w 237"/>
                <a:gd name="T31" fmla="*/ 6 h 151"/>
                <a:gd name="T32" fmla="*/ 203 w 237"/>
                <a:gd name="T33" fmla="*/ 5 h 151"/>
                <a:gd name="T34" fmla="*/ 220 w 237"/>
                <a:gd name="T35" fmla="*/ 24 h 151"/>
                <a:gd name="T36" fmla="*/ 236 w 237"/>
                <a:gd name="T37" fmla="*/ 27 h 151"/>
                <a:gd name="T38" fmla="*/ 231 w 237"/>
                <a:gd name="T39" fmla="*/ 44 h 151"/>
                <a:gd name="T40" fmla="*/ 221 w 237"/>
                <a:gd name="T41" fmla="*/ 53 h 151"/>
                <a:gd name="T42" fmla="*/ 215 w 237"/>
                <a:gd name="T43" fmla="*/ 57 h 151"/>
                <a:gd name="T44" fmla="*/ 205 w 237"/>
                <a:gd name="T45" fmla="*/ 60 h 151"/>
                <a:gd name="T46" fmla="*/ 197 w 237"/>
                <a:gd name="T47" fmla="*/ 68 h 151"/>
                <a:gd name="T48" fmla="*/ 185 w 237"/>
                <a:gd name="T49" fmla="*/ 70 h 151"/>
                <a:gd name="T50" fmla="*/ 183 w 237"/>
                <a:gd name="T51" fmla="*/ 64 h 151"/>
                <a:gd name="T52" fmla="*/ 170 w 237"/>
                <a:gd name="T53" fmla="*/ 73 h 151"/>
                <a:gd name="T54" fmla="*/ 176 w 237"/>
                <a:gd name="T55" fmla="*/ 80 h 151"/>
                <a:gd name="T56" fmla="*/ 190 w 237"/>
                <a:gd name="T57" fmla="*/ 78 h 151"/>
                <a:gd name="T58" fmla="*/ 177 w 237"/>
                <a:gd name="T59" fmla="*/ 90 h 151"/>
                <a:gd name="T60" fmla="*/ 187 w 237"/>
                <a:gd name="T61" fmla="*/ 103 h 151"/>
                <a:gd name="T62" fmla="*/ 189 w 237"/>
                <a:gd name="T63" fmla="*/ 111 h 151"/>
                <a:gd name="T64" fmla="*/ 179 w 237"/>
                <a:gd name="T65" fmla="*/ 126 h 151"/>
                <a:gd name="T66" fmla="*/ 167 w 237"/>
                <a:gd name="T67" fmla="*/ 139 h 151"/>
                <a:gd name="T68" fmla="*/ 154 w 237"/>
                <a:gd name="T69" fmla="*/ 143 h 151"/>
                <a:gd name="T70" fmla="*/ 143 w 237"/>
                <a:gd name="T71" fmla="*/ 149 h 151"/>
                <a:gd name="T72" fmla="*/ 140 w 237"/>
                <a:gd name="T73" fmla="*/ 146 h 151"/>
                <a:gd name="T74" fmla="*/ 128 w 237"/>
                <a:gd name="T75" fmla="*/ 144 h 151"/>
                <a:gd name="T76" fmla="*/ 122 w 237"/>
                <a:gd name="T77" fmla="*/ 139 h 151"/>
                <a:gd name="T78" fmla="*/ 109 w 237"/>
                <a:gd name="T79" fmla="*/ 143 h 151"/>
                <a:gd name="T80" fmla="*/ 106 w 237"/>
                <a:gd name="T81" fmla="*/ 147 h 151"/>
                <a:gd name="T82" fmla="*/ 100 w 237"/>
                <a:gd name="T83" fmla="*/ 143 h 151"/>
                <a:gd name="T84" fmla="*/ 96 w 237"/>
                <a:gd name="T85" fmla="*/ 136 h 151"/>
                <a:gd name="T86" fmla="*/ 97 w 237"/>
                <a:gd name="T87" fmla="*/ 128 h 151"/>
                <a:gd name="T88" fmla="*/ 94 w 237"/>
                <a:gd name="T89" fmla="*/ 117 h 151"/>
                <a:gd name="T90" fmla="*/ 87 w 237"/>
                <a:gd name="T91" fmla="*/ 114 h 151"/>
                <a:gd name="T92" fmla="*/ 76 w 237"/>
                <a:gd name="T93" fmla="*/ 118 h 151"/>
                <a:gd name="T94" fmla="*/ 69 w 237"/>
                <a:gd name="T95" fmla="*/ 119 h 151"/>
                <a:gd name="T96" fmla="*/ 60 w 237"/>
                <a:gd name="T97" fmla="*/ 122 h 151"/>
                <a:gd name="T98" fmla="*/ 49 w 237"/>
                <a:gd name="T99" fmla="*/ 119 h 151"/>
                <a:gd name="T100" fmla="*/ 38 w 237"/>
                <a:gd name="T101" fmla="*/ 113 h 151"/>
                <a:gd name="T102" fmla="*/ 30 w 237"/>
                <a:gd name="T103" fmla="*/ 109 h 151"/>
                <a:gd name="T104" fmla="*/ 20 w 237"/>
                <a:gd name="T105" fmla="*/ 105 h 151"/>
                <a:gd name="T106" fmla="*/ 20 w 237"/>
                <a:gd name="T107" fmla="*/ 95 h 151"/>
                <a:gd name="T108" fmla="*/ 26 w 237"/>
                <a:gd name="T109" fmla="*/ 87 h 151"/>
                <a:gd name="T110" fmla="*/ 17 w 237"/>
                <a:gd name="T111" fmla="*/ 88 h 151"/>
                <a:gd name="T112" fmla="*/ 9 w 237"/>
                <a:gd name="T113" fmla="*/ 84 h 151"/>
                <a:gd name="T114" fmla="*/ 5 w 237"/>
                <a:gd name="T115" fmla="*/ 78 h 151"/>
                <a:gd name="T116" fmla="*/ 0 w 237"/>
                <a:gd name="T117" fmla="*/ 70 h 151"/>
                <a:gd name="connsiteX0" fmla="*/ 42 w 10000"/>
                <a:gd name="connsiteY0" fmla="*/ 4572 h 10002"/>
                <a:gd name="connsiteX1" fmla="*/ 295 w 10000"/>
                <a:gd name="connsiteY1" fmla="*/ 4240 h 10002"/>
                <a:gd name="connsiteX2" fmla="*/ 380 w 10000"/>
                <a:gd name="connsiteY2" fmla="*/ 4373 h 10002"/>
                <a:gd name="connsiteX3" fmla="*/ 506 w 10000"/>
                <a:gd name="connsiteY3" fmla="*/ 4373 h 10002"/>
                <a:gd name="connsiteX4" fmla="*/ 549 w 10000"/>
                <a:gd name="connsiteY4" fmla="*/ 4108 h 10002"/>
                <a:gd name="connsiteX5" fmla="*/ 759 w 10000"/>
                <a:gd name="connsiteY5" fmla="*/ 4108 h 10002"/>
                <a:gd name="connsiteX6" fmla="*/ 1097 w 10000"/>
                <a:gd name="connsiteY6" fmla="*/ 3843 h 10002"/>
                <a:gd name="connsiteX7" fmla="*/ 1097 w 10000"/>
                <a:gd name="connsiteY7" fmla="*/ 3777 h 10002"/>
                <a:gd name="connsiteX8" fmla="*/ 1139 w 10000"/>
                <a:gd name="connsiteY8" fmla="*/ 3446 h 10002"/>
                <a:gd name="connsiteX9" fmla="*/ 1097 w 10000"/>
                <a:gd name="connsiteY9" fmla="*/ 2916 h 10002"/>
                <a:gd name="connsiteX10" fmla="*/ 1392 w 10000"/>
                <a:gd name="connsiteY10" fmla="*/ 2783 h 10002"/>
                <a:gd name="connsiteX11" fmla="*/ 1561 w 10000"/>
                <a:gd name="connsiteY11" fmla="*/ 2187 h 10002"/>
                <a:gd name="connsiteX12" fmla="*/ 1941 w 10000"/>
                <a:gd name="connsiteY12" fmla="*/ 2254 h 10002"/>
                <a:gd name="connsiteX13" fmla="*/ 1983 w 10000"/>
                <a:gd name="connsiteY13" fmla="*/ 1790 h 10002"/>
                <a:gd name="connsiteX14" fmla="*/ 2110 w 10000"/>
                <a:gd name="connsiteY14" fmla="*/ 1724 h 10002"/>
                <a:gd name="connsiteX15" fmla="*/ 2236 w 10000"/>
                <a:gd name="connsiteY15" fmla="*/ 1525 h 10002"/>
                <a:gd name="connsiteX16" fmla="*/ 2321 w 10000"/>
                <a:gd name="connsiteY16" fmla="*/ 1591 h 10002"/>
                <a:gd name="connsiteX17" fmla="*/ 2447 w 10000"/>
                <a:gd name="connsiteY17" fmla="*/ 1856 h 10002"/>
                <a:gd name="connsiteX18" fmla="*/ 2700 w 10000"/>
                <a:gd name="connsiteY18" fmla="*/ 1989 h 10002"/>
                <a:gd name="connsiteX19" fmla="*/ 2869 w 10000"/>
                <a:gd name="connsiteY19" fmla="*/ 2452 h 10002"/>
                <a:gd name="connsiteX20" fmla="*/ 2827 w 10000"/>
                <a:gd name="connsiteY20" fmla="*/ 2783 h 10002"/>
                <a:gd name="connsiteX21" fmla="*/ 3207 w 10000"/>
                <a:gd name="connsiteY21" fmla="*/ 2916 h 10002"/>
                <a:gd name="connsiteX22" fmla="*/ 3502 w 10000"/>
                <a:gd name="connsiteY22" fmla="*/ 3115 h 10002"/>
                <a:gd name="connsiteX23" fmla="*/ 3713 w 10000"/>
                <a:gd name="connsiteY23" fmla="*/ 3578 h 10002"/>
                <a:gd name="connsiteX24" fmla="*/ 4473 w 10000"/>
                <a:gd name="connsiteY24" fmla="*/ 3644 h 10002"/>
                <a:gd name="connsiteX25" fmla="*/ 5105 w 10000"/>
                <a:gd name="connsiteY25" fmla="*/ 3976 h 10002"/>
                <a:gd name="connsiteX26" fmla="*/ 5527 w 10000"/>
                <a:gd name="connsiteY26" fmla="*/ 3711 h 10002"/>
                <a:gd name="connsiteX27" fmla="*/ 5949 w 10000"/>
                <a:gd name="connsiteY27" fmla="*/ 3644 h 10002"/>
                <a:gd name="connsiteX28" fmla="*/ 6245 w 10000"/>
                <a:gd name="connsiteY28" fmla="*/ 3313 h 10002"/>
                <a:gd name="connsiteX29" fmla="*/ 6160 w 10000"/>
                <a:gd name="connsiteY29" fmla="*/ 3048 h 10002"/>
                <a:gd name="connsiteX30" fmla="*/ 6329 w 10000"/>
                <a:gd name="connsiteY30" fmla="*/ 2850 h 10002"/>
                <a:gd name="connsiteX31" fmla="*/ 6624 w 10000"/>
                <a:gd name="connsiteY31" fmla="*/ 2982 h 10002"/>
                <a:gd name="connsiteX32" fmla="*/ 6962 w 10000"/>
                <a:gd name="connsiteY32" fmla="*/ 2651 h 10002"/>
                <a:gd name="connsiteX33" fmla="*/ 7173 w 10000"/>
                <a:gd name="connsiteY33" fmla="*/ 2386 h 10002"/>
                <a:gd name="connsiteX34" fmla="*/ 7384 w 10000"/>
                <a:gd name="connsiteY34" fmla="*/ 2320 h 10002"/>
                <a:gd name="connsiteX35" fmla="*/ 7553 w 10000"/>
                <a:gd name="connsiteY35" fmla="*/ 2452 h 10002"/>
                <a:gd name="connsiteX36" fmla="*/ 7595 w 10000"/>
                <a:gd name="connsiteY36" fmla="*/ 2320 h 10002"/>
                <a:gd name="connsiteX37" fmla="*/ 7553 w 10000"/>
                <a:gd name="connsiteY37" fmla="*/ 2121 h 10002"/>
                <a:gd name="connsiteX38" fmla="*/ 7300 w 10000"/>
                <a:gd name="connsiteY38" fmla="*/ 1923 h 10002"/>
                <a:gd name="connsiteX39" fmla="*/ 7131 w 10000"/>
                <a:gd name="connsiteY39" fmla="*/ 2055 h 10002"/>
                <a:gd name="connsiteX40" fmla="*/ 6920 w 10000"/>
                <a:gd name="connsiteY40" fmla="*/ 2055 h 10002"/>
                <a:gd name="connsiteX41" fmla="*/ 6835 w 10000"/>
                <a:gd name="connsiteY41" fmla="*/ 1856 h 10002"/>
                <a:gd name="connsiteX42" fmla="*/ 7046 w 10000"/>
                <a:gd name="connsiteY42" fmla="*/ 1327 h 10002"/>
                <a:gd name="connsiteX43" fmla="*/ 7300 w 10000"/>
                <a:gd name="connsiteY43" fmla="*/ 1393 h 10002"/>
                <a:gd name="connsiteX44" fmla="*/ 7468 w 10000"/>
                <a:gd name="connsiteY44" fmla="*/ 1194 h 10002"/>
                <a:gd name="connsiteX45" fmla="*/ 7679 w 10000"/>
                <a:gd name="connsiteY45" fmla="*/ 730 h 10002"/>
                <a:gd name="connsiteX46" fmla="*/ 7679 w 10000"/>
                <a:gd name="connsiteY46" fmla="*/ 466 h 10002"/>
                <a:gd name="connsiteX47" fmla="*/ 7553 w 10000"/>
                <a:gd name="connsiteY47" fmla="*/ 399 h 10002"/>
                <a:gd name="connsiteX48" fmla="*/ 7755 w 10000"/>
                <a:gd name="connsiteY48" fmla="*/ 36 h 10002"/>
                <a:gd name="connsiteX49" fmla="*/ 8228 w 10000"/>
                <a:gd name="connsiteY49" fmla="*/ 68 h 10002"/>
                <a:gd name="connsiteX50" fmla="*/ 8565 w 10000"/>
                <a:gd name="connsiteY50" fmla="*/ 333 h 10002"/>
                <a:gd name="connsiteX51" fmla="*/ 8819 w 10000"/>
                <a:gd name="connsiteY51" fmla="*/ 1194 h 10002"/>
                <a:gd name="connsiteX52" fmla="*/ 8861 w 10000"/>
                <a:gd name="connsiteY52" fmla="*/ 1393 h 10002"/>
                <a:gd name="connsiteX53" fmla="*/ 9283 w 10000"/>
                <a:gd name="connsiteY53" fmla="*/ 1591 h 10002"/>
                <a:gd name="connsiteX54" fmla="*/ 9409 w 10000"/>
                <a:gd name="connsiteY54" fmla="*/ 2055 h 10002"/>
                <a:gd name="connsiteX55" fmla="*/ 9662 w 10000"/>
                <a:gd name="connsiteY55" fmla="*/ 1989 h 10002"/>
                <a:gd name="connsiteX56" fmla="*/ 9958 w 10000"/>
                <a:gd name="connsiteY56" fmla="*/ 1790 h 10002"/>
                <a:gd name="connsiteX57" fmla="*/ 10000 w 10000"/>
                <a:gd name="connsiteY57" fmla="*/ 2055 h 10002"/>
                <a:gd name="connsiteX58" fmla="*/ 9873 w 10000"/>
                <a:gd name="connsiteY58" fmla="*/ 2386 h 10002"/>
                <a:gd name="connsiteX59" fmla="*/ 9747 w 10000"/>
                <a:gd name="connsiteY59" fmla="*/ 2916 h 10002"/>
                <a:gd name="connsiteX60" fmla="*/ 9494 w 10000"/>
                <a:gd name="connsiteY60" fmla="*/ 2850 h 10002"/>
                <a:gd name="connsiteX61" fmla="*/ 9367 w 10000"/>
                <a:gd name="connsiteY61" fmla="*/ 2982 h 10002"/>
                <a:gd name="connsiteX62" fmla="*/ 9325 w 10000"/>
                <a:gd name="connsiteY62" fmla="*/ 3512 h 10002"/>
                <a:gd name="connsiteX63" fmla="*/ 9283 w 10000"/>
                <a:gd name="connsiteY63" fmla="*/ 3512 h 10002"/>
                <a:gd name="connsiteX64" fmla="*/ 9198 w 10000"/>
                <a:gd name="connsiteY64" fmla="*/ 3512 h 10002"/>
                <a:gd name="connsiteX65" fmla="*/ 9072 w 10000"/>
                <a:gd name="connsiteY65" fmla="*/ 3777 h 10002"/>
                <a:gd name="connsiteX66" fmla="*/ 8903 w 10000"/>
                <a:gd name="connsiteY66" fmla="*/ 3843 h 10002"/>
                <a:gd name="connsiteX67" fmla="*/ 8861 w 10000"/>
                <a:gd name="connsiteY67" fmla="*/ 3976 h 10002"/>
                <a:gd name="connsiteX68" fmla="*/ 8650 w 10000"/>
                <a:gd name="connsiteY68" fmla="*/ 3976 h 10002"/>
                <a:gd name="connsiteX69" fmla="*/ 8523 w 10000"/>
                <a:gd name="connsiteY69" fmla="*/ 4240 h 10002"/>
                <a:gd name="connsiteX70" fmla="*/ 8354 w 10000"/>
                <a:gd name="connsiteY70" fmla="*/ 4373 h 10002"/>
                <a:gd name="connsiteX71" fmla="*/ 8312 w 10000"/>
                <a:gd name="connsiteY71" fmla="*/ 4505 h 10002"/>
                <a:gd name="connsiteX72" fmla="*/ 8270 w 10000"/>
                <a:gd name="connsiteY72" fmla="*/ 4505 h 10002"/>
                <a:gd name="connsiteX73" fmla="*/ 7975 w 10000"/>
                <a:gd name="connsiteY73" fmla="*/ 4704 h 10002"/>
                <a:gd name="connsiteX74" fmla="*/ 7806 w 10000"/>
                <a:gd name="connsiteY74" fmla="*/ 4638 h 10002"/>
                <a:gd name="connsiteX75" fmla="*/ 7932 w 10000"/>
                <a:gd name="connsiteY75" fmla="*/ 4373 h 10002"/>
                <a:gd name="connsiteX76" fmla="*/ 7890 w 10000"/>
                <a:gd name="connsiteY76" fmla="*/ 4174 h 10002"/>
                <a:gd name="connsiteX77" fmla="*/ 7722 w 10000"/>
                <a:gd name="connsiteY77" fmla="*/ 4240 h 10002"/>
                <a:gd name="connsiteX78" fmla="*/ 7468 w 10000"/>
                <a:gd name="connsiteY78" fmla="*/ 4638 h 10002"/>
                <a:gd name="connsiteX79" fmla="*/ 7300 w 10000"/>
                <a:gd name="connsiteY79" fmla="*/ 4704 h 10002"/>
                <a:gd name="connsiteX80" fmla="*/ 7173 w 10000"/>
                <a:gd name="connsiteY80" fmla="*/ 4836 h 10002"/>
                <a:gd name="connsiteX81" fmla="*/ 7300 w 10000"/>
                <a:gd name="connsiteY81" fmla="*/ 5035 h 10002"/>
                <a:gd name="connsiteX82" fmla="*/ 7426 w 10000"/>
                <a:gd name="connsiteY82" fmla="*/ 4969 h 10002"/>
                <a:gd name="connsiteX83" fmla="*/ 7426 w 10000"/>
                <a:gd name="connsiteY83" fmla="*/ 5300 h 10002"/>
                <a:gd name="connsiteX84" fmla="*/ 7595 w 10000"/>
                <a:gd name="connsiteY84" fmla="*/ 5300 h 10002"/>
                <a:gd name="connsiteX85" fmla="*/ 7679 w 10000"/>
                <a:gd name="connsiteY85" fmla="*/ 5101 h 10002"/>
                <a:gd name="connsiteX86" fmla="*/ 8017 w 10000"/>
                <a:gd name="connsiteY86" fmla="*/ 5168 h 10002"/>
                <a:gd name="connsiteX87" fmla="*/ 7975 w 10000"/>
                <a:gd name="connsiteY87" fmla="*/ 5366 h 10002"/>
                <a:gd name="connsiteX88" fmla="*/ 7764 w 10000"/>
                <a:gd name="connsiteY88" fmla="*/ 5499 h 10002"/>
                <a:gd name="connsiteX89" fmla="*/ 7468 w 10000"/>
                <a:gd name="connsiteY89" fmla="*/ 5962 h 10002"/>
                <a:gd name="connsiteX90" fmla="*/ 7637 w 10000"/>
                <a:gd name="connsiteY90" fmla="*/ 6161 h 10002"/>
                <a:gd name="connsiteX91" fmla="*/ 7722 w 10000"/>
                <a:gd name="connsiteY91" fmla="*/ 6558 h 10002"/>
                <a:gd name="connsiteX92" fmla="*/ 7890 w 10000"/>
                <a:gd name="connsiteY92" fmla="*/ 6823 h 10002"/>
                <a:gd name="connsiteX93" fmla="*/ 7890 w 10000"/>
                <a:gd name="connsiteY93" fmla="*/ 7088 h 10002"/>
                <a:gd name="connsiteX94" fmla="*/ 7679 w 10000"/>
                <a:gd name="connsiteY94" fmla="*/ 7287 h 10002"/>
                <a:gd name="connsiteX95" fmla="*/ 7975 w 10000"/>
                <a:gd name="connsiteY95" fmla="*/ 7353 h 10002"/>
                <a:gd name="connsiteX96" fmla="*/ 7890 w 10000"/>
                <a:gd name="connsiteY96" fmla="*/ 7684 h 10002"/>
                <a:gd name="connsiteX97" fmla="*/ 7637 w 10000"/>
                <a:gd name="connsiteY97" fmla="*/ 8148 h 10002"/>
                <a:gd name="connsiteX98" fmla="*/ 7553 w 10000"/>
                <a:gd name="connsiteY98" fmla="*/ 8346 h 10002"/>
                <a:gd name="connsiteX99" fmla="*/ 7553 w 10000"/>
                <a:gd name="connsiteY99" fmla="*/ 8611 h 10002"/>
                <a:gd name="connsiteX100" fmla="*/ 7300 w 10000"/>
                <a:gd name="connsiteY100" fmla="*/ 8876 h 10002"/>
                <a:gd name="connsiteX101" fmla="*/ 7046 w 10000"/>
                <a:gd name="connsiteY101" fmla="*/ 9207 h 10002"/>
                <a:gd name="connsiteX102" fmla="*/ 6793 w 10000"/>
                <a:gd name="connsiteY102" fmla="*/ 9406 h 10002"/>
                <a:gd name="connsiteX103" fmla="*/ 6624 w 10000"/>
                <a:gd name="connsiteY103" fmla="*/ 9406 h 10002"/>
                <a:gd name="connsiteX104" fmla="*/ 6498 w 10000"/>
                <a:gd name="connsiteY104" fmla="*/ 9472 h 10002"/>
                <a:gd name="connsiteX105" fmla="*/ 6371 w 10000"/>
                <a:gd name="connsiteY105" fmla="*/ 9605 h 10002"/>
                <a:gd name="connsiteX106" fmla="*/ 6076 w 10000"/>
                <a:gd name="connsiteY106" fmla="*/ 9671 h 10002"/>
                <a:gd name="connsiteX107" fmla="*/ 6034 w 10000"/>
                <a:gd name="connsiteY107" fmla="*/ 9870 h 10002"/>
                <a:gd name="connsiteX108" fmla="*/ 5992 w 10000"/>
                <a:gd name="connsiteY108" fmla="*/ 10002 h 10002"/>
                <a:gd name="connsiteX109" fmla="*/ 5907 w 10000"/>
                <a:gd name="connsiteY109" fmla="*/ 9936 h 10002"/>
                <a:gd name="connsiteX110" fmla="*/ 5907 w 10000"/>
                <a:gd name="connsiteY110" fmla="*/ 9671 h 10002"/>
                <a:gd name="connsiteX111" fmla="*/ 5696 w 10000"/>
                <a:gd name="connsiteY111" fmla="*/ 9605 h 10002"/>
                <a:gd name="connsiteX112" fmla="*/ 5612 w 10000"/>
                <a:gd name="connsiteY112" fmla="*/ 9671 h 10002"/>
                <a:gd name="connsiteX113" fmla="*/ 5401 w 10000"/>
                <a:gd name="connsiteY113" fmla="*/ 9538 h 10002"/>
                <a:gd name="connsiteX114" fmla="*/ 5443 w 10000"/>
                <a:gd name="connsiteY114" fmla="*/ 9340 h 10002"/>
                <a:gd name="connsiteX115" fmla="*/ 5274 w 10000"/>
                <a:gd name="connsiteY115" fmla="*/ 9274 h 10002"/>
                <a:gd name="connsiteX116" fmla="*/ 5148 w 10000"/>
                <a:gd name="connsiteY116" fmla="*/ 9207 h 10002"/>
                <a:gd name="connsiteX117" fmla="*/ 4810 w 10000"/>
                <a:gd name="connsiteY117" fmla="*/ 9406 h 10002"/>
                <a:gd name="connsiteX118" fmla="*/ 4726 w 10000"/>
                <a:gd name="connsiteY118" fmla="*/ 9406 h 10002"/>
                <a:gd name="connsiteX119" fmla="*/ 4599 w 10000"/>
                <a:gd name="connsiteY119" fmla="*/ 9472 h 10002"/>
                <a:gd name="connsiteX120" fmla="*/ 4599 w 10000"/>
                <a:gd name="connsiteY120" fmla="*/ 9737 h 10002"/>
                <a:gd name="connsiteX121" fmla="*/ 4515 w 10000"/>
                <a:gd name="connsiteY121" fmla="*/ 9671 h 10002"/>
                <a:gd name="connsiteX122" fmla="*/ 4473 w 10000"/>
                <a:gd name="connsiteY122" fmla="*/ 9737 h 10002"/>
                <a:gd name="connsiteX123" fmla="*/ 4430 w 10000"/>
                <a:gd name="connsiteY123" fmla="*/ 9605 h 10002"/>
                <a:gd name="connsiteX124" fmla="*/ 4346 w 10000"/>
                <a:gd name="connsiteY124" fmla="*/ 9605 h 10002"/>
                <a:gd name="connsiteX125" fmla="*/ 4219 w 10000"/>
                <a:gd name="connsiteY125" fmla="*/ 9472 h 10002"/>
                <a:gd name="connsiteX126" fmla="*/ 4219 w 10000"/>
                <a:gd name="connsiteY126" fmla="*/ 9274 h 10002"/>
                <a:gd name="connsiteX127" fmla="*/ 4135 w 10000"/>
                <a:gd name="connsiteY127" fmla="*/ 9075 h 10002"/>
                <a:gd name="connsiteX128" fmla="*/ 4051 w 10000"/>
                <a:gd name="connsiteY128" fmla="*/ 9009 h 10002"/>
                <a:gd name="connsiteX129" fmla="*/ 3924 w 10000"/>
                <a:gd name="connsiteY129" fmla="*/ 9009 h 10002"/>
                <a:gd name="connsiteX130" fmla="*/ 3924 w 10000"/>
                <a:gd name="connsiteY130" fmla="*/ 8810 h 10002"/>
                <a:gd name="connsiteX131" fmla="*/ 4093 w 10000"/>
                <a:gd name="connsiteY131" fmla="*/ 8479 h 10002"/>
                <a:gd name="connsiteX132" fmla="*/ 4135 w 10000"/>
                <a:gd name="connsiteY132" fmla="*/ 8015 h 10002"/>
                <a:gd name="connsiteX133" fmla="*/ 4051 w 10000"/>
                <a:gd name="connsiteY133" fmla="*/ 8015 h 10002"/>
                <a:gd name="connsiteX134" fmla="*/ 3966 w 10000"/>
                <a:gd name="connsiteY134" fmla="*/ 7750 h 10002"/>
                <a:gd name="connsiteX135" fmla="*/ 3840 w 10000"/>
                <a:gd name="connsiteY135" fmla="*/ 7883 h 10002"/>
                <a:gd name="connsiteX136" fmla="*/ 3713 w 10000"/>
                <a:gd name="connsiteY136" fmla="*/ 7817 h 10002"/>
                <a:gd name="connsiteX137" fmla="*/ 3671 w 10000"/>
                <a:gd name="connsiteY137" fmla="*/ 7552 h 10002"/>
                <a:gd name="connsiteX138" fmla="*/ 3502 w 10000"/>
                <a:gd name="connsiteY138" fmla="*/ 7552 h 10002"/>
                <a:gd name="connsiteX139" fmla="*/ 3418 w 10000"/>
                <a:gd name="connsiteY139" fmla="*/ 7552 h 10002"/>
                <a:gd name="connsiteX140" fmla="*/ 3207 w 10000"/>
                <a:gd name="connsiteY140" fmla="*/ 7817 h 10002"/>
                <a:gd name="connsiteX141" fmla="*/ 3038 w 10000"/>
                <a:gd name="connsiteY141" fmla="*/ 7949 h 10002"/>
                <a:gd name="connsiteX142" fmla="*/ 2996 w 10000"/>
                <a:gd name="connsiteY142" fmla="*/ 8015 h 10002"/>
                <a:gd name="connsiteX143" fmla="*/ 2911 w 10000"/>
                <a:gd name="connsiteY143" fmla="*/ 7883 h 10002"/>
                <a:gd name="connsiteX144" fmla="*/ 2743 w 10000"/>
                <a:gd name="connsiteY144" fmla="*/ 7817 h 10002"/>
                <a:gd name="connsiteX145" fmla="*/ 2574 w 10000"/>
                <a:gd name="connsiteY145" fmla="*/ 7949 h 10002"/>
                <a:gd name="connsiteX146" fmla="*/ 2532 w 10000"/>
                <a:gd name="connsiteY146" fmla="*/ 8081 h 10002"/>
                <a:gd name="connsiteX147" fmla="*/ 2447 w 10000"/>
                <a:gd name="connsiteY147" fmla="*/ 7883 h 10002"/>
                <a:gd name="connsiteX148" fmla="*/ 2321 w 10000"/>
                <a:gd name="connsiteY148" fmla="*/ 7949 h 10002"/>
                <a:gd name="connsiteX149" fmla="*/ 2068 w 10000"/>
                <a:gd name="connsiteY149" fmla="*/ 7883 h 10002"/>
                <a:gd name="connsiteX150" fmla="*/ 1814 w 10000"/>
                <a:gd name="connsiteY150" fmla="*/ 7750 h 10002"/>
                <a:gd name="connsiteX151" fmla="*/ 1730 w 10000"/>
                <a:gd name="connsiteY151" fmla="*/ 7552 h 10002"/>
                <a:gd name="connsiteX152" fmla="*/ 1603 w 10000"/>
                <a:gd name="connsiteY152" fmla="*/ 7485 h 10002"/>
                <a:gd name="connsiteX153" fmla="*/ 1477 w 10000"/>
                <a:gd name="connsiteY153" fmla="*/ 7353 h 10002"/>
                <a:gd name="connsiteX154" fmla="*/ 1392 w 10000"/>
                <a:gd name="connsiteY154" fmla="*/ 7221 h 10002"/>
                <a:gd name="connsiteX155" fmla="*/ 1266 w 10000"/>
                <a:gd name="connsiteY155" fmla="*/ 7221 h 10002"/>
                <a:gd name="connsiteX156" fmla="*/ 1224 w 10000"/>
                <a:gd name="connsiteY156" fmla="*/ 7287 h 10002"/>
                <a:gd name="connsiteX157" fmla="*/ 1181 w 10000"/>
                <a:gd name="connsiteY157" fmla="*/ 7287 h 10002"/>
                <a:gd name="connsiteX158" fmla="*/ 844 w 10000"/>
                <a:gd name="connsiteY158" fmla="*/ 6956 h 10002"/>
                <a:gd name="connsiteX159" fmla="*/ 802 w 10000"/>
                <a:gd name="connsiteY159" fmla="*/ 6625 h 10002"/>
                <a:gd name="connsiteX160" fmla="*/ 970 w 10000"/>
                <a:gd name="connsiteY160" fmla="*/ 6558 h 10002"/>
                <a:gd name="connsiteX161" fmla="*/ 844 w 10000"/>
                <a:gd name="connsiteY161" fmla="*/ 6293 h 10002"/>
                <a:gd name="connsiteX162" fmla="*/ 970 w 10000"/>
                <a:gd name="connsiteY162" fmla="*/ 6227 h 10002"/>
                <a:gd name="connsiteX163" fmla="*/ 1097 w 10000"/>
                <a:gd name="connsiteY163" fmla="*/ 6028 h 10002"/>
                <a:gd name="connsiteX164" fmla="*/ 1097 w 10000"/>
                <a:gd name="connsiteY164" fmla="*/ 5764 h 10002"/>
                <a:gd name="connsiteX165" fmla="*/ 970 w 10000"/>
                <a:gd name="connsiteY165" fmla="*/ 5697 h 10002"/>
                <a:gd name="connsiteX166" fmla="*/ 844 w 10000"/>
                <a:gd name="connsiteY166" fmla="*/ 5697 h 10002"/>
                <a:gd name="connsiteX167" fmla="*/ 717 w 10000"/>
                <a:gd name="connsiteY167" fmla="*/ 5830 h 10002"/>
                <a:gd name="connsiteX168" fmla="*/ 633 w 10000"/>
                <a:gd name="connsiteY168" fmla="*/ 5764 h 10002"/>
                <a:gd name="connsiteX169" fmla="*/ 549 w 10000"/>
                <a:gd name="connsiteY169" fmla="*/ 5764 h 10002"/>
                <a:gd name="connsiteX170" fmla="*/ 380 w 10000"/>
                <a:gd name="connsiteY170" fmla="*/ 5565 h 10002"/>
                <a:gd name="connsiteX171" fmla="*/ 253 w 10000"/>
                <a:gd name="connsiteY171" fmla="*/ 5366 h 10002"/>
                <a:gd name="connsiteX172" fmla="*/ 211 w 10000"/>
                <a:gd name="connsiteY172" fmla="*/ 5234 h 10002"/>
                <a:gd name="connsiteX173" fmla="*/ 211 w 10000"/>
                <a:gd name="connsiteY173" fmla="*/ 5168 h 10002"/>
                <a:gd name="connsiteX174" fmla="*/ 211 w 10000"/>
                <a:gd name="connsiteY174" fmla="*/ 4903 h 10002"/>
                <a:gd name="connsiteX175" fmla="*/ 42 w 10000"/>
                <a:gd name="connsiteY175" fmla="*/ 4836 h 10002"/>
                <a:gd name="connsiteX176" fmla="*/ 0 w 10000"/>
                <a:gd name="connsiteY176" fmla="*/ 4638 h 10002"/>
                <a:gd name="connsiteX177" fmla="*/ 42 w 10000"/>
                <a:gd name="connsiteY177" fmla="*/ 4572 h 10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</a:cxnLst>
              <a:rect l="l" t="t" r="r" b="b"/>
              <a:pathLst>
                <a:path w="10000" h="10002">
                  <a:moveTo>
                    <a:pt x="42" y="4572"/>
                  </a:moveTo>
                  <a:cubicBezTo>
                    <a:pt x="84" y="4505"/>
                    <a:pt x="253" y="4240"/>
                    <a:pt x="295" y="4240"/>
                  </a:cubicBezTo>
                  <a:cubicBezTo>
                    <a:pt x="338" y="4240"/>
                    <a:pt x="338" y="4373"/>
                    <a:pt x="380" y="4373"/>
                  </a:cubicBezTo>
                  <a:lnTo>
                    <a:pt x="506" y="4373"/>
                  </a:lnTo>
                  <a:cubicBezTo>
                    <a:pt x="549" y="4307"/>
                    <a:pt x="506" y="4108"/>
                    <a:pt x="549" y="4108"/>
                  </a:cubicBezTo>
                  <a:lnTo>
                    <a:pt x="759" y="4108"/>
                  </a:lnTo>
                  <a:cubicBezTo>
                    <a:pt x="844" y="4042"/>
                    <a:pt x="1055" y="3909"/>
                    <a:pt x="1097" y="3843"/>
                  </a:cubicBezTo>
                  <a:lnTo>
                    <a:pt x="1097" y="3777"/>
                  </a:lnTo>
                  <a:cubicBezTo>
                    <a:pt x="1097" y="3644"/>
                    <a:pt x="1139" y="3446"/>
                    <a:pt x="1139" y="3446"/>
                  </a:cubicBezTo>
                  <a:cubicBezTo>
                    <a:pt x="1139" y="3379"/>
                    <a:pt x="1097" y="2916"/>
                    <a:pt x="1097" y="2916"/>
                  </a:cubicBezTo>
                  <a:lnTo>
                    <a:pt x="1392" y="2783"/>
                  </a:lnTo>
                  <a:cubicBezTo>
                    <a:pt x="1435" y="2783"/>
                    <a:pt x="1561" y="2187"/>
                    <a:pt x="1561" y="2187"/>
                  </a:cubicBezTo>
                  <a:cubicBezTo>
                    <a:pt x="1561" y="2187"/>
                    <a:pt x="1857" y="2254"/>
                    <a:pt x="1941" y="2254"/>
                  </a:cubicBezTo>
                  <a:cubicBezTo>
                    <a:pt x="1983" y="2187"/>
                    <a:pt x="1941" y="1856"/>
                    <a:pt x="1983" y="1790"/>
                  </a:cubicBezTo>
                  <a:cubicBezTo>
                    <a:pt x="2025" y="1790"/>
                    <a:pt x="2068" y="1790"/>
                    <a:pt x="2110" y="1724"/>
                  </a:cubicBezTo>
                  <a:lnTo>
                    <a:pt x="2236" y="1525"/>
                  </a:lnTo>
                  <a:cubicBezTo>
                    <a:pt x="2278" y="1525"/>
                    <a:pt x="2321" y="1591"/>
                    <a:pt x="2321" y="1591"/>
                  </a:cubicBezTo>
                  <a:cubicBezTo>
                    <a:pt x="2321" y="1591"/>
                    <a:pt x="2405" y="1790"/>
                    <a:pt x="2447" y="1856"/>
                  </a:cubicBezTo>
                  <a:cubicBezTo>
                    <a:pt x="2489" y="1923"/>
                    <a:pt x="2658" y="1923"/>
                    <a:pt x="2700" y="1989"/>
                  </a:cubicBezTo>
                  <a:cubicBezTo>
                    <a:pt x="2743" y="2055"/>
                    <a:pt x="2869" y="2386"/>
                    <a:pt x="2869" y="2452"/>
                  </a:cubicBezTo>
                  <a:cubicBezTo>
                    <a:pt x="2827" y="2585"/>
                    <a:pt x="2785" y="2651"/>
                    <a:pt x="2827" y="2783"/>
                  </a:cubicBezTo>
                  <a:cubicBezTo>
                    <a:pt x="2911" y="2850"/>
                    <a:pt x="3165" y="2916"/>
                    <a:pt x="3207" y="2916"/>
                  </a:cubicBezTo>
                  <a:cubicBezTo>
                    <a:pt x="3291" y="2916"/>
                    <a:pt x="3460" y="3048"/>
                    <a:pt x="3502" y="3115"/>
                  </a:cubicBezTo>
                  <a:cubicBezTo>
                    <a:pt x="3544" y="3181"/>
                    <a:pt x="3713" y="3578"/>
                    <a:pt x="3713" y="3578"/>
                  </a:cubicBezTo>
                  <a:cubicBezTo>
                    <a:pt x="3713" y="3644"/>
                    <a:pt x="4430" y="3578"/>
                    <a:pt x="4473" y="3644"/>
                  </a:cubicBezTo>
                  <a:cubicBezTo>
                    <a:pt x="4515" y="3711"/>
                    <a:pt x="5021" y="3976"/>
                    <a:pt x="5105" y="3976"/>
                  </a:cubicBezTo>
                  <a:cubicBezTo>
                    <a:pt x="5148" y="3909"/>
                    <a:pt x="5485" y="3711"/>
                    <a:pt x="5527" y="3711"/>
                  </a:cubicBezTo>
                  <a:cubicBezTo>
                    <a:pt x="5570" y="3711"/>
                    <a:pt x="5865" y="3711"/>
                    <a:pt x="5949" y="3644"/>
                  </a:cubicBezTo>
                  <a:cubicBezTo>
                    <a:pt x="6034" y="3578"/>
                    <a:pt x="6287" y="3379"/>
                    <a:pt x="6245" y="3313"/>
                  </a:cubicBezTo>
                  <a:cubicBezTo>
                    <a:pt x="6245" y="3181"/>
                    <a:pt x="6160" y="3181"/>
                    <a:pt x="6160" y="3048"/>
                  </a:cubicBezTo>
                  <a:cubicBezTo>
                    <a:pt x="6203" y="2982"/>
                    <a:pt x="6245" y="2850"/>
                    <a:pt x="6329" y="2850"/>
                  </a:cubicBezTo>
                  <a:cubicBezTo>
                    <a:pt x="6371" y="2850"/>
                    <a:pt x="6540" y="2982"/>
                    <a:pt x="6624" y="2982"/>
                  </a:cubicBezTo>
                  <a:cubicBezTo>
                    <a:pt x="6709" y="2916"/>
                    <a:pt x="6920" y="2783"/>
                    <a:pt x="6962" y="2651"/>
                  </a:cubicBezTo>
                  <a:cubicBezTo>
                    <a:pt x="6962" y="2651"/>
                    <a:pt x="7131" y="2386"/>
                    <a:pt x="7173" y="2386"/>
                  </a:cubicBezTo>
                  <a:cubicBezTo>
                    <a:pt x="7215" y="2386"/>
                    <a:pt x="7342" y="2320"/>
                    <a:pt x="7384" y="2320"/>
                  </a:cubicBezTo>
                  <a:cubicBezTo>
                    <a:pt x="7426" y="2320"/>
                    <a:pt x="7511" y="2452"/>
                    <a:pt x="7553" y="2452"/>
                  </a:cubicBezTo>
                  <a:cubicBezTo>
                    <a:pt x="7553" y="2452"/>
                    <a:pt x="7595" y="2386"/>
                    <a:pt x="7595" y="2320"/>
                  </a:cubicBezTo>
                  <a:cubicBezTo>
                    <a:pt x="7595" y="2320"/>
                    <a:pt x="7595" y="2187"/>
                    <a:pt x="7553" y="2121"/>
                  </a:cubicBezTo>
                  <a:cubicBezTo>
                    <a:pt x="7511" y="2055"/>
                    <a:pt x="7384" y="1923"/>
                    <a:pt x="7300" y="1923"/>
                  </a:cubicBezTo>
                  <a:cubicBezTo>
                    <a:pt x="7257" y="1923"/>
                    <a:pt x="7131" y="2055"/>
                    <a:pt x="7131" y="2055"/>
                  </a:cubicBezTo>
                  <a:lnTo>
                    <a:pt x="6920" y="2055"/>
                  </a:lnTo>
                  <a:cubicBezTo>
                    <a:pt x="6920" y="2055"/>
                    <a:pt x="6835" y="1923"/>
                    <a:pt x="6835" y="1856"/>
                  </a:cubicBezTo>
                  <a:cubicBezTo>
                    <a:pt x="6835" y="1856"/>
                    <a:pt x="7046" y="1393"/>
                    <a:pt x="7046" y="1327"/>
                  </a:cubicBezTo>
                  <a:cubicBezTo>
                    <a:pt x="7046" y="1327"/>
                    <a:pt x="7257" y="1459"/>
                    <a:pt x="7300" y="1393"/>
                  </a:cubicBezTo>
                  <a:cubicBezTo>
                    <a:pt x="7300" y="1393"/>
                    <a:pt x="7468" y="1260"/>
                    <a:pt x="7468" y="1194"/>
                  </a:cubicBezTo>
                  <a:cubicBezTo>
                    <a:pt x="7468" y="1128"/>
                    <a:pt x="7637" y="797"/>
                    <a:pt x="7679" y="730"/>
                  </a:cubicBezTo>
                  <a:cubicBezTo>
                    <a:pt x="7722" y="598"/>
                    <a:pt x="7722" y="532"/>
                    <a:pt x="7679" y="466"/>
                  </a:cubicBezTo>
                  <a:cubicBezTo>
                    <a:pt x="7679" y="466"/>
                    <a:pt x="7540" y="471"/>
                    <a:pt x="7553" y="399"/>
                  </a:cubicBezTo>
                  <a:cubicBezTo>
                    <a:pt x="7566" y="327"/>
                    <a:pt x="7670" y="103"/>
                    <a:pt x="7755" y="36"/>
                  </a:cubicBezTo>
                  <a:cubicBezTo>
                    <a:pt x="7839" y="-30"/>
                    <a:pt x="8143" y="2"/>
                    <a:pt x="8228" y="68"/>
                  </a:cubicBezTo>
                  <a:cubicBezTo>
                    <a:pt x="8354" y="201"/>
                    <a:pt x="8523" y="201"/>
                    <a:pt x="8565" y="333"/>
                  </a:cubicBezTo>
                  <a:cubicBezTo>
                    <a:pt x="8608" y="399"/>
                    <a:pt x="8776" y="1128"/>
                    <a:pt x="8819" y="1194"/>
                  </a:cubicBezTo>
                  <a:cubicBezTo>
                    <a:pt x="8819" y="1260"/>
                    <a:pt x="8819" y="1327"/>
                    <a:pt x="8861" y="1393"/>
                  </a:cubicBezTo>
                  <a:cubicBezTo>
                    <a:pt x="8945" y="1459"/>
                    <a:pt x="9241" y="1525"/>
                    <a:pt x="9283" y="1591"/>
                  </a:cubicBezTo>
                  <a:cubicBezTo>
                    <a:pt x="9325" y="1658"/>
                    <a:pt x="9367" y="2055"/>
                    <a:pt x="9409" y="2055"/>
                  </a:cubicBezTo>
                  <a:cubicBezTo>
                    <a:pt x="9451" y="2055"/>
                    <a:pt x="9620" y="2055"/>
                    <a:pt x="9662" y="1989"/>
                  </a:cubicBezTo>
                  <a:cubicBezTo>
                    <a:pt x="9705" y="1923"/>
                    <a:pt x="9916" y="1724"/>
                    <a:pt x="9958" y="1790"/>
                  </a:cubicBezTo>
                  <a:cubicBezTo>
                    <a:pt x="10000" y="1856"/>
                    <a:pt x="10000" y="1989"/>
                    <a:pt x="10000" y="2055"/>
                  </a:cubicBezTo>
                  <a:cubicBezTo>
                    <a:pt x="10000" y="2121"/>
                    <a:pt x="9873" y="2320"/>
                    <a:pt x="9873" y="2386"/>
                  </a:cubicBezTo>
                  <a:cubicBezTo>
                    <a:pt x="9873" y="2452"/>
                    <a:pt x="9789" y="2916"/>
                    <a:pt x="9747" y="2916"/>
                  </a:cubicBezTo>
                  <a:cubicBezTo>
                    <a:pt x="9747" y="2916"/>
                    <a:pt x="9578" y="2783"/>
                    <a:pt x="9494" y="2850"/>
                  </a:cubicBezTo>
                  <a:cubicBezTo>
                    <a:pt x="9451" y="2916"/>
                    <a:pt x="9325" y="2916"/>
                    <a:pt x="9367" y="2982"/>
                  </a:cubicBezTo>
                  <a:cubicBezTo>
                    <a:pt x="9409" y="3048"/>
                    <a:pt x="9367" y="3446"/>
                    <a:pt x="9325" y="3512"/>
                  </a:cubicBezTo>
                  <a:lnTo>
                    <a:pt x="9283" y="3512"/>
                  </a:lnTo>
                  <a:lnTo>
                    <a:pt x="9198" y="3512"/>
                  </a:lnTo>
                  <a:cubicBezTo>
                    <a:pt x="9156" y="3578"/>
                    <a:pt x="9114" y="3711"/>
                    <a:pt x="9072" y="3777"/>
                  </a:cubicBezTo>
                  <a:cubicBezTo>
                    <a:pt x="9030" y="3777"/>
                    <a:pt x="8945" y="3843"/>
                    <a:pt x="8903" y="3843"/>
                  </a:cubicBezTo>
                  <a:cubicBezTo>
                    <a:pt x="8903" y="3909"/>
                    <a:pt x="8945" y="3976"/>
                    <a:pt x="8861" y="3976"/>
                  </a:cubicBezTo>
                  <a:cubicBezTo>
                    <a:pt x="8819" y="3976"/>
                    <a:pt x="8734" y="3909"/>
                    <a:pt x="8650" y="3976"/>
                  </a:cubicBezTo>
                  <a:cubicBezTo>
                    <a:pt x="8608" y="4042"/>
                    <a:pt x="8565" y="4174"/>
                    <a:pt x="8523" y="4240"/>
                  </a:cubicBezTo>
                  <a:cubicBezTo>
                    <a:pt x="8481" y="4240"/>
                    <a:pt x="8354" y="4373"/>
                    <a:pt x="8354" y="4373"/>
                  </a:cubicBezTo>
                  <a:lnTo>
                    <a:pt x="8312" y="4505"/>
                  </a:lnTo>
                  <a:lnTo>
                    <a:pt x="8270" y="4505"/>
                  </a:lnTo>
                  <a:cubicBezTo>
                    <a:pt x="8228" y="4505"/>
                    <a:pt x="8017" y="4638"/>
                    <a:pt x="7975" y="4704"/>
                  </a:cubicBezTo>
                  <a:cubicBezTo>
                    <a:pt x="7932" y="4770"/>
                    <a:pt x="7848" y="4704"/>
                    <a:pt x="7806" y="4638"/>
                  </a:cubicBezTo>
                  <a:cubicBezTo>
                    <a:pt x="7806" y="4572"/>
                    <a:pt x="7890" y="4373"/>
                    <a:pt x="7932" y="4373"/>
                  </a:cubicBezTo>
                  <a:cubicBezTo>
                    <a:pt x="7975" y="4307"/>
                    <a:pt x="7975" y="4240"/>
                    <a:pt x="7890" y="4174"/>
                  </a:cubicBezTo>
                  <a:cubicBezTo>
                    <a:pt x="7848" y="4108"/>
                    <a:pt x="7722" y="4174"/>
                    <a:pt x="7722" y="4240"/>
                  </a:cubicBezTo>
                  <a:lnTo>
                    <a:pt x="7468" y="4638"/>
                  </a:lnTo>
                  <a:cubicBezTo>
                    <a:pt x="7426" y="4704"/>
                    <a:pt x="7342" y="4704"/>
                    <a:pt x="7300" y="4704"/>
                  </a:cubicBezTo>
                  <a:cubicBezTo>
                    <a:pt x="7257" y="4638"/>
                    <a:pt x="7173" y="4770"/>
                    <a:pt x="7173" y="4836"/>
                  </a:cubicBezTo>
                  <a:cubicBezTo>
                    <a:pt x="7173" y="4969"/>
                    <a:pt x="7257" y="5035"/>
                    <a:pt x="7300" y="5035"/>
                  </a:cubicBezTo>
                  <a:cubicBezTo>
                    <a:pt x="7342" y="5035"/>
                    <a:pt x="7384" y="4969"/>
                    <a:pt x="7426" y="4969"/>
                  </a:cubicBezTo>
                  <a:lnTo>
                    <a:pt x="7426" y="5300"/>
                  </a:lnTo>
                  <a:cubicBezTo>
                    <a:pt x="7468" y="5300"/>
                    <a:pt x="7553" y="5366"/>
                    <a:pt x="7595" y="5300"/>
                  </a:cubicBezTo>
                  <a:cubicBezTo>
                    <a:pt x="7595" y="5234"/>
                    <a:pt x="7679" y="5168"/>
                    <a:pt x="7679" y="5101"/>
                  </a:cubicBezTo>
                  <a:cubicBezTo>
                    <a:pt x="7722" y="5035"/>
                    <a:pt x="7975" y="5168"/>
                    <a:pt x="8017" y="5168"/>
                  </a:cubicBezTo>
                  <a:cubicBezTo>
                    <a:pt x="8059" y="5234"/>
                    <a:pt x="7975" y="5366"/>
                    <a:pt x="7975" y="5366"/>
                  </a:cubicBezTo>
                  <a:cubicBezTo>
                    <a:pt x="7975" y="5432"/>
                    <a:pt x="7806" y="5432"/>
                    <a:pt x="7764" y="5499"/>
                  </a:cubicBezTo>
                  <a:cubicBezTo>
                    <a:pt x="7679" y="5631"/>
                    <a:pt x="7426" y="5896"/>
                    <a:pt x="7468" y="5962"/>
                  </a:cubicBezTo>
                  <a:cubicBezTo>
                    <a:pt x="7511" y="6028"/>
                    <a:pt x="7637" y="6095"/>
                    <a:pt x="7637" y="6161"/>
                  </a:cubicBezTo>
                  <a:cubicBezTo>
                    <a:pt x="7679" y="6227"/>
                    <a:pt x="7722" y="6492"/>
                    <a:pt x="7722" y="6558"/>
                  </a:cubicBezTo>
                  <a:cubicBezTo>
                    <a:pt x="7764" y="6625"/>
                    <a:pt x="7890" y="6757"/>
                    <a:pt x="7890" y="6823"/>
                  </a:cubicBezTo>
                  <a:lnTo>
                    <a:pt x="7890" y="7088"/>
                  </a:lnTo>
                  <a:cubicBezTo>
                    <a:pt x="7890" y="7088"/>
                    <a:pt x="7679" y="7221"/>
                    <a:pt x="7679" y="7287"/>
                  </a:cubicBezTo>
                  <a:cubicBezTo>
                    <a:pt x="7679" y="7287"/>
                    <a:pt x="7975" y="7287"/>
                    <a:pt x="7975" y="7353"/>
                  </a:cubicBezTo>
                  <a:cubicBezTo>
                    <a:pt x="7975" y="7419"/>
                    <a:pt x="7890" y="7552"/>
                    <a:pt x="7890" y="7684"/>
                  </a:cubicBezTo>
                  <a:cubicBezTo>
                    <a:pt x="7848" y="7750"/>
                    <a:pt x="7679" y="8015"/>
                    <a:pt x="7637" y="8148"/>
                  </a:cubicBezTo>
                  <a:cubicBezTo>
                    <a:pt x="7637" y="8214"/>
                    <a:pt x="7553" y="8214"/>
                    <a:pt x="7553" y="8346"/>
                  </a:cubicBezTo>
                  <a:lnTo>
                    <a:pt x="7553" y="8611"/>
                  </a:lnTo>
                  <a:cubicBezTo>
                    <a:pt x="7511" y="8611"/>
                    <a:pt x="7342" y="8810"/>
                    <a:pt x="7300" y="8876"/>
                  </a:cubicBezTo>
                  <a:cubicBezTo>
                    <a:pt x="7257" y="8942"/>
                    <a:pt x="7089" y="9141"/>
                    <a:pt x="7046" y="9207"/>
                  </a:cubicBezTo>
                  <a:cubicBezTo>
                    <a:pt x="7046" y="9274"/>
                    <a:pt x="6878" y="9406"/>
                    <a:pt x="6793" y="9406"/>
                  </a:cubicBezTo>
                  <a:cubicBezTo>
                    <a:pt x="6709" y="9406"/>
                    <a:pt x="6624" y="9472"/>
                    <a:pt x="6624" y="9406"/>
                  </a:cubicBezTo>
                  <a:cubicBezTo>
                    <a:pt x="6540" y="9274"/>
                    <a:pt x="6498" y="9406"/>
                    <a:pt x="6498" y="9472"/>
                  </a:cubicBezTo>
                  <a:cubicBezTo>
                    <a:pt x="6456" y="9538"/>
                    <a:pt x="6456" y="9605"/>
                    <a:pt x="6371" y="9605"/>
                  </a:cubicBezTo>
                  <a:cubicBezTo>
                    <a:pt x="6329" y="9605"/>
                    <a:pt x="6118" y="9671"/>
                    <a:pt x="6076" y="9671"/>
                  </a:cubicBezTo>
                  <a:cubicBezTo>
                    <a:pt x="6034" y="9737"/>
                    <a:pt x="5992" y="9737"/>
                    <a:pt x="6034" y="9870"/>
                  </a:cubicBezTo>
                  <a:cubicBezTo>
                    <a:pt x="6034" y="9936"/>
                    <a:pt x="6034" y="10002"/>
                    <a:pt x="5992" y="10002"/>
                  </a:cubicBezTo>
                  <a:cubicBezTo>
                    <a:pt x="5949" y="10002"/>
                    <a:pt x="5949" y="10002"/>
                    <a:pt x="5907" y="9936"/>
                  </a:cubicBezTo>
                  <a:lnTo>
                    <a:pt x="5907" y="9671"/>
                  </a:lnTo>
                  <a:cubicBezTo>
                    <a:pt x="5865" y="9605"/>
                    <a:pt x="5738" y="9605"/>
                    <a:pt x="5696" y="9605"/>
                  </a:cubicBezTo>
                  <a:cubicBezTo>
                    <a:pt x="5654" y="9605"/>
                    <a:pt x="5654" y="9671"/>
                    <a:pt x="5612" y="9671"/>
                  </a:cubicBezTo>
                  <a:cubicBezTo>
                    <a:pt x="5612" y="9671"/>
                    <a:pt x="5443" y="9538"/>
                    <a:pt x="5401" y="9538"/>
                  </a:cubicBezTo>
                  <a:cubicBezTo>
                    <a:pt x="5401" y="9472"/>
                    <a:pt x="5485" y="9340"/>
                    <a:pt x="5443" y="9340"/>
                  </a:cubicBezTo>
                  <a:cubicBezTo>
                    <a:pt x="5401" y="9274"/>
                    <a:pt x="5316" y="9274"/>
                    <a:pt x="5274" y="9274"/>
                  </a:cubicBezTo>
                  <a:cubicBezTo>
                    <a:pt x="5274" y="9274"/>
                    <a:pt x="5190" y="9207"/>
                    <a:pt x="5148" y="9207"/>
                  </a:cubicBezTo>
                  <a:cubicBezTo>
                    <a:pt x="5148" y="9274"/>
                    <a:pt x="4852" y="9406"/>
                    <a:pt x="4810" y="9406"/>
                  </a:cubicBezTo>
                  <a:lnTo>
                    <a:pt x="4726" y="9406"/>
                  </a:lnTo>
                  <a:cubicBezTo>
                    <a:pt x="4684" y="9406"/>
                    <a:pt x="4641" y="9406"/>
                    <a:pt x="4599" y="9472"/>
                  </a:cubicBezTo>
                  <a:lnTo>
                    <a:pt x="4599" y="9737"/>
                  </a:lnTo>
                  <a:cubicBezTo>
                    <a:pt x="4557" y="9737"/>
                    <a:pt x="4557" y="9671"/>
                    <a:pt x="4515" y="9671"/>
                  </a:cubicBezTo>
                  <a:lnTo>
                    <a:pt x="4473" y="9737"/>
                  </a:lnTo>
                  <a:lnTo>
                    <a:pt x="4430" y="9605"/>
                  </a:lnTo>
                  <a:lnTo>
                    <a:pt x="4346" y="9605"/>
                  </a:lnTo>
                  <a:cubicBezTo>
                    <a:pt x="4304" y="9605"/>
                    <a:pt x="4262" y="9538"/>
                    <a:pt x="4219" y="9472"/>
                  </a:cubicBezTo>
                  <a:cubicBezTo>
                    <a:pt x="4177" y="9406"/>
                    <a:pt x="4262" y="9274"/>
                    <a:pt x="4219" y="9274"/>
                  </a:cubicBezTo>
                  <a:cubicBezTo>
                    <a:pt x="4219" y="9207"/>
                    <a:pt x="4135" y="9141"/>
                    <a:pt x="4135" y="9075"/>
                  </a:cubicBezTo>
                  <a:cubicBezTo>
                    <a:pt x="4135" y="9009"/>
                    <a:pt x="4093" y="9009"/>
                    <a:pt x="4051" y="9009"/>
                  </a:cubicBezTo>
                  <a:cubicBezTo>
                    <a:pt x="4051" y="9009"/>
                    <a:pt x="3966" y="9075"/>
                    <a:pt x="3924" y="9009"/>
                  </a:cubicBezTo>
                  <a:lnTo>
                    <a:pt x="3924" y="8810"/>
                  </a:lnTo>
                  <a:cubicBezTo>
                    <a:pt x="3966" y="8744"/>
                    <a:pt x="4093" y="8545"/>
                    <a:pt x="4093" y="8479"/>
                  </a:cubicBezTo>
                  <a:cubicBezTo>
                    <a:pt x="4135" y="8413"/>
                    <a:pt x="4135" y="8081"/>
                    <a:pt x="4135" y="8015"/>
                  </a:cubicBezTo>
                  <a:lnTo>
                    <a:pt x="4051" y="8015"/>
                  </a:lnTo>
                  <a:cubicBezTo>
                    <a:pt x="4008" y="7949"/>
                    <a:pt x="4008" y="7817"/>
                    <a:pt x="3966" y="7750"/>
                  </a:cubicBezTo>
                  <a:cubicBezTo>
                    <a:pt x="3924" y="7750"/>
                    <a:pt x="3882" y="7883"/>
                    <a:pt x="3840" y="7883"/>
                  </a:cubicBezTo>
                  <a:cubicBezTo>
                    <a:pt x="3797" y="7883"/>
                    <a:pt x="3713" y="7883"/>
                    <a:pt x="3713" y="7817"/>
                  </a:cubicBezTo>
                  <a:cubicBezTo>
                    <a:pt x="3671" y="7750"/>
                    <a:pt x="3713" y="7552"/>
                    <a:pt x="3671" y="7552"/>
                  </a:cubicBezTo>
                  <a:cubicBezTo>
                    <a:pt x="3671" y="7485"/>
                    <a:pt x="3544" y="7618"/>
                    <a:pt x="3502" y="7552"/>
                  </a:cubicBezTo>
                  <a:lnTo>
                    <a:pt x="3418" y="7552"/>
                  </a:lnTo>
                  <a:cubicBezTo>
                    <a:pt x="3376" y="7618"/>
                    <a:pt x="3291" y="7750"/>
                    <a:pt x="3207" y="7817"/>
                  </a:cubicBezTo>
                  <a:cubicBezTo>
                    <a:pt x="3165" y="7817"/>
                    <a:pt x="3080" y="7949"/>
                    <a:pt x="3038" y="7949"/>
                  </a:cubicBezTo>
                  <a:cubicBezTo>
                    <a:pt x="2996" y="7949"/>
                    <a:pt x="2996" y="8015"/>
                    <a:pt x="2996" y="8015"/>
                  </a:cubicBezTo>
                  <a:cubicBezTo>
                    <a:pt x="2954" y="7949"/>
                    <a:pt x="2954" y="7883"/>
                    <a:pt x="2911" y="7883"/>
                  </a:cubicBezTo>
                  <a:cubicBezTo>
                    <a:pt x="2869" y="7883"/>
                    <a:pt x="2785" y="7817"/>
                    <a:pt x="2743" y="7817"/>
                  </a:cubicBezTo>
                  <a:cubicBezTo>
                    <a:pt x="2700" y="7817"/>
                    <a:pt x="2616" y="7883"/>
                    <a:pt x="2574" y="7949"/>
                  </a:cubicBezTo>
                  <a:cubicBezTo>
                    <a:pt x="2574" y="7949"/>
                    <a:pt x="2574" y="8081"/>
                    <a:pt x="2532" y="8081"/>
                  </a:cubicBezTo>
                  <a:cubicBezTo>
                    <a:pt x="2447" y="8015"/>
                    <a:pt x="2532" y="7883"/>
                    <a:pt x="2447" y="7883"/>
                  </a:cubicBezTo>
                  <a:cubicBezTo>
                    <a:pt x="2405" y="7883"/>
                    <a:pt x="2447" y="7949"/>
                    <a:pt x="2321" y="7949"/>
                  </a:cubicBezTo>
                  <a:cubicBezTo>
                    <a:pt x="2236" y="7949"/>
                    <a:pt x="2152" y="7949"/>
                    <a:pt x="2068" y="7883"/>
                  </a:cubicBezTo>
                  <a:cubicBezTo>
                    <a:pt x="1983" y="7883"/>
                    <a:pt x="1899" y="7817"/>
                    <a:pt x="1814" y="7750"/>
                  </a:cubicBezTo>
                  <a:cubicBezTo>
                    <a:pt x="1772" y="7684"/>
                    <a:pt x="1730" y="7552"/>
                    <a:pt x="1730" y="7552"/>
                  </a:cubicBezTo>
                  <a:lnTo>
                    <a:pt x="1603" y="7485"/>
                  </a:lnTo>
                  <a:cubicBezTo>
                    <a:pt x="1603" y="7485"/>
                    <a:pt x="1519" y="7419"/>
                    <a:pt x="1477" y="7353"/>
                  </a:cubicBezTo>
                  <a:cubicBezTo>
                    <a:pt x="1435" y="7353"/>
                    <a:pt x="1392" y="7221"/>
                    <a:pt x="1392" y="7221"/>
                  </a:cubicBezTo>
                  <a:lnTo>
                    <a:pt x="1266" y="7221"/>
                  </a:lnTo>
                  <a:lnTo>
                    <a:pt x="1224" y="7287"/>
                  </a:lnTo>
                  <a:lnTo>
                    <a:pt x="1181" y="7287"/>
                  </a:lnTo>
                  <a:cubicBezTo>
                    <a:pt x="1097" y="7221"/>
                    <a:pt x="844" y="6956"/>
                    <a:pt x="844" y="6956"/>
                  </a:cubicBezTo>
                  <a:cubicBezTo>
                    <a:pt x="844" y="6889"/>
                    <a:pt x="802" y="6625"/>
                    <a:pt x="802" y="6625"/>
                  </a:cubicBezTo>
                  <a:cubicBezTo>
                    <a:pt x="802" y="6625"/>
                    <a:pt x="970" y="6625"/>
                    <a:pt x="970" y="6558"/>
                  </a:cubicBezTo>
                  <a:lnTo>
                    <a:pt x="844" y="6293"/>
                  </a:lnTo>
                  <a:lnTo>
                    <a:pt x="970" y="6227"/>
                  </a:lnTo>
                  <a:cubicBezTo>
                    <a:pt x="970" y="6227"/>
                    <a:pt x="1055" y="6028"/>
                    <a:pt x="1097" y="6028"/>
                  </a:cubicBezTo>
                  <a:lnTo>
                    <a:pt x="1097" y="5764"/>
                  </a:lnTo>
                  <a:lnTo>
                    <a:pt x="970" y="5697"/>
                  </a:lnTo>
                  <a:lnTo>
                    <a:pt x="844" y="5697"/>
                  </a:lnTo>
                  <a:lnTo>
                    <a:pt x="717" y="5830"/>
                  </a:lnTo>
                  <a:cubicBezTo>
                    <a:pt x="717" y="5764"/>
                    <a:pt x="675" y="5764"/>
                    <a:pt x="633" y="5764"/>
                  </a:cubicBezTo>
                  <a:lnTo>
                    <a:pt x="549" y="5764"/>
                  </a:lnTo>
                  <a:cubicBezTo>
                    <a:pt x="464" y="5697"/>
                    <a:pt x="422" y="5697"/>
                    <a:pt x="380" y="5565"/>
                  </a:cubicBezTo>
                  <a:lnTo>
                    <a:pt x="253" y="5366"/>
                  </a:lnTo>
                  <a:cubicBezTo>
                    <a:pt x="211" y="5366"/>
                    <a:pt x="211" y="5366"/>
                    <a:pt x="211" y="5234"/>
                  </a:cubicBezTo>
                  <a:lnTo>
                    <a:pt x="211" y="5168"/>
                  </a:lnTo>
                  <a:lnTo>
                    <a:pt x="211" y="4903"/>
                  </a:lnTo>
                  <a:cubicBezTo>
                    <a:pt x="169" y="4903"/>
                    <a:pt x="84" y="4903"/>
                    <a:pt x="42" y="4836"/>
                  </a:cubicBezTo>
                  <a:cubicBezTo>
                    <a:pt x="0" y="4836"/>
                    <a:pt x="0" y="4704"/>
                    <a:pt x="0" y="4638"/>
                  </a:cubicBezTo>
                  <a:cubicBezTo>
                    <a:pt x="0" y="4572"/>
                    <a:pt x="0" y="4572"/>
                    <a:pt x="42" y="457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" name="Freeform 632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391161" y="2611161"/>
              <a:ext cx="756214" cy="346789"/>
            </a:xfrm>
            <a:custGeom>
              <a:avLst/>
              <a:gdLst>
                <a:gd name="T0" fmla="*/ 0 w 125"/>
                <a:gd name="T1" fmla="*/ 16 h 52"/>
                <a:gd name="T2" fmla="*/ 3 w 125"/>
                <a:gd name="T3" fmla="*/ 14 h 52"/>
                <a:gd name="T4" fmla="*/ 8 w 125"/>
                <a:gd name="T5" fmla="*/ 11 h 52"/>
                <a:gd name="T6" fmla="*/ 16 w 125"/>
                <a:gd name="T7" fmla="*/ 9 h 52"/>
                <a:gd name="T8" fmla="*/ 24 w 125"/>
                <a:gd name="T9" fmla="*/ 8 h 52"/>
                <a:gd name="T10" fmla="*/ 27 w 125"/>
                <a:gd name="T11" fmla="*/ 11 h 52"/>
                <a:gd name="T12" fmla="*/ 36 w 125"/>
                <a:gd name="T13" fmla="*/ 13 h 52"/>
                <a:gd name="T14" fmla="*/ 40 w 125"/>
                <a:gd name="T15" fmla="*/ 11 h 52"/>
                <a:gd name="T16" fmla="*/ 39 w 125"/>
                <a:gd name="T17" fmla="*/ 6 h 52"/>
                <a:gd name="T18" fmla="*/ 43 w 125"/>
                <a:gd name="T19" fmla="*/ 0 h 52"/>
                <a:gd name="T20" fmla="*/ 56 w 125"/>
                <a:gd name="T21" fmla="*/ 4 h 52"/>
                <a:gd name="T22" fmla="*/ 56 w 125"/>
                <a:gd name="T23" fmla="*/ 8 h 52"/>
                <a:gd name="T24" fmla="*/ 62 w 125"/>
                <a:gd name="T25" fmla="*/ 11 h 52"/>
                <a:gd name="T26" fmla="*/ 69 w 125"/>
                <a:gd name="T27" fmla="*/ 9 h 52"/>
                <a:gd name="T28" fmla="*/ 77 w 125"/>
                <a:gd name="T29" fmla="*/ 11 h 52"/>
                <a:gd name="T30" fmla="*/ 80 w 125"/>
                <a:gd name="T31" fmla="*/ 15 h 52"/>
                <a:gd name="T32" fmla="*/ 91 w 125"/>
                <a:gd name="T33" fmla="*/ 16 h 52"/>
                <a:gd name="T34" fmla="*/ 99 w 125"/>
                <a:gd name="T35" fmla="*/ 12 h 52"/>
                <a:gd name="T36" fmla="*/ 107 w 125"/>
                <a:gd name="T37" fmla="*/ 11 h 52"/>
                <a:gd name="T38" fmla="*/ 111 w 125"/>
                <a:gd name="T39" fmla="*/ 13 h 52"/>
                <a:gd name="T40" fmla="*/ 107 w 125"/>
                <a:gd name="T41" fmla="*/ 21 h 52"/>
                <a:gd name="T42" fmla="*/ 109 w 125"/>
                <a:gd name="T43" fmla="*/ 23 h 52"/>
                <a:gd name="T44" fmla="*/ 113 w 125"/>
                <a:gd name="T45" fmla="*/ 23 h 52"/>
                <a:gd name="T46" fmla="*/ 118 w 125"/>
                <a:gd name="T47" fmla="*/ 21 h 52"/>
                <a:gd name="T48" fmla="*/ 124 w 125"/>
                <a:gd name="T49" fmla="*/ 25 h 52"/>
                <a:gd name="T50" fmla="*/ 125 w 125"/>
                <a:gd name="T51" fmla="*/ 28 h 52"/>
                <a:gd name="T52" fmla="*/ 124 w 125"/>
                <a:gd name="T53" fmla="*/ 29 h 52"/>
                <a:gd name="T54" fmla="*/ 120 w 125"/>
                <a:gd name="T55" fmla="*/ 27 h 52"/>
                <a:gd name="T56" fmla="*/ 115 w 125"/>
                <a:gd name="T57" fmla="*/ 28 h 52"/>
                <a:gd name="T58" fmla="*/ 109 w 125"/>
                <a:gd name="T59" fmla="*/ 33 h 52"/>
                <a:gd name="T60" fmla="*/ 102 w 125"/>
                <a:gd name="T61" fmla="*/ 37 h 52"/>
                <a:gd name="T62" fmla="*/ 95 w 125"/>
                <a:gd name="T63" fmla="*/ 35 h 52"/>
                <a:gd name="T64" fmla="*/ 91 w 125"/>
                <a:gd name="T65" fmla="*/ 38 h 52"/>
                <a:gd name="T66" fmla="*/ 93 w 125"/>
                <a:gd name="T67" fmla="*/ 42 h 52"/>
                <a:gd name="T68" fmla="*/ 86 w 125"/>
                <a:gd name="T69" fmla="*/ 47 h 52"/>
                <a:gd name="T70" fmla="*/ 76 w 125"/>
                <a:gd name="T71" fmla="*/ 48 h 52"/>
                <a:gd name="T72" fmla="*/ 66 w 125"/>
                <a:gd name="T73" fmla="*/ 52 h 52"/>
                <a:gd name="T74" fmla="*/ 51 w 125"/>
                <a:gd name="T75" fmla="*/ 47 h 52"/>
                <a:gd name="T76" fmla="*/ 33 w 125"/>
                <a:gd name="T77" fmla="*/ 46 h 52"/>
                <a:gd name="T78" fmla="*/ 28 w 125"/>
                <a:gd name="T79" fmla="*/ 39 h 52"/>
                <a:gd name="T80" fmla="*/ 21 w 125"/>
                <a:gd name="T81" fmla="*/ 36 h 52"/>
                <a:gd name="T82" fmla="*/ 12 w 125"/>
                <a:gd name="T83" fmla="*/ 34 h 52"/>
                <a:gd name="T84" fmla="*/ 12 w 125"/>
                <a:gd name="T85" fmla="*/ 30 h 52"/>
                <a:gd name="T86" fmla="*/ 8 w 125"/>
                <a:gd name="T87" fmla="*/ 22 h 52"/>
                <a:gd name="T88" fmla="*/ 3 w 125"/>
                <a:gd name="T89" fmla="*/ 21 h 52"/>
                <a:gd name="T90" fmla="*/ 0 w 125"/>
                <a:gd name="T91" fmla="*/ 16 h 52"/>
                <a:gd name="connsiteX0" fmla="*/ 0 w 10000"/>
                <a:gd name="connsiteY0" fmla="*/ 3077 h 10000"/>
                <a:gd name="connsiteX1" fmla="*/ 240 w 10000"/>
                <a:gd name="connsiteY1" fmla="*/ 2692 h 10000"/>
                <a:gd name="connsiteX2" fmla="*/ 640 w 10000"/>
                <a:gd name="connsiteY2" fmla="*/ 2115 h 10000"/>
                <a:gd name="connsiteX3" fmla="*/ 1280 w 10000"/>
                <a:gd name="connsiteY3" fmla="*/ 1731 h 10000"/>
                <a:gd name="connsiteX4" fmla="*/ 1920 w 10000"/>
                <a:gd name="connsiteY4" fmla="*/ 1538 h 10000"/>
                <a:gd name="connsiteX5" fmla="*/ 2160 w 10000"/>
                <a:gd name="connsiteY5" fmla="*/ 2115 h 10000"/>
                <a:gd name="connsiteX6" fmla="*/ 2880 w 10000"/>
                <a:gd name="connsiteY6" fmla="*/ 2500 h 10000"/>
                <a:gd name="connsiteX7" fmla="*/ 3200 w 10000"/>
                <a:gd name="connsiteY7" fmla="*/ 2115 h 10000"/>
                <a:gd name="connsiteX8" fmla="*/ 3120 w 10000"/>
                <a:gd name="connsiteY8" fmla="*/ 1154 h 10000"/>
                <a:gd name="connsiteX9" fmla="*/ 3440 w 10000"/>
                <a:gd name="connsiteY9" fmla="*/ 0 h 10000"/>
                <a:gd name="connsiteX10" fmla="*/ 4480 w 10000"/>
                <a:gd name="connsiteY10" fmla="*/ 769 h 10000"/>
                <a:gd name="connsiteX11" fmla="*/ 4480 w 10000"/>
                <a:gd name="connsiteY11" fmla="*/ 1538 h 10000"/>
                <a:gd name="connsiteX12" fmla="*/ 5054 w 10000"/>
                <a:gd name="connsiteY12" fmla="*/ 1688 h 10000"/>
                <a:gd name="connsiteX13" fmla="*/ 5520 w 10000"/>
                <a:gd name="connsiteY13" fmla="*/ 1731 h 10000"/>
                <a:gd name="connsiteX14" fmla="*/ 6160 w 10000"/>
                <a:gd name="connsiteY14" fmla="*/ 2115 h 10000"/>
                <a:gd name="connsiteX15" fmla="*/ 6400 w 10000"/>
                <a:gd name="connsiteY15" fmla="*/ 2885 h 10000"/>
                <a:gd name="connsiteX16" fmla="*/ 7280 w 10000"/>
                <a:gd name="connsiteY16" fmla="*/ 3077 h 10000"/>
                <a:gd name="connsiteX17" fmla="*/ 7920 w 10000"/>
                <a:gd name="connsiteY17" fmla="*/ 2308 h 10000"/>
                <a:gd name="connsiteX18" fmla="*/ 8560 w 10000"/>
                <a:gd name="connsiteY18" fmla="*/ 2115 h 10000"/>
                <a:gd name="connsiteX19" fmla="*/ 8880 w 10000"/>
                <a:gd name="connsiteY19" fmla="*/ 2500 h 10000"/>
                <a:gd name="connsiteX20" fmla="*/ 8560 w 10000"/>
                <a:gd name="connsiteY20" fmla="*/ 4038 h 10000"/>
                <a:gd name="connsiteX21" fmla="*/ 8720 w 10000"/>
                <a:gd name="connsiteY21" fmla="*/ 4423 h 10000"/>
                <a:gd name="connsiteX22" fmla="*/ 9040 w 10000"/>
                <a:gd name="connsiteY22" fmla="*/ 4423 h 10000"/>
                <a:gd name="connsiteX23" fmla="*/ 9440 w 10000"/>
                <a:gd name="connsiteY23" fmla="*/ 4038 h 10000"/>
                <a:gd name="connsiteX24" fmla="*/ 9920 w 10000"/>
                <a:gd name="connsiteY24" fmla="*/ 4808 h 10000"/>
                <a:gd name="connsiteX25" fmla="*/ 10000 w 10000"/>
                <a:gd name="connsiteY25" fmla="*/ 5385 h 10000"/>
                <a:gd name="connsiteX26" fmla="*/ 9920 w 10000"/>
                <a:gd name="connsiteY26" fmla="*/ 5577 h 10000"/>
                <a:gd name="connsiteX27" fmla="*/ 9600 w 10000"/>
                <a:gd name="connsiteY27" fmla="*/ 5192 h 10000"/>
                <a:gd name="connsiteX28" fmla="*/ 9200 w 10000"/>
                <a:gd name="connsiteY28" fmla="*/ 5385 h 10000"/>
                <a:gd name="connsiteX29" fmla="*/ 8720 w 10000"/>
                <a:gd name="connsiteY29" fmla="*/ 6346 h 10000"/>
                <a:gd name="connsiteX30" fmla="*/ 8160 w 10000"/>
                <a:gd name="connsiteY30" fmla="*/ 7115 h 10000"/>
                <a:gd name="connsiteX31" fmla="*/ 7600 w 10000"/>
                <a:gd name="connsiteY31" fmla="*/ 6731 h 10000"/>
                <a:gd name="connsiteX32" fmla="*/ 7280 w 10000"/>
                <a:gd name="connsiteY32" fmla="*/ 7308 h 10000"/>
                <a:gd name="connsiteX33" fmla="*/ 7440 w 10000"/>
                <a:gd name="connsiteY33" fmla="*/ 8077 h 10000"/>
                <a:gd name="connsiteX34" fmla="*/ 6880 w 10000"/>
                <a:gd name="connsiteY34" fmla="*/ 9038 h 10000"/>
                <a:gd name="connsiteX35" fmla="*/ 6080 w 10000"/>
                <a:gd name="connsiteY35" fmla="*/ 9231 h 10000"/>
                <a:gd name="connsiteX36" fmla="*/ 5280 w 10000"/>
                <a:gd name="connsiteY36" fmla="*/ 10000 h 10000"/>
                <a:gd name="connsiteX37" fmla="*/ 4080 w 10000"/>
                <a:gd name="connsiteY37" fmla="*/ 9038 h 10000"/>
                <a:gd name="connsiteX38" fmla="*/ 2640 w 10000"/>
                <a:gd name="connsiteY38" fmla="*/ 8846 h 10000"/>
                <a:gd name="connsiteX39" fmla="*/ 2240 w 10000"/>
                <a:gd name="connsiteY39" fmla="*/ 7500 h 10000"/>
                <a:gd name="connsiteX40" fmla="*/ 1680 w 10000"/>
                <a:gd name="connsiteY40" fmla="*/ 6923 h 10000"/>
                <a:gd name="connsiteX41" fmla="*/ 960 w 10000"/>
                <a:gd name="connsiteY41" fmla="*/ 6538 h 10000"/>
                <a:gd name="connsiteX42" fmla="*/ 960 w 10000"/>
                <a:gd name="connsiteY42" fmla="*/ 5769 h 10000"/>
                <a:gd name="connsiteX43" fmla="*/ 640 w 10000"/>
                <a:gd name="connsiteY43" fmla="*/ 4231 h 10000"/>
                <a:gd name="connsiteX44" fmla="*/ 240 w 10000"/>
                <a:gd name="connsiteY44" fmla="*/ 4038 h 10000"/>
                <a:gd name="connsiteX45" fmla="*/ 0 w 10000"/>
                <a:gd name="connsiteY45" fmla="*/ 3077 h 10000"/>
                <a:gd name="connsiteX0" fmla="*/ 0 w 10000"/>
                <a:gd name="connsiteY0" fmla="*/ 3077 h 10000"/>
                <a:gd name="connsiteX1" fmla="*/ 240 w 10000"/>
                <a:gd name="connsiteY1" fmla="*/ 2692 h 10000"/>
                <a:gd name="connsiteX2" fmla="*/ 640 w 10000"/>
                <a:gd name="connsiteY2" fmla="*/ 2115 h 10000"/>
                <a:gd name="connsiteX3" fmla="*/ 1280 w 10000"/>
                <a:gd name="connsiteY3" fmla="*/ 1731 h 10000"/>
                <a:gd name="connsiteX4" fmla="*/ 1920 w 10000"/>
                <a:gd name="connsiteY4" fmla="*/ 1538 h 10000"/>
                <a:gd name="connsiteX5" fmla="*/ 2160 w 10000"/>
                <a:gd name="connsiteY5" fmla="*/ 2115 h 10000"/>
                <a:gd name="connsiteX6" fmla="*/ 2880 w 10000"/>
                <a:gd name="connsiteY6" fmla="*/ 2500 h 10000"/>
                <a:gd name="connsiteX7" fmla="*/ 3200 w 10000"/>
                <a:gd name="connsiteY7" fmla="*/ 2115 h 10000"/>
                <a:gd name="connsiteX8" fmla="*/ 3120 w 10000"/>
                <a:gd name="connsiteY8" fmla="*/ 1154 h 10000"/>
                <a:gd name="connsiteX9" fmla="*/ 3440 w 10000"/>
                <a:gd name="connsiteY9" fmla="*/ 0 h 10000"/>
                <a:gd name="connsiteX10" fmla="*/ 4480 w 10000"/>
                <a:gd name="connsiteY10" fmla="*/ 769 h 10000"/>
                <a:gd name="connsiteX11" fmla="*/ 4700 w 10000"/>
                <a:gd name="connsiteY11" fmla="*/ 1325 h 10000"/>
                <a:gd name="connsiteX12" fmla="*/ 5054 w 10000"/>
                <a:gd name="connsiteY12" fmla="*/ 1688 h 10000"/>
                <a:gd name="connsiteX13" fmla="*/ 5520 w 10000"/>
                <a:gd name="connsiteY13" fmla="*/ 1731 h 10000"/>
                <a:gd name="connsiteX14" fmla="*/ 6160 w 10000"/>
                <a:gd name="connsiteY14" fmla="*/ 2115 h 10000"/>
                <a:gd name="connsiteX15" fmla="*/ 6400 w 10000"/>
                <a:gd name="connsiteY15" fmla="*/ 2885 h 10000"/>
                <a:gd name="connsiteX16" fmla="*/ 7280 w 10000"/>
                <a:gd name="connsiteY16" fmla="*/ 3077 h 10000"/>
                <a:gd name="connsiteX17" fmla="*/ 7920 w 10000"/>
                <a:gd name="connsiteY17" fmla="*/ 2308 h 10000"/>
                <a:gd name="connsiteX18" fmla="*/ 8560 w 10000"/>
                <a:gd name="connsiteY18" fmla="*/ 2115 h 10000"/>
                <a:gd name="connsiteX19" fmla="*/ 8880 w 10000"/>
                <a:gd name="connsiteY19" fmla="*/ 2500 h 10000"/>
                <a:gd name="connsiteX20" fmla="*/ 8560 w 10000"/>
                <a:gd name="connsiteY20" fmla="*/ 4038 h 10000"/>
                <a:gd name="connsiteX21" fmla="*/ 8720 w 10000"/>
                <a:gd name="connsiteY21" fmla="*/ 4423 h 10000"/>
                <a:gd name="connsiteX22" fmla="*/ 9040 w 10000"/>
                <a:gd name="connsiteY22" fmla="*/ 4423 h 10000"/>
                <a:gd name="connsiteX23" fmla="*/ 9440 w 10000"/>
                <a:gd name="connsiteY23" fmla="*/ 4038 h 10000"/>
                <a:gd name="connsiteX24" fmla="*/ 9920 w 10000"/>
                <a:gd name="connsiteY24" fmla="*/ 4808 h 10000"/>
                <a:gd name="connsiteX25" fmla="*/ 10000 w 10000"/>
                <a:gd name="connsiteY25" fmla="*/ 5385 h 10000"/>
                <a:gd name="connsiteX26" fmla="*/ 9920 w 10000"/>
                <a:gd name="connsiteY26" fmla="*/ 5577 h 10000"/>
                <a:gd name="connsiteX27" fmla="*/ 9600 w 10000"/>
                <a:gd name="connsiteY27" fmla="*/ 5192 h 10000"/>
                <a:gd name="connsiteX28" fmla="*/ 9200 w 10000"/>
                <a:gd name="connsiteY28" fmla="*/ 5385 h 10000"/>
                <a:gd name="connsiteX29" fmla="*/ 8720 w 10000"/>
                <a:gd name="connsiteY29" fmla="*/ 6346 h 10000"/>
                <a:gd name="connsiteX30" fmla="*/ 8160 w 10000"/>
                <a:gd name="connsiteY30" fmla="*/ 7115 h 10000"/>
                <a:gd name="connsiteX31" fmla="*/ 7600 w 10000"/>
                <a:gd name="connsiteY31" fmla="*/ 6731 h 10000"/>
                <a:gd name="connsiteX32" fmla="*/ 7280 w 10000"/>
                <a:gd name="connsiteY32" fmla="*/ 7308 h 10000"/>
                <a:gd name="connsiteX33" fmla="*/ 7440 w 10000"/>
                <a:gd name="connsiteY33" fmla="*/ 8077 h 10000"/>
                <a:gd name="connsiteX34" fmla="*/ 6880 w 10000"/>
                <a:gd name="connsiteY34" fmla="*/ 9038 h 10000"/>
                <a:gd name="connsiteX35" fmla="*/ 6080 w 10000"/>
                <a:gd name="connsiteY35" fmla="*/ 9231 h 10000"/>
                <a:gd name="connsiteX36" fmla="*/ 5280 w 10000"/>
                <a:gd name="connsiteY36" fmla="*/ 10000 h 10000"/>
                <a:gd name="connsiteX37" fmla="*/ 4080 w 10000"/>
                <a:gd name="connsiteY37" fmla="*/ 9038 h 10000"/>
                <a:gd name="connsiteX38" fmla="*/ 2640 w 10000"/>
                <a:gd name="connsiteY38" fmla="*/ 8846 h 10000"/>
                <a:gd name="connsiteX39" fmla="*/ 2240 w 10000"/>
                <a:gd name="connsiteY39" fmla="*/ 7500 h 10000"/>
                <a:gd name="connsiteX40" fmla="*/ 1680 w 10000"/>
                <a:gd name="connsiteY40" fmla="*/ 6923 h 10000"/>
                <a:gd name="connsiteX41" fmla="*/ 960 w 10000"/>
                <a:gd name="connsiteY41" fmla="*/ 6538 h 10000"/>
                <a:gd name="connsiteX42" fmla="*/ 960 w 10000"/>
                <a:gd name="connsiteY42" fmla="*/ 5769 h 10000"/>
                <a:gd name="connsiteX43" fmla="*/ 640 w 10000"/>
                <a:gd name="connsiteY43" fmla="*/ 4231 h 10000"/>
                <a:gd name="connsiteX44" fmla="*/ 240 w 10000"/>
                <a:gd name="connsiteY44" fmla="*/ 4038 h 10000"/>
                <a:gd name="connsiteX45" fmla="*/ 0 w 10000"/>
                <a:gd name="connsiteY45" fmla="*/ 3077 h 10000"/>
                <a:gd name="connsiteX0" fmla="*/ 0 w 10000"/>
                <a:gd name="connsiteY0" fmla="*/ 3077 h 10000"/>
                <a:gd name="connsiteX1" fmla="*/ 240 w 10000"/>
                <a:gd name="connsiteY1" fmla="*/ 2692 h 10000"/>
                <a:gd name="connsiteX2" fmla="*/ 640 w 10000"/>
                <a:gd name="connsiteY2" fmla="*/ 2115 h 10000"/>
                <a:gd name="connsiteX3" fmla="*/ 1280 w 10000"/>
                <a:gd name="connsiteY3" fmla="*/ 1731 h 10000"/>
                <a:gd name="connsiteX4" fmla="*/ 1920 w 10000"/>
                <a:gd name="connsiteY4" fmla="*/ 1538 h 10000"/>
                <a:gd name="connsiteX5" fmla="*/ 2160 w 10000"/>
                <a:gd name="connsiteY5" fmla="*/ 2115 h 10000"/>
                <a:gd name="connsiteX6" fmla="*/ 2880 w 10000"/>
                <a:gd name="connsiteY6" fmla="*/ 2500 h 10000"/>
                <a:gd name="connsiteX7" fmla="*/ 3200 w 10000"/>
                <a:gd name="connsiteY7" fmla="*/ 2115 h 10000"/>
                <a:gd name="connsiteX8" fmla="*/ 3120 w 10000"/>
                <a:gd name="connsiteY8" fmla="*/ 1154 h 10000"/>
                <a:gd name="connsiteX9" fmla="*/ 3440 w 10000"/>
                <a:gd name="connsiteY9" fmla="*/ 0 h 10000"/>
                <a:gd name="connsiteX10" fmla="*/ 4480 w 10000"/>
                <a:gd name="connsiteY10" fmla="*/ 769 h 10000"/>
                <a:gd name="connsiteX11" fmla="*/ 4700 w 10000"/>
                <a:gd name="connsiteY11" fmla="*/ 1325 h 10000"/>
                <a:gd name="connsiteX12" fmla="*/ 5054 w 10000"/>
                <a:gd name="connsiteY12" fmla="*/ 1688 h 10000"/>
                <a:gd name="connsiteX13" fmla="*/ 5520 w 10000"/>
                <a:gd name="connsiteY13" fmla="*/ 1731 h 10000"/>
                <a:gd name="connsiteX14" fmla="*/ 6160 w 10000"/>
                <a:gd name="connsiteY14" fmla="*/ 2115 h 10000"/>
                <a:gd name="connsiteX15" fmla="*/ 6557 w 10000"/>
                <a:gd name="connsiteY15" fmla="*/ 2458 h 10000"/>
                <a:gd name="connsiteX16" fmla="*/ 7280 w 10000"/>
                <a:gd name="connsiteY16" fmla="*/ 3077 h 10000"/>
                <a:gd name="connsiteX17" fmla="*/ 7920 w 10000"/>
                <a:gd name="connsiteY17" fmla="*/ 2308 h 10000"/>
                <a:gd name="connsiteX18" fmla="*/ 8560 w 10000"/>
                <a:gd name="connsiteY18" fmla="*/ 2115 h 10000"/>
                <a:gd name="connsiteX19" fmla="*/ 8880 w 10000"/>
                <a:gd name="connsiteY19" fmla="*/ 2500 h 10000"/>
                <a:gd name="connsiteX20" fmla="*/ 8560 w 10000"/>
                <a:gd name="connsiteY20" fmla="*/ 4038 h 10000"/>
                <a:gd name="connsiteX21" fmla="*/ 8720 w 10000"/>
                <a:gd name="connsiteY21" fmla="*/ 4423 h 10000"/>
                <a:gd name="connsiteX22" fmla="*/ 9040 w 10000"/>
                <a:gd name="connsiteY22" fmla="*/ 4423 h 10000"/>
                <a:gd name="connsiteX23" fmla="*/ 9440 w 10000"/>
                <a:gd name="connsiteY23" fmla="*/ 4038 h 10000"/>
                <a:gd name="connsiteX24" fmla="*/ 9920 w 10000"/>
                <a:gd name="connsiteY24" fmla="*/ 4808 h 10000"/>
                <a:gd name="connsiteX25" fmla="*/ 10000 w 10000"/>
                <a:gd name="connsiteY25" fmla="*/ 5385 h 10000"/>
                <a:gd name="connsiteX26" fmla="*/ 9920 w 10000"/>
                <a:gd name="connsiteY26" fmla="*/ 5577 h 10000"/>
                <a:gd name="connsiteX27" fmla="*/ 9600 w 10000"/>
                <a:gd name="connsiteY27" fmla="*/ 5192 h 10000"/>
                <a:gd name="connsiteX28" fmla="*/ 9200 w 10000"/>
                <a:gd name="connsiteY28" fmla="*/ 5385 h 10000"/>
                <a:gd name="connsiteX29" fmla="*/ 8720 w 10000"/>
                <a:gd name="connsiteY29" fmla="*/ 6346 h 10000"/>
                <a:gd name="connsiteX30" fmla="*/ 8160 w 10000"/>
                <a:gd name="connsiteY30" fmla="*/ 7115 h 10000"/>
                <a:gd name="connsiteX31" fmla="*/ 7600 w 10000"/>
                <a:gd name="connsiteY31" fmla="*/ 6731 h 10000"/>
                <a:gd name="connsiteX32" fmla="*/ 7280 w 10000"/>
                <a:gd name="connsiteY32" fmla="*/ 7308 h 10000"/>
                <a:gd name="connsiteX33" fmla="*/ 7440 w 10000"/>
                <a:gd name="connsiteY33" fmla="*/ 8077 h 10000"/>
                <a:gd name="connsiteX34" fmla="*/ 6880 w 10000"/>
                <a:gd name="connsiteY34" fmla="*/ 9038 h 10000"/>
                <a:gd name="connsiteX35" fmla="*/ 6080 w 10000"/>
                <a:gd name="connsiteY35" fmla="*/ 9231 h 10000"/>
                <a:gd name="connsiteX36" fmla="*/ 5280 w 10000"/>
                <a:gd name="connsiteY36" fmla="*/ 10000 h 10000"/>
                <a:gd name="connsiteX37" fmla="*/ 4080 w 10000"/>
                <a:gd name="connsiteY37" fmla="*/ 9038 h 10000"/>
                <a:gd name="connsiteX38" fmla="*/ 2640 w 10000"/>
                <a:gd name="connsiteY38" fmla="*/ 8846 h 10000"/>
                <a:gd name="connsiteX39" fmla="*/ 2240 w 10000"/>
                <a:gd name="connsiteY39" fmla="*/ 7500 h 10000"/>
                <a:gd name="connsiteX40" fmla="*/ 1680 w 10000"/>
                <a:gd name="connsiteY40" fmla="*/ 6923 h 10000"/>
                <a:gd name="connsiteX41" fmla="*/ 960 w 10000"/>
                <a:gd name="connsiteY41" fmla="*/ 6538 h 10000"/>
                <a:gd name="connsiteX42" fmla="*/ 960 w 10000"/>
                <a:gd name="connsiteY42" fmla="*/ 5769 h 10000"/>
                <a:gd name="connsiteX43" fmla="*/ 640 w 10000"/>
                <a:gd name="connsiteY43" fmla="*/ 4231 h 10000"/>
                <a:gd name="connsiteX44" fmla="*/ 240 w 10000"/>
                <a:gd name="connsiteY44" fmla="*/ 4038 h 10000"/>
                <a:gd name="connsiteX45" fmla="*/ 0 w 10000"/>
                <a:gd name="connsiteY45" fmla="*/ 3077 h 10000"/>
                <a:gd name="connsiteX0" fmla="*/ 0 w 10000"/>
                <a:gd name="connsiteY0" fmla="*/ 3077 h 10000"/>
                <a:gd name="connsiteX1" fmla="*/ 240 w 10000"/>
                <a:gd name="connsiteY1" fmla="*/ 2692 h 10000"/>
                <a:gd name="connsiteX2" fmla="*/ 640 w 10000"/>
                <a:gd name="connsiteY2" fmla="*/ 2115 h 10000"/>
                <a:gd name="connsiteX3" fmla="*/ 1280 w 10000"/>
                <a:gd name="connsiteY3" fmla="*/ 1731 h 10000"/>
                <a:gd name="connsiteX4" fmla="*/ 1920 w 10000"/>
                <a:gd name="connsiteY4" fmla="*/ 1538 h 10000"/>
                <a:gd name="connsiteX5" fmla="*/ 2160 w 10000"/>
                <a:gd name="connsiteY5" fmla="*/ 2115 h 10000"/>
                <a:gd name="connsiteX6" fmla="*/ 2880 w 10000"/>
                <a:gd name="connsiteY6" fmla="*/ 2500 h 10000"/>
                <a:gd name="connsiteX7" fmla="*/ 3200 w 10000"/>
                <a:gd name="connsiteY7" fmla="*/ 2115 h 10000"/>
                <a:gd name="connsiteX8" fmla="*/ 3120 w 10000"/>
                <a:gd name="connsiteY8" fmla="*/ 1154 h 10000"/>
                <a:gd name="connsiteX9" fmla="*/ 3440 w 10000"/>
                <a:gd name="connsiteY9" fmla="*/ 0 h 10000"/>
                <a:gd name="connsiteX10" fmla="*/ 4480 w 10000"/>
                <a:gd name="connsiteY10" fmla="*/ 769 h 10000"/>
                <a:gd name="connsiteX11" fmla="*/ 4700 w 10000"/>
                <a:gd name="connsiteY11" fmla="*/ 1325 h 10000"/>
                <a:gd name="connsiteX12" fmla="*/ 5054 w 10000"/>
                <a:gd name="connsiteY12" fmla="*/ 1688 h 10000"/>
                <a:gd name="connsiteX13" fmla="*/ 5520 w 10000"/>
                <a:gd name="connsiteY13" fmla="*/ 1731 h 10000"/>
                <a:gd name="connsiteX14" fmla="*/ 6160 w 10000"/>
                <a:gd name="connsiteY14" fmla="*/ 2115 h 10000"/>
                <a:gd name="connsiteX15" fmla="*/ 6557 w 10000"/>
                <a:gd name="connsiteY15" fmla="*/ 2458 h 10000"/>
                <a:gd name="connsiteX16" fmla="*/ 7280 w 10000"/>
                <a:gd name="connsiteY16" fmla="*/ 2579 h 10000"/>
                <a:gd name="connsiteX17" fmla="*/ 7920 w 10000"/>
                <a:gd name="connsiteY17" fmla="*/ 2308 h 10000"/>
                <a:gd name="connsiteX18" fmla="*/ 8560 w 10000"/>
                <a:gd name="connsiteY18" fmla="*/ 2115 h 10000"/>
                <a:gd name="connsiteX19" fmla="*/ 8880 w 10000"/>
                <a:gd name="connsiteY19" fmla="*/ 2500 h 10000"/>
                <a:gd name="connsiteX20" fmla="*/ 8560 w 10000"/>
                <a:gd name="connsiteY20" fmla="*/ 4038 h 10000"/>
                <a:gd name="connsiteX21" fmla="*/ 8720 w 10000"/>
                <a:gd name="connsiteY21" fmla="*/ 4423 h 10000"/>
                <a:gd name="connsiteX22" fmla="*/ 9040 w 10000"/>
                <a:gd name="connsiteY22" fmla="*/ 4423 h 10000"/>
                <a:gd name="connsiteX23" fmla="*/ 9440 w 10000"/>
                <a:gd name="connsiteY23" fmla="*/ 4038 h 10000"/>
                <a:gd name="connsiteX24" fmla="*/ 9920 w 10000"/>
                <a:gd name="connsiteY24" fmla="*/ 4808 h 10000"/>
                <a:gd name="connsiteX25" fmla="*/ 10000 w 10000"/>
                <a:gd name="connsiteY25" fmla="*/ 5385 h 10000"/>
                <a:gd name="connsiteX26" fmla="*/ 9920 w 10000"/>
                <a:gd name="connsiteY26" fmla="*/ 5577 h 10000"/>
                <a:gd name="connsiteX27" fmla="*/ 9600 w 10000"/>
                <a:gd name="connsiteY27" fmla="*/ 5192 h 10000"/>
                <a:gd name="connsiteX28" fmla="*/ 9200 w 10000"/>
                <a:gd name="connsiteY28" fmla="*/ 5385 h 10000"/>
                <a:gd name="connsiteX29" fmla="*/ 8720 w 10000"/>
                <a:gd name="connsiteY29" fmla="*/ 6346 h 10000"/>
                <a:gd name="connsiteX30" fmla="*/ 8160 w 10000"/>
                <a:gd name="connsiteY30" fmla="*/ 7115 h 10000"/>
                <a:gd name="connsiteX31" fmla="*/ 7600 w 10000"/>
                <a:gd name="connsiteY31" fmla="*/ 6731 h 10000"/>
                <a:gd name="connsiteX32" fmla="*/ 7280 w 10000"/>
                <a:gd name="connsiteY32" fmla="*/ 7308 h 10000"/>
                <a:gd name="connsiteX33" fmla="*/ 7440 w 10000"/>
                <a:gd name="connsiteY33" fmla="*/ 8077 h 10000"/>
                <a:gd name="connsiteX34" fmla="*/ 6880 w 10000"/>
                <a:gd name="connsiteY34" fmla="*/ 9038 h 10000"/>
                <a:gd name="connsiteX35" fmla="*/ 6080 w 10000"/>
                <a:gd name="connsiteY35" fmla="*/ 9231 h 10000"/>
                <a:gd name="connsiteX36" fmla="*/ 5280 w 10000"/>
                <a:gd name="connsiteY36" fmla="*/ 10000 h 10000"/>
                <a:gd name="connsiteX37" fmla="*/ 4080 w 10000"/>
                <a:gd name="connsiteY37" fmla="*/ 9038 h 10000"/>
                <a:gd name="connsiteX38" fmla="*/ 2640 w 10000"/>
                <a:gd name="connsiteY38" fmla="*/ 8846 h 10000"/>
                <a:gd name="connsiteX39" fmla="*/ 2240 w 10000"/>
                <a:gd name="connsiteY39" fmla="*/ 7500 h 10000"/>
                <a:gd name="connsiteX40" fmla="*/ 1680 w 10000"/>
                <a:gd name="connsiteY40" fmla="*/ 6923 h 10000"/>
                <a:gd name="connsiteX41" fmla="*/ 960 w 10000"/>
                <a:gd name="connsiteY41" fmla="*/ 6538 h 10000"/>
                <a:gd name="connsiteX42" fmla="*/ 960 w 10000"/>
                <a:gd name="connsiteY42" fmla="*/ 5769 h 10000"/>
                <a:gd name="connsiteX43" fmla="*/ 640 w 10000"/>
                <a:gd name="connsiteY43" fmla="*/ 4231 h 10000"/>
                <a:gd name="connsiteX44" fmla="*/ 240 w 10000"/>
                <a:gd name="connsiteY44" fmla="*/ 4038 h 10000"/>
                <a:gd name="connsiteX45" fmla="*/ 0 w 10000"/>
                <a:gd name="connsiteY45" fmla="*/ 3077 h 10000"/>
                <a:gd name="connsiteX0" fmla="*/ 0 w 10000"/>
                <a:gd name="connsiteY0" fmla="*/ 3433 h 10356"/>
                <a:gd name="connsiteX1" fmla="*/ 240 w 10000"/>
                <a:gd name="connsiteY1" fmla="*/ 3048 h 10356"/>
                <a:gd name="connsiteX2" fmla="*/ 640 w 10000"/>
                <a:gd name="connsiteY2" fmla="*/ 2471 h 10356"/>
                <a:gd name="connsiteX3" fmla="*/ 1280 w 10000"/>
                <a:gd name="connsiteY3" fmla="*/ 2087 h 10356"/>
                <a:gd name="connsiteX4" fmla="*/ 1920 w 10000"/>
                <a:gd name="connsiteY4" fmla="*/ 1894 h 10356"/>
                <a:gd name="connsiteX5" fmla="*/ 2160 w 10000"/>
                <a:gd name="connsiteY5" fmla="*/ 2471 h 10356"/>
                <a:gd name="connsiteX6" fmla="*/ 2880 w 10000"/>
                <a:gd name="connsiteY6" fmla="*/ 2856 h 10356"/>
                <a:gd name="connsiteX7" fmla="*/ 3200 w 10000"/>
                <a:gd name="connsiteY7" fmla="*/ 2471 h 10356"/>
                <a:gd name="connsiteX8" fmla="*/ 3120 w 10000"/>
                <a:gd name="connsiteY8" fmla="*/ 1510 h 10356"/>
                <a:gd name="connsiteX9" fmla="*/ 3440 w 10000"/>
                <a:gd name="connsiteY9" fmla="*/ 0 h 10356"/>
                <a:gd name="connsiteX10" fmla="*/ 4480 w 10000"/>
                <a:gd name="connsiteY10" fmla="*/ 1125 h 10356"/>
                <a:gd name="connsiteX11" fmla="*/ 4700 w 10000"/>
                <a:gd name="connsiteY11" fmla="*/ 1681 h 10356"/>
                <a:gd name="connsiteX12" fmla="*/ 5054 w 10000"/>
                <a:gd name="connsiteY12" fmla="*/ 2044 h 10356"/>
                <a:gd name="connsiteX13" fmla="*/ 5520 w 10000"/>
                <a:gd name="connsiteY13" fmla="*/ 2087 h 10356"/>
                <a:gd name="connsiteX14" fmla="*/ 6160 w 10000"/>
                <a:gd name="connsiteY14" fmla="*/ 2471 h 10356"/>
                <a:gd name="connsiteX15" fmla="*/ 6557 w 10000"/>
                <a:gd name="connsiteY15" fmla="*/ 2814 h 10356"/>
                <a:gd name="connsiteX16" fmla="*/ 7280 w 10000"/>
                <a:gd name="connsiteY16" fmla="*/ 2935 h 10356"/>
                <a:gd name="connsiteX17" fmla="*/ 7920 w 10000"/>
                <a:gd name="connsiteY17" fmla="*/ 2664 h 10356"/>
                <a:gd name="connsiteX18" fmla="*/ 8560 w 10000"/>
                <a:gd name="connsiteY18" fmla="*/ 2471 h 10356"/>
                <a:gd name="connsiteX19" fmla="*/ 8880 w 10000"/>
                <a:gd name="connsiteY19" fmla="*/ 2856 h 10356"/>
                <a:gd name="connsiteX20" fmla="*/ 8560 w 10000"/>
                <a:gd name="connsiteY20" fmla="*/ 4394 h 10356"/>
                <a:gd name="connsiteX21" fmla="*/ 8720 w 10000"/>
                <a:gd name="connsiteY21" fmla="*/ 4779 h 10356"/>
                <a:gd name="connsiteX22" fmla="*/ 9040 w 10000"/>
                <a:gd name="connsiteY22" fmla="*/ 4779 h 10356"/>
                <a:gd name="connsiteX23" fmla="*/ 9440 w 10000"/>
                <a:gd name="connsiteY23" fmla="*/ 4394 h 10356"/>
                <a:gd name="connsiteX24" fmla="*/ 9920 w 10000"/>
                <a:gd name="connsiteY24" fmla="*/ 5164 h 10356"/>
                <a:gd name="connsiteX25" fmla="*/ 10000 w 10000"/>
                <a:gd name="connsiteY25" fmla="*/ 5741 h 10356"/>
                <a:gd name="connsiteX26" fmla="*/ 9920 w 10000"/>
                <a:gd name="connsiteY26" fmla="*/ 5933 h 10356"/>
                <a:gd name="connsiteX27" fmla="*/ 9600 w 10000"/>
                <a:gd name="connsiteY27" fmla="*/ 5548 h 10356"/>
                <a:gd name="connsiteX28" fmla="*/ 9200 w 10000"/>
                <a:gd name="connsiteY28" fmla="*/ 5741 h 10356"/>
                <a:gd name="connsiteX29" fmla="*/ 8720 w 10000"/>
                <a:gd name="connsiteY29" fmla="*/ 6702 h 10356"/>
                <a:gd name="connsiteX30" fmla="*/ 8160 w 10000"/>
                <a:gd name="connsiteY30" fmla="*/ 7471 h 10356"/>
                <a:gd name="connsiteX31" fmla="*/ 7600 w 10000"/>
                <a:gd name="connsiteY31" fmla="*/ 7087 h 10356"/>
                <a:gd name="connsiteX32" fmla="*/ 7280 w 10000"/>
                <a:gd name="connsiteY32" fmla="*/ 7664 h 10356"/>
                <a:gd name="connsiteX33" fmla="*/ 7440 w 10000"/>
                <a:gd name="connsiteY33" fmla="*/ 8433 h 10356"/>
                <a:gd name="connsiteX34" fmla="*/ 6880 w 10000"/>
                <a:gd name="connsiteY34" fmla="*/ 9394 h 10356"/>
                <a:gd name="connsiteX35" fmla="*/ 6080 w 10000"/>
                <a:gd name="connsiteY35" fmla="*/ 9587 h 10356"/>
                <a:gd name="connsiteX36" fmla="*/ 5280 w 10000"/>
                <a:gd name="connsiteY36" fmla="*/ 10356 h 10356"/>
                <a:gd name="connsiteX37" fmla="*/ 4080 w 10000"/>
                <a:gd name="connsiteY37" fmla="*/ 9394 h 10356"/>
                <a:gd name="connsiteX38" fmla="*/ 2640 w 10000"/>
                <a:gd name="connsiteY38" fmla="*/ 9202 h 10356"/>
                <a:gd name="connsiteX39" fmla="*/ 2240 w 10000"/>
                <a:gd name="connsiteY39" fmla="*/ 7856 h 10356"/>
                <a:gd name="connsiteX40" fmla="*/ 1680 w 10000"/>
                <a:gd name="connsiteY40" fmla="*/ 7279 h 10356"/>
                <a:gd name="connsiteX41" fmla="*/ 960 w 10000"/>
                <a:gd name="connsiteY41" fmla="*/ 6894 h 10356"/>
                <a:gd name="connsiteX42" fmla="*/ 960 w 10000"/>
                <a:gd name="connsiteY42" fmla="*/ 6125 h 10356"/>
                <a:gd name="connsiteX43" fmla="*/ 640 w 10000"/>
                <a:gd name="connsiteY43" fmla="*/ 4587 h 10356"/>
                <a:gd name="connsiteX44" fmla="*/ 240 w 10000"/>
                <a:gd name="connsiteY44" fmla="*/ 4394 h 10356"/>
                <a:gd name="connsiteX45" fmla="*/ 0 w 10000"/>
                <a:gd name="connsiteY45" fmla="*/ 3433 h 10356"/>
                <a:gd name="connsiteX0" fmla="*/ 0 w 10000"/>
                <a:gd name="connsiteY0" fmla="*/ 3433 h 10356"/>
                <a:gd name="connsiteX1" fmla="*/ 240 w 10000"/>
                <a:gd name="connsiteY1" fmla="*/ 3048 h 10356"/>
                <a:gd name="connsiteX2" fmla="*/ 640 w 10000"/>
                <a:gd name="connsiteY2" fmla="*/ 2471 h 10356"/>
                <a:gd name="connsiteX3" fmla="*/ 1280 w 10000"/>
                <a:gd name="connsiteY3" fmla="*/ 2087 h 10356"/>
                <a:gd name="connsiteX4" fmla="*/ 1920 w 10000"/>
                <a:gd name="connsiteY4" fmla="*/ 1894 h 10356"/>
                <a:gd name="connsiteX5" fmla="*/ 2160 w 10000"/>
                <a:gd name="connsiteY5" fmla="*/ 2471 h 10356"/>
                <a:gd name="connsiteX6" fmla="*/ 2880 w 10000"/>
                <a:gd name="connsiteY6" fmla="*/ 2856 h 10356"/>
                <a:gd name="connsiteX7" fmla="*/ 3200 w 10000"/>
                <a:gd name="connsiteY7" fmla="*/ 2471 h 10356"/>
                <a:gd name="connsiteX8" fmla="*/ 3120 w 10000"/>
                <a:gd name="connsiteY8" fmla="*/ 1510 h 10356"/>
                <a:gd name="connsiteX9" fmla="*/ 3440 w 10000"/>
                <a:gd name="connsiteY9" fmla="*/ 0 h 10356"/>
                <a:gd name="connsiteX10" fmla="*/ 4543 w 10000"/>
                <a:gd name="connsiteY10" fmla="*/ 627 h 10356"/>
                <a:gd name="connsiteX11" fmla="*/ 4700 w 10000"/>
                <a:gd name="connsiteY11" fmla="*/ 1681 h 10356"/>
                <a:gd name="connsiteX12" fmla="*/ 5054 w 10000"/>
                <a:gd name="connsiteY12" fmla="*/ 2044 h 10356"/>
                <a:gd name="connsiteX13" fmla="*/ 5520 w 10000"/>
                <a:gd name="connsiteY13" fmla="*/ 2087 h 10356"/>
                <a:gd name="connsiteX14" fmla="*/ 6160 w 10000"/>
                <a:gd name="connsiteY14" fmla="*/ 2471 h 10356"/>
                <a:gd name="connsiteX15" fmla="*/ 6557 w 10000"/>
                <a:gd name="connsiteY15" fmla="*/ 2814 h 10356"/>
                <a:gd name="connsiteX16" fmla="*/ 7280 w 10000"/>
                <a:gd name="connsiteY16" fmla="*/ 2935 h 10356"/>
                <a:gd name="connsiteX17" fmla="*/ 7920 w 10000"/>
                <a:gd name="connsiteY17" fmla="*/ 2664 h 10356"/>
                <a:gd name="connsiteX18" fmla="*/ 8560 w 10000"/>
                <a:gd name="connsiteY18" fmla="*/ 2471 h 10356"/>
                <a:gd name="connsiteX19" fmla="*/ 8880 w 10000"/>
                <a:gd name="connsiteY19" fmla="*/ 2856 h 10356"/>
                <a:gd name="connsiteX20" fmla="*/ 8560 w 10000"/>
                <a:gd name="connsiteY20" fmla="*/ 4394 h 10356"/>
                <a:gd name="connsiteX21" fmla="*/ 8720 w 10000"/>
                <a:gd name="connsiteY21" fmla="*/ 4779 h 10356"/>
                <a:gd name="connsiteX22" fmla="*/ 9040 w 10000"/>
                <a:gd name="connsiteY22" fmla="*/ 4779 h 10356"/>
                <a:gd name="connsiteX23" fmla="*/ 9440 w 10000"/>
                <a:gd name="connsiteY23" fmla="*/ 4394 h 10356"/>
                <a:gd name="connsiteX24" fmla="*/ 9920 w 10000"/>
                <a:gd name="connsiteY24" fmla="*/ 5164 h 10356"/>
                <a:gd name="connsiteX25" fmla="*/ 10000 w 10000"/>
                <a:gd name="connsiteY25" fmla="*/ 5741 h 10356"/>
                <a:gd name="connsiteX26" fmla="*/ 9920 w 10000"/>
                <a:gd name="connsiteY26" fmla="*/ 5933 h 10356"/>
                <a:gd name="connsiteX27" fmla="*/ 9600 w 10000"/>
                <a:gd name="connsiteY27" fmla="*/ 5548 h 10356"/>
                <a:gd name="connsiteX28" fmla="*/ 9200 w 10000"/>
                <a:gd name="connsiteY28" fmla="*/ 5741 h 10356"/>
                <a:gd name="connsiteX29" fmla="*/ 8720 w 10000"/>
                <a:gd name="connsiteY29" fmla="*/ 6702 h 10356"/>
                <a:gd name="connsiteX30" fmla="*/ 8160 w 10000"/>
                <a:gd name="connsiteY30" fmla="*/ 7471 h 10356"/>
                <a:gd name="connsiteX31" fmla="*/ 7600 w 10000"/>
                <a:gd name="connsiteY31" fmla="*/ 7087 h 10356"/>
                <a:gd name="connsiteX32" fmla="*/ 7280 w 10000"/>
                <a:gd name="connsiteY32" fmla="*/ 7664 h 10356"/>
                <a:gd name="connsiteX33" fmla="*/ 7440 w 10000"/>
                <a:gd name="connsiteY33" fmla="*/ 8433 h 10356"/>
                <a:gd name="connsiteX34" fmla="*/ 6880 w 10000"/>
                <a:gd name="connsiteY34" fmla="*/ 9394 h 10356"/>
                <a:gd name="connsiteX35" fmla="*/ 6080 w 10000"/>
                <a:gd name="connsiteY35" fmla="*/ 9587 h 10356"/>
                <a:gd name="connsiteX36" fmla="*/ 5280 w 10000"/>
                <a:gd name="connsiteY36" fmla="*/ 10356 h 10356"/>
                <a:gd name="connsiteX37" fmla="*/ 4080 w 10000"/>
                <a:gd name="connsiteY37" fmla="*/ 9394 h 10356"/>
                <a:gd name="connsiteX38" fmla="*/ 2640 w 10000"/>
                <a:gd name="connsiteY38" fmla="*/ 9202 h 10356"/>
                <a:gd name="connsiteX39" fmla="*/ 2240 w 10000"/>
                <a:gd name="connsiteY39" fmla="*/ 7856 h 10356"/>
                <a:gd name="connsiteX40" fmla="*/ 1680 w 10000"/>
                <a:gd name="connsiteY40" fmla="*/ 7279 h 10356"/>
                <a:gd name="connsiteX41" fmla="*/ 960 w 10000"/>
                <a:gd name="connsiteY41" fmla="*/ 6894 h 10356"/>
                <a:gd name="connsiteX42" fmla="*/ 960 w 10000"/>
                <a:gd name="connsiteY42" fmla="*/ 6125 h 10356"/>
                <a:gd name="connsiteX43" fmla="*/ 640 w 10000"/>
                <a:gd name="connsiteY43" fmla="*/ 4587 h 10356"/>
                <a:gd name="connsiteX44" fmla="*/ 240 w 10000"/>
                <a:gd name="connsiteY44" fmla="*/ 4394 h 10356"/>
                <a:gd name="connsiteX45" fmla="*/ 0 w 10000"/>
                <a:gd name="connsiteY45" fmla="*/ 3433 h 10356"/>
                <a:gd name="connsiteX0" fmla="*/ 0 w 10000"/>
                <a:gd name="connsiteY0" fmla="*/ 3433 h 10356"/>
                <a:gd name="connsiteX1" fmla="*/ 240 w 10000"/>
                <a:gd name="connsiteY1" fmla="*/ 3048 h 10356"/>
                <a:gd name="connsiteX2" fmla="*/ 640 w 10000"/>
                <a:gd name="connsiteY2" fmla="*/ 2471 h 10356"/>
                <a:gd name="connsiteX3" fmla="*/ 1280 w 10000"/>
                <a:gd name="connsiteY3" fmla="*/ 2087 h 10356"/>
                <a:gd name="connsiteX4" fmla="*/ 1920 w 10000"/>
                <a:gd name="connsiteY4" fmla="*/ 1894 h 10356"/>
                <a:gd name="connsiteX5" fmla="*/ 2160 w 10000"/>
                <a:gd name="connsiteY5" fmla="*/ 2471 h 10356"/>
                <a:gd name="connsiteX6" fmla="*/ 2880 w 10000"/>
                <a:gd name="connsiteY6" fmla="*/ 2856 h 10356"/>
                <a:gd name="connsiteX7" fmla="*/ 3200 w 10000"/>
                <a:gd name="connsiteY7" fmla="*/ 2471 h 10356"/>
                <a:gd name="connsiteX8" fmla="*/ 3120 w 10000"/>
                <a:gd name="connsiteY8" fmla="*/ 1510 h 10356"/>
                <a:gd name="connsiteX9" fmla="*/ 3440 w 10000"/>
                <a:gd name="connsiteY9" fmla="*/ 0 h 10356"/>
                <a:gd name="connsiteX10" fmla="*/ 4543 w 10000"/>
                <a:gd name="connsiteY10" fmla="*/ 627 h 10356"/>
                <a:gd name="connsiteX11" fmla="*/ 4700 w 10000"/>
                <a:gd name="connsiteY11" fmla="*/ 1681 h 10356"/>
                <a:gd name="connsiteX12" fmla="*/ 5054 w 10000"/>
                <a:gd name="connsiteY12" fmla="*/ 2044 h 10356"/>
                <a:gd name="connsiteX13" fmla="*/ 5520 w 10000"/>
                <a:gd name="connsiteY13" fmla="*/ 2087 h 10356"/>
                <a:gd name="connsiteX14" fmla="*/ 6191 w 10000"/>
                <a:gd name="connsiteY14" fmla="*/ 2044 h 10356"/>
                <a:gd name="connsiteX15" fmla="*/ 6557 w 10000"/>
                <a:gd name="connsiteY15" fmla="*/ 2814 h 10356"/>
                <a:gd name="connsiteX16" fmla="*/ 7280 w 10000"/>
                <a:gd name="connsiteY16" fmla="*/ 2935 h 10356"/>
                <a:gd name="connsiteX17" fmla="*/ 7920 w 10000"/>
                <a:gd name="connsiteY17" fmla="*/ 2664 h 10356"/>
                <a:gd name="connsiteX18" fmla="*/ 8560 w 10000"/>
                <a:gd name="connsiteY18" fmla="*/ 2471 h 10356"/>
                <a:gd name="connsiteX19" fmla="*/ 8880 w 10000"/>
                <a:gd name="connsiteY19" fmla="*/ 2856 h 10356"/>
                <a:gd name="connsiteX20" fmla="*/ 8560 w 10000"/>
                <a:gd name="connsiteY20" fmla="*/ 4394 h 10356"/>
                <a:gd name="connsiteX21" fmla="*/ 8720 w 10000"/>
                <a:gd name="connsiteY21" fmla="*/ 4779 h 10356"/>
                <a:gd name="connsiteX22" fmla="*/ 9040 w 10000"/>
                <a:gd name="connsiteY22" fmla="*/ 4779 h 10356"/>
                <a:gd name="connsiteX23" fmla="*/ 9440 w 10000"/>
                <a:gd name="connsiteY23" fmla="*/ 4394 h 10356"/>
                <a:gd name="connsiteX24" fmla="*/ 9920 w 10000"/>
                <a:gd name="connsiteY24" fmla="*/ 5164 h 10356"/>
                <a:gd name="connsiteX25" fmla="*/ 10000 w 10000"/>
                <a:gd name="connsiteY25" fmla="*/ 5741 h 10356"/>
                <a:gd name="connsiteX26" fmla="*/ 9920 w 10000"/>
                <a:gd name="connsiteY26" fmla="*/ 5933 h 10356"/>
                <a:gd name="connsiteX27" fmla="*/ 9600 w 10000"/>
                <a:gd name="connsiteY27" fmla="*/ 5548 h 10356"/>
                <a:gd name="connsiteX28" fmla="*/ 9200 w 10000"/>
                <a:gd name="connsiteY28" fmla="*/ 5741 h 10356"/>
                <a:gd name="connsiteX29" fmla="*/ 8720 w 10000"/>
                <a:gd name="connsiteY29" fmla="*/ 6702 h 10356"/>
                <a:gd name="connsiteX30" fmla="*/ 8160 w 10000"/>
                <a:gd name="connsiteY30" fmla="*/ 7471 h 10356"/>
                <a:gd name="connsiteX31" fmla="*/ 7600 w 10000"/>
                <a:gd name="connsiteY31" fmla="*/ 7087 h 10356"/>
                <a:gd name="connsiteX32" fmla="*/ 7280 w 10000"/>
                <a:gd name="connsiteY32" fmla="*/ 7664 h 10356"/>
                <a:gd name="connsiteX33" fmla="*/ 7440 w 10000"/>
                <a:gd name="connsiteY33" fmla="*/ 8433 h 10356"/>
                <a:gd name="connsiteX34" fmla="*/ 6880 w 10000"/>
                <a:gd name="connsiteY34" fmla="*/ 9394 h 10356"/>
                <a:gd name="connsiteX35" fmla="*/ 6080 w 10000"/>
                <a:gd name="connsiteY35" fmla="*/ 9587 h 10356"/>
                <a:gd name="connsiteX36" fmla="*/ 5280 w 10000"/>
                <a:gd name="connsiteY36" fmla="*/ 10356 h 10356"/>
                <a:gd name="connsiteX37" fmla="*/ 4080 w 10000"/>
                <a:gd name="connsiteY37" fmla="*/ 9394 h 10356"/>
                <a:gd name="connsiteX38" fmla="*/ 2640 w 10000"/>
                <a:gd name="connsiteY38" fmla="*/ 9202 h 10356"/>
                <a:gd name="connsiteX39" fmla="*/ 2240 w 10000"/>
                <a:gd name="connsiteY39" fmla="*/ 7856 h 10356"/>
                <a:gd name="connsiteX40" fmla="*/ 1680 w 10000"/>
                <a:gd name="connsiteY40" fmla="*/ 7279 h 10356"/>
                <a:gd name="connsiteX41" fmla="*/ 960 w 10000"/>
                <a:gd name="connsiteY41" fmla="*/ 6894 h 10356"/>
                <a:gd name="connsiteX42" fmla="*/ 960 w 10000"/>
                <a:gd name="connsiteY42" fmla="*/ 6125 h 10356"/>
                <a:gd name="connsiteX43" fmla="*/ 640 w 10000"/>
                <a:gd name="connsiteY43" fmla="*/ 4587 h 10356"/>
                <a:gd name="connsiteX44" fmla="*/ 240 w 10000"/>
                <a:gd name="connsiteY44" fmla="*/ 4394 h 10356"/>
                <a:gd name="connsiteX45" fmla="*/ 0 w 10000"/>
                <a:gd name="connsiteY45" fmla="*/ 3433 h 10356"/>
                <a:gd name="connsiteX0" fmla="*/ 0 w 10000"/>
                <a:gd name="connsiteY0" fmla="*/ 3433 h 10356"/>
                <a:gd name="connsiteX1" fmla="*/ 240 w 10000"/>
                <a:gd name="connsiteY1" fmla="*/ 3048 h 10356"/>
                <a:gd name="connsiteX2" fmla="*/ 640 w 10000"/>
                <a:gd name="connsiteY2" fmla="*/ 2471 h 10356"/>
                <a:gd name="connsiteX3" fmla="*/ 1186 w 10000"/>
                <a:gd name="connsiteY3" fmla="*/ 1874 h 10356"/>
                <a:gd name="connsiteX4" fmla="*/ 1920 w 10000"/>
                <a:gd name="connsiteY4" fmla="*/ 1894 h 10356"/>
                <a:gd name="connsiteX5" fmla="*/ 2160 w 10000"/>
                <a:gd name="connsiteY5" fmla="*/ 2471 h 10356"/>
                <a:gd name="connsiteX6" fmla="*/ 2880 w 10000"/>
                <a:gd name="connsiteY6" fmla="*/ 2856 h 10356"/>
                <a:gd name="connsiteX7" fmla="*/ 3200 w 10000"/>
                <a:gd name="connsiteY7" fmla="*/ 2471 h 10356"/>
                <a:gd name="connsiteX8" fmla="*/ 3120 w 10000"/>
                <a:gd name="connsiteY8" fmla="*/ 1510 h 10356"/>
                <a:gd name="connsiteX9" fmla="*/ 3440 w 10000"/>
                <a:gd name="connsiteY9" fmla="*/ 0 h 10356"/>
                <a:gd name="connsiteX10" fmla="*/ 4543 w 10000"/>
                <a:gd name="connsiteY10" fmla="*/ 627 h 10356"/>
                <a:gd name="connsiteX11" fmla="*/ 4700 w 10000"/>
                <a:gd name="connsiteY11" fmla="*/ 1681 h 10356"/>
                <a:gd name="connsiteX12" fmla="*/ 5054 w 10000"/>
                <a:gd name="connsiteY12" fmla="*/ 2044 h 10356"/>
                <a:gd name="connsiteX13" fmla="*/ 5520 w 10000"/>
                <a:gd name="connsiteY13" fmla="*/ 2087 h 10356"/>
                <a:gd name="connsiteX14" fmla="*/ 6191 w 10000"/>
                <a:gd name="connsiteY14" fmla="*/ 2044 h 10356"/>
                <a:gd name="connsiteX15" fmla="*/ 6557 w 10000"/>
                <a:gd name="connsiteY15" fmla="*/ 2814 h 10356"/>
                <a:gd name="connsiteX16" fmla="*/ 7280 w 10000"/>
                <a:gd name="connsiteY16" fmla="*/ 2935 h 10356"/>
                <a:gd name="connsiteX17" fmla="*/ 7920 w 10000"/>
                <a:gd name="connsiteY17" fmla="*/ 2664 h 10356"/>
                <a:gd name="connsiteX18" fmla="*/ 8560 w 10000"/>
                <a:gd name="connsiteY18" fmla="*/ 2471 h 10356"/>
                <a:gd name="connsiteX19" fmla="*/ 8880 w 10000"/>
                <a:gd name="connsiteY19" fmla="*/ 2856 h 10356"/>
                <a:gd name="connsiteX20" fmla="*/ 8560 w 10000"/>
                <a:gd name="connsiteY20" fmla="*/ 4394 h 10356"/>
                <a:gd name="connsiteX21" fmla="*/ 8720 w 10000"/>
                <a:gd name="connsiteY21" fmla="*/ 4779 h 10356"/>
                <a:gd name="connsiteX22" fmla="*/ 9040 w 10000"/>
                <a:gd name="connsiteY22" fmla="*/ 4779 h 10356"/>
                <a:gd name="connsiteX23" fmla="*/ 9440 w 10000"/>
                <a:gd name="connsiteY23" fmla="*/ 4394 h 10356"/>
                <a:gd name="connsiteX24" fmla="*/ 9920 w 10000"/>
                <a:gd name="connsiteY24" fmla="*/ 5164 h 10356"/>
                <a:gd name="connsiteX25" fmla="*/ 10000 w 10000"/>
                <a:gd name="connsiteY25" fmla="*/ 5741 h 10356"/>
                <a:gd name="connsiteX26" fmla="*/ 9920 w 10000"/>
                <a:gd name="connsiteY26" fmla="*/ 5933 h 10356"/>
                <a:gd name="connsiteX27" fmla="*/ 9600 w 10000"/>
                <a:gd name="connsiteY27" fmla="*/ 5548 h 10356"/>
                <a:gd name="connsiteX28" fmla="*/ 9200 w 10000"/>
                <a:gd name="connsiteY28" fmla="*/ 5741 h 10356"/>
                <a:gd name="connsiteX29" fmla="*/ 8720 w 10000"/>
                <a:gd name="connsiteY29" fmla="*/ 6702 h 10356"/>
                <a:gd name="connsiteX30" fmla="*/ 8160 w 10000"/>
                <a:gd name="connsiteY30" fmla="*/ 7471 h 10356"/>
                <a:gd name="connsiteX31" fmla="*/ 7600 w 10000"/>
                <a:gd name="connsiteY31" fmla="*/ 7087 h 10356"/>
                <a:gd name="connsiteX32" fmla="*/ 7280 w 10000"/>
                <a:gd name="connsiteY32" fmla="*/ 7664 h 10356"/>
                <a:gd name="connsiteX33" fmla="*/ 7440 w 10000"/>
                <a:gd name="connsiteY33" fmla="*/ 8433 h 10356"/>
                <a:gd name="connsiteX34" fmla="*/ 6880 w 10000"/>
                <a:gd name="connsiteY34" fmla="*/ 9394 h 10356"/>
                <a:gd name="connsiteX35" fmla="*/ 6080 w 10000"/>
                <a:gd name="connsiteY35" fmla="*/ 9587 h 10356"/>
                <a:gd name="connsiteX36" fmla="*/ 5280 w 10000"/>
                <a:gd name="connsiteY36" fmla="*/ 10356 h 10356"/>
                <a:gd name="connsiteX37" fmla="*/ 4080 w 10000"/>
                <a:gd name="connsiteY37" fmla="*/ 9394 h 10356"/>
                <a:gd name="connsiteX38" fmla="*/ 2640 w 10000"/>
                <a:gd name="connsiteY38" fmla="*/ 9202 h 10356"/>
                <a:gd name="connsiteX39" fmla="*/ 2240 w 10000"/>
                <a:gd name="connsiteY39" fmla="*/ 7856 h 10356"/>
                <a:gd name="connsiteX40" fmla="*/ 1680 w 10000"/>
                <a:gd name="connsiteY40" fmla="*/ 7279 h 10356"/>
                <a:gd name="connsiteX41" fmla="*/ 960 w 10000"/>
                <a:gd name="connsiteY41" fmla="*/ 6894 h 10356"/>
                <a:gd name="connsiteX42" fmla="*/ 960 w 10000"/>
                <a:gd name="connsiteY42" fmla="*/ 6125 h 10356"/>
                <a:gd name="connsiteX43" fmla="*/ 640 w 10000"/>
                <a:gd name="connsiteY43" fmla="*/ 4587 h 10356"/>
                <a:gd name="connsiteX44" fmla="*/ 240 w 10000"/>
                <a:gd name="connsiteY44" fmla="*/ 4394 h 10356"/>
                <a:gd name="connsiteX45" fmla="*/ 0 w 10000"/>
                <a:gd name="connsiteY45" fmla="*/ 3433 h 1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0000" h="10356">
                  <a:moveTo>
                    <a:pt x="0" y="3433"/>
                  </a:moveTo>
                  <a:lnTo>
                    <a:pt x="240" y="3048"/>
                  </a:lnTo>
                  <a:cubicBezTo>
                    <a:pt x="240" y="3048"/>
                    <a:pt x="560" y="2664"/>
                    <a:pt x="640" y="2471"/>
                  </a:cubicBezTo>
                  <a:cubicBezTo>
                    <a:pt x="800" y="2471"/>
                    <a:pt x="1026" y="1874"/>
                    <a:pt x="1186" y="1874"/>
                  </a:cubicBezTo>
                  <a:cubicBezTo>
                    <a:pt x="1346" y="1681"/>
                    <a:pt x="1758" y="1795"/>
                    <a:pt x="1920" y="1894"/>
                  </a:cubicBezTo>
                  <a:cubicBezTo>
                    <a:pt x="2082" y="1993"/>
                    <a:pt x="2080" y="2279"/>
                    <a:pt x="2160" y="2471"/>
                  </a:cubicBezTo>
                  <a:cubicBezTo>
                    <a:pt x="2240" y="2664"/>
                    <a:pt x="2720" y="2664"/>
                    <a:pt x="2880" y="2856"/>
                  </a:cubicBezTo>
                  <a:cubicBezTo>
                    <a:pt x="3040" y="2856"/>
                    <a:pt x="3120" y="2664"/>
                    <a:pt x="3200" y="2471"/>
                  </a:cubicBezTo>
                  <a:cubicBezTo>
                    <a:pt x="3280" y="2279"/>
                    <a:pt x="3080" y="1922"/>
                    <a:pt x="3120" y="1510"/>
                  </a:cubicBezTo>
                  <a:cubicBezTo>
                    <a:pt x="3160" y="1098"/>
                    <a:pt x="3360" y="0"/>
                    <a:pt x="3440" y="0"/>
                  </a:cubicBezTo>
                  <a:cubicBezTo>
                    <a:pt x="3520" y="192"/>
                    <a:pt x="4333" y="347"/>
                    <a:pt x="4543" y="627"/>
                  </a:cubicBezTo>
                  <a:cubicBezTo>
                    <a:pt x="4753" y="907"/>
                    <a:pt x="4627" y="1496"/>
                    <a:pt x="4700" y="1681"/>
                  </a:cubicBezTo>
                  <a:cubicBezTo>
                    <a:pt x="4780" y="1874"/>
                    <a:pt x="4917" y="1976"/>
                    <a:pt x="5054" y="2044"/>
                  </a:cubicBezTo>
                  <a:cubicBezTo>
                    <a:pt x="5191" y="2112"/>
                    <a:pt x="5360" y="2087"/>
                    <a:pt x="5520" y="2087"/>
                  </a:cubicBezTo>
                  <a:cubicBezTo>
                    <a:pt x="5600" y="2279"/>
                    <a:pt x="6018" y="1923"/>
                    <a:pt x="6191" y="2044"/>
                  </a:cubicBezTo>
                  <a:cubicBezTo>
                    <a:pt x="6364" y="2165"/>
                    <a:pt x="6376" y="2666"/>
                    <a:pt x="6557" y="2814"/>
                  </a:cubicBezTo>
                  <a:cubicBezTo>
                    <a:pt x="6738" y="2962"/>
                    <a:pt x="7120" y="2935"/>
                    <a:pt x="7280" y="2935"/>
                  </a:cubicBezTo>
                  <a:cubicBezTo>
                    <a:pt x="7440" y="2743"/>
                    <a:pt x="7680" y="3241"/>
                    <a:pt x="7920" y="2664"/>
                  </a:cubicBezTo>
                  <a:cubicBezTo>
                    <a:pt x="8160" y="2279"/>
                    <a:pt x="8480" y="2471"/>
                    <a:pt x="8560" y="2471"/>
                  </a:cubicBezTo>
                  <a:lnTo>
                    <a:pt x="8880" y="2856"/>
                  </a:lnTo>
                  <a:cubicBezTo>
                    <a:pt x="8880" y="2856"/>
                    <a:pt x="8480" y="4202"/>
                    <a:pt x="8560" y="4394"/>
                  </a:cubicBezTo>
                  <a:cubicBezTo>
                    <a:pt x="8560" y="4394"/>
                    <a:pt x="8640" y="4779"/>
                    <a:pt x="8720" y="4779"/>
                  </a:cubicBezTo>
                  <a:lnTo>
                    <a:pt x="9040" y="4779"/>
                  </a:lnTo>
                  <a:cubicBezTo>
                    <a:pt x="9120" y="4779"/>
                    <a:pt x="9280" y="4394"/>
                    <a:pt x="9440" y="4394"/>
                  </a:cubicBezTo>
                  <a:cubicBezTo>
                    <a:pt x="9520" y="4394"/>
                    <a:pt x="9840" y="4971"/>
                    <a:pt x="9920" y="5164"/>
                  </a:cubicBezTo>
                  <a:cubicBezTo>
                    <a:pt x="10000" y="5356"/>
                    <a:pt x="10000" y="5741"/>
                    <a:pt x="10000" y="5741"/>
                  </a:cubicBezTo>
                  <a:cubicBezTo>
                    <a:pt x="9973" y="5805"/>
                    <a:pt x="9947" y="5869"/>
                    <a:pt x="9920" y="5933"/>
                  </a:cubicBezTo>
                  <a:cubicBezTo>
                    <a:pt x="9840" y="6125"/>
                    <a:pt x="9680" y="5548"/>
                    <a:pt x="9600" y="5548"/>
                  </a:cubicBezTo>
                  <a:cubicBezTo>
                    <a:pt x="9520" y="5548"/>
                    <a:pt x="9200" y="5741"/>
                    <a:pt x="9200" y="5741"/>
                  </a:cubicBezTo>
                  <a:cubicBezTo>
                    <a:pt x="9120" y="5933"/>
                    <a:pt x="8800" y="6510"/>
                    <a:pt x="8720" y="6702"/>
                  </a:cubicBezTo>
                  <a:cubicBezTo>
                    <a:pt x="8720" y="6894"/>
                    <a:pt x="8240" y="7279"/>
                    <a:pt x="8160" y="7471"/>
                  </a:cubicBezTo>
                  <a:cubicBezTo>
                    <a:pt x="8000" y="7471"/>
                    <a:pt x="7680" y="7087"/>
                    <a:pt x="7600" y="7087"/>
                  </a:cubicBezTo>
                  <a:cubicBezTo>
                    <a:pt x="7440" y="7087"/>
                    <a:pt x="7360" y="7471"/>
                    <a:pt x="7280" y="7664"/>
                  </a:cubicBezTo>
                  <a:cubicBezTo>
                    <a:pt x="7280" y="8048"/>
                    <a:pt x="7440" y="8048"/>
                    <a:pt x="7440" y="8433"/>
                  </a:cubicBezTo>
                  <a:cubicBezTo>
                    <a:pt x="7520" y="8625"/>
                    <a:pt x="7040" y="9202"/>
                    <a:pt x="6880" y="9394"/>
                  </a:cubicBezTo>
                  <a:cubicBezTo>
                    <a:pt x="6720" y="9587"/>
                    <a:pt x="6160" y="9587"/>
                    <a:pt x="6080" y="9587"/>
                  </a:cubicBezTo>
                  <a:cubicBezTo>
                    <a:pt x="5920" y="9587"/>
                    <a:pt x="5360" y="10164"/>
                    <a:pt x="5280" y="10356"/>
                  </a:cubicBezTo>
                  <a:cubicBezTo>
                    <a:pt x="5120" y="10356"/>
                    <a:pt x="4160" y="9587"/>
                    <a:pt x="4080" y="9394"/>
                  </a:cubicBezTo>
                  <a:cubicBezTo>
                    <a:pt x="4000" y="9202"/>
                    <a:pt x="2640" y="9394"/>
                    <a:pt x="2640" y="9202"/>
                  </a:cubicBezTo>
                  <a:cubicBezTo>
                    <a:pt x="2640" y="9202"/>
                    <a:pt x="2320" y="8048"/>
                    <a:pt x="2240" y="7856"/>
                  </a:cubicBezTo>
                  <a:cubicBezTo>
                    <a:pt x="2160" y="7664"/>
                    <a:pt x="1840" y="7279"/>
                    <a:pt x="1680" y="7279"/>
                  </a:cubicBezTo>
                  <a:cubicBezTo>
                    <a:pt x="1600" y="7279"/>
                    <a:pt x="1040" y="7087"/>
                    <a:pt x="960" y="6894"/>
                  </a:cubicBezTo>
                  <a:cubicBezTo>
                    <a:pt x="800" y="6702"/>
                    <a:pt x="960" y="6318"/>
                    <a:pt x="960" y="6125"/>
                  </a:cubicBezTo>
                  <a:cubicBezTo>
                    <a:pt x="960" y="5741"/>
                    <a:pt x="720" y="4779"/>
                    <a:pt x="640" y="4587"/>
                  </a:cubicBezTo>
                  <a:cubicBezTo>
                    <a:pt x="560" y="4394"/>
                    <a:pt x="320" y="4394"/>
                    <a:pt x="240" y="4394"/>
                  </a:cubicBezTo>
                  <a:cubicBezTo>
                    <a:pt x="160" y="4202"/>
                    <a:pt x="0" y="3433"/>
                    <a:pt x="0" y="343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" name="Freeform 648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485098" y="3746432"/>
              <a:ext cx="271862" cy="420391"/>
            </a:xfrm>
            <a:custGeom>
              <a:avLst/>
              <a:gdLst>
                <a:gd name="T0" fmla="*/ 3 w 45"/>
                <a:gd name="T1" fmla="*/ 46 h 65"/>
                <a:gd name="T2" fmla="*/ 0 w 45"/>
                <a:gd name="T3" fmla="*/ 44 h 65"/>
                <a:gd name="T4" fmla="*/ 1 w 45"/>
                <a:gd name="T5" fmla="*/ 40 h 65"/>
                <a:gd name="T6" fmla="*/ 4 w 45"/>
                <a:gd name="T7" fmla="*/ 39 h 65"/>
                <a:gd name="T8" fmla="*/ 7 w 45"/>
                <a:gd name="T9" fmla="*/ 35 h 65"/>
                <a:gd name="T10" fmla="*/ 5 w 45"/>
                <a:gd name="T11" fmla="*/ 33 h 65"/>
                <a:gd name="T12" fmla="*/ 5 w 45"/>
                <a:gd name="T13" fmla="*/ 29 h 65"/>
                <a:gd name="T14" fmla="*/ 5 w 45"/>
                <a:gd name="T15" fmla="*/ 24 h 65"/>
                <a:gd name="T16" fmla="*/ 3 w 45"/>
                <a:gd name="T17" fmla="*/ 22 h 65"/>
                <a:gd name="T18" fmla="*/ 6 w 45"/>
                <a:gd name="T19" fmla="*/ 20 h 65"/>
                <a:gd name="T20" fmla="*/ 6 w 45"/>
                <a:gd name="T21" fmla="*/ 16 h 65"/>
                <a:gd name="T22" fmla="*/ 7 w 45"/>
                <a:gd name="T23" fmla="*/ 17 h 65"/>
                <a:gd name="T24" fmla="*/ 12 w 45"/>
                <a:gd name="T25" fmla="*/ 13 h 65"/>
                <a:gd name="T26" fmla="*/ 12 w 45"/>
                <a:gd name="T27" fmla="*/ 10 h 65"/>
                <a:gd name="T28" fmla="*/ 14 w 45"/>
                <a:gd name="T29" fmla="*/ 6 h 65"/>
                <a:gd name="T30" fmla="*/ 19 w 45"/>
                <a:gd name="T31" fmla="*/ 5 h 65"/>
                <a:gd name="T32" fmla="*/ 26 w 45"/>
                <a:gd name="T33" fmla="*/ 1 h 65"/>
                <a:gd name="T34" fmla="*/ 30 w 45"/>
                <a:gd name="T35" fmla="*/ 2 h 65"/>
                <a:gd name="T36" fmla="*/ 28 w 45"/>
                <a:gd name="T37" fmla="*/ 4 h 65"/>
                <a:gd name="T38" fmla="*/ 27 w 45"/>
                <a:gd name="T39" fmla="*/ 5 h 65"/>
                <a:gd name="T40" fmla="*/ 25 w 45"/>
                <a:gd name="T41" fmla="*/ 7 h 65"/>
                <a:gd name="T42" fmla="*/ 23 w 45"/>
                <a:gd name="T43" fmla="*/ 9 h 65"/>
                <a:gd name="T44" fmla="*/ 21 w 45"/>
                <a:gd name="T45" fmla="*/ 14 h 65"/>
                <a:gd name="T46" fmla="*/ 25 w 45"/>
                <a:gd name="T47" fmla="*/ 19 h 65"/>
                <a:gd name="T48" fmla="*/ 26 w 45"/>
                <a:gd name="T49" fmla="*/ 23 h 65"/>
                <a:gd name="T50" fmla="*/ 34 w 45"/>
                <a:gd name="T51" fmla="*/ 23 h 65"/>
                <a:gd name="T52" fmla="*/ 37 w 45"/>
                <a:gd name="T53" fmla="*/ 26 h 65"/>
                <a:gd name="T54" fmla="*/ 44 w 45"/>
                <a:gd name="T55" fmla="*/ 26 h 65"/>
                <a:gd name="T56" fmla="*/ 43 w 45"/>
                <a:gd name="T57" fmla="*/ 30 h 65"/>
                <a:gd name="T58" fmla="*/ 43 w 45"/>
                <a:gd name="T59" fmla="*/ 34 h 65"/>
                <a:gd name="T60" fmla="*/ 45 w 45"/>
                <a:gd name="T61" fmla="*/ 36 h 65"/>
                <a:gd name="T62" fmla="*/ 43 w 45"/>
                <a:gd name="T63" fmla="*/ 39 h 65"/>
                <a:gd name="T64" fmla="*/ 45 w 45"/>
                <a:gd name="T65" fmla="*/ 41 h 65"/>
                <a:gd name="T66" fmla="*/ 42 w 45"/>
                <a:gd name="T67" fmla="*/ 43 h 65"/>
                <a:gd name="T68" fmla="*/ 35 w 45"/>
                <a:gd name="T69" fmla="*/ 44 h 65"/>
                <a:gd name="T70" fmla="*/ 34 w 45"/>
                <a:gd name="T71" fmla="*/ 50 h 65"/>
                <a:gd name="T72" fmla="*/ 37 w 45"/>
                <a:gd name="T73" fmla="*/ 56 h 65"/>
                <a:gd name="T74" fmla="*/ 35 w 45"/>
                <a:gd name="T75" fmla="*/ 65 h 65"/>
                <a:gd name="T76" fmla="*/ 31 w 45"/>
                <a:gd name="T77" fmla="*/ 63 h 65"/>
                <a:gd name="T78" fmla="*/ 32 w 45"/>
                <a:gd name="T79" fmla="*/ 59 h 65"/>
                <a:gd name="T80" fmla="*/ 23 w 45"/>
                <a:gd name="T81" fmla="*/ 59 h 65"/>
                <a:gd name="T82" fmla="*/ 16 w 45"/>
                <a:gd name="T83" fmla="*/ 51 h 65"/>
                <a:gd name="T84" fmla="*/ 12 w 45"/>
                <a:gd name="T85" fmla="*/ 49 h 65"/>
                <a:gd name="T86" fmla="*/ 10 w 45"/>
                <a:gd name="T87" fmla="*/ 49 h 65"/>
                <a:gd name="T88" fmla="*/ 6 w 45"/>
                <a:gd name="T89" fmla="*/ 48 h 65"/>
                <a:gd name="T90" fmla="*/ 3 w 45"/>
                <a:gd name="T91" fmla="*/ 46 h 65"/>
                <a:gd name="connsiteX0" fmla="*/ 667 w 10000"/>
                <a:gd name="connsiteY0" fmla="*/ 6962 h 9885"/>
                <a:gd name="connsiteX1" fmla="*/ 0 w 10000"/>
                <a:gd name="connsiteY1" fmla="*/ 6654 h 9885"/>
                <a:gd name="connsiteX2" fmla="*/ 222 w 10000"/>
                <a:gd name="connsiteY2" fmla="*/ 6039 h 9885"/>
                <a:gd name="connsiteX3" fmla="*/ 889 w 10000"/>
                <a:gd name="connsiteY3" fmla="*/ 5885 h 9885"/>
                <a:gd name="connsiteX4" fmla="*/ 1556 w 10000"/>
                <a:gd name="connsiteY4" fmla="*/ 5270 h 9885"/>
                <a:gd name="connsiteX5" fmla="*/ 1111 w 10000"/>
                <a:gd name="connsiteY5" fmla="*/ 4962 h 9885"/>
                <a:gd name="connsiteX6" fmla="*/ 1111 w 10000"/>
                <a:gd name="connsiteY6" fmla="*/ 4347 h 9885"/>
                <a:gd name="connsiteX7" fmla="*/ 1111 w 10000"/>
                <a:gd name="connsiteY7" fmla="*/ 3577 h 9885"/>
                <a:gd name="connsiteX8" fmla="*/ 667 w 10000"/>
                <a:gd name="connsiteY8" fmla="*/ 3270 h 9885"/>
                <a:gd name="connsiteX9" fmla="*/ 1333 w 10000"/>
                <a:gd name="connsiteY9" fmla="*/ 2962 h 9885"/>
                <a:gd name="connsiteX10" fmla="*/ 1333 w 10000"/>
                <a:gd name="connsiteY10" fmla="*/ 2347 h 9885"/>
                <a:gd name="connsiteX11" fmla="*/ 1556 w 10000"/>
                <a:gd name="connsiteY11" fmla="*/ 2500 h 9885"/>
                <a:gd name="connsiteX12" fmla="*/ 2667 w 10000"/>
                <a:gd name="connsiteY12" fmla="*/ 1885 h 9885"/>
                <a:gd name="connsiteX13" fmla="*/ 2667 w 10000"/>
                <a:gd name="connsiteY13" fmla="*/ 1423 h 9885"/>
                <a:gd name="connsiteX14" fmla="*/ 3111 w 10000"/>
                <a:gd name="connsiteY14" fmla="*/ 808 h 9885"/>
                <a:gd name="connsiteX15" fmla="*/ 4222 w 10000"/>
                <a:gd name="connsiteY15" fmla="*/ 654 h 9885"/>
                <a:gd name="connsiteX16" fmla="*/ 5778 w 10000"/>
                <a:gd name="connsiteY16" fmla="*/ 39 h 9885"/>
                <a:gd name="connsiteX17" fmla="*/ 6667 w 10000"/>
                <a:gd name="connsiteY17" fmla="*/ 193 h 9885"/>
                <a:gd name="connsiteX18" fmla="*/ 6222 w 10000"/>
                <a:gd name="connsiteY18" fmla="*/ 500 h 9885"/>
                <a:gd name="connsiteX19" fmla="*/ 6000 w 10000"/>
                <a:gd name="connsiteY19" fmla="*/ 654 h 9885"/>
                <a:gd name="connsiteX20" fmla="*/ 5556 w 10000"/>
                <a:gd name="connsiteY20" fmla="*/ 962 h 9885"/>
                <a:gd name="connsiteX21" fmla="*/ 5111 w 10000"/>
                <a:gd name="connsiteY21" fmla="*/ 1270 h 9885"/>
                <a:gd name="connsiteX22" fmla="*/ 4667 w 10000"/>
                <a:gd name="connsiteY22" fmla="*/ 2039 h 9885"/>
                <a:gd name="connsiteX23" fmla="*/ 5556 w 10000"/>
                <a:gd name="connsiteY23" fmla="*/ 2808 h 9885"/>
                <a:gd name="connsiteX24" fmla="*/ 5778 w 10000"/>
                <a:gd name="connsiteY24" fmla="*/ 3423 h 9885"/>
                <a:gd name="connsiteX25" fmla="*/ 7556 w 10000"/>
                <a:gd name="connsiteY25" fmla="*/ 3423 h 9885"/>
                <a:gd name="connsiteX26" fmla="*/ 8222 w 10000"/>
                <a:gd name="connsiteY26" fmla="*/ 3885 h 9885"/>
                <a:gd name="connsiteX27" fmla="*/ 9778 w 10000"/>
                <a:gd name="connsiteY27" fmla="*/ 3885 h 9885"/>
                <a:gd name="connsiteX28" fmla="*/ 9556 w 10000"/>
                <a:gd name="connsiteY28" fmla="*/ 4500 h 9885"/>
                <a:gd name="connsiteX29" fmla="*/ 9556 w 10000"/>
                <a:gd name="connsiteY29" fmla="*/ 5116 h 9885"/>
                <a:gd name="connsiteX30" fmla="*/ 10000 w 10000"/>
                <a:gd name="connsiteY30" fmla="*/ 5423 h 9885"/>
                <a:gd name="connsiteX31" fmla="*/ 9556 w 10000"/>
                <a:gd name="connsiteY31" fmla="*/ 5885 h 9885"/>
                <a:gd name="connsiteX32" fmla="*/ 10000 w 10000"/>
                <a:gd name="connsiteY32" fmla="*/ 6193 h 9885"/>
                <a:gd name="connsiteX33" fmla="*/ 9333 w 10000"/>
                <a:gd name="connsiteY33" fmla="*/ 6500 h 9885"/>
                <a:gd name="connsiteX34" fmla="*/ 7778 w 10000"/>
                <a:gd name="connsiteY34" fmla="*/ 6654 h 9885"/>
                <a:gd name="connsiteX35" fmla="*/ 7556 w 10000"/>
                <a:gd name="connsiteY35" fmla="*/ 7577 h 9885"/>
                <a:gd name="connsiteX36" fmla="*/ 8222 w 10000"/>
                <a:gd name="connsiteY36" fmla="*/ 8500 h 9885"/>
                <a:gd name="connsiteX37" fmla="*/ 7778 w 10000"/>
                <a:gd name="connsiteY37" fmla="*/ 9885 h 9885"/>
                <a:gd name="connsiteX38" fmla="*/ 6889 w 10000"/>
                <a:gd name="connsiteY38" fmla="*/ 9577 h 9885"/>
                <a:gd name="connsiteX39" fmla="*/ 7111 w 10000"/>
                <a:gd name="connsiteY39" fmla="*/ 8962 h 9885"/>
                <a:gd name="connsiteX40" fmla="*/ 5111 w 10000"/>
                <a:gd name="connsiteY40" fmla="*/ 9262 h 9885"/>
                <a:gd name="connsiteX41" fmla="*/ 3556 w 10000"/>
                <a:gd name="connsiteY41" fmla="*/ 7731 h 9885"/>
                <a:gd name="connsiteX42" fmla="*/ 2667 w 10000"/>
                <a:gd name="connsiteY42" fmla="*/ 7423 h 9885"/>
                <a:gd name="connsiteX43" fmla="*/ 2222 w 10000"/>
                <a:gd name="connsiteY43" fmla="*/ 7423 h 9885"/>
                <a:gd name="connsiteX44" fmla="*/ 1333 w 10000"/>
                <a:gd name="connsiteY44" fmla="*/ 7270 h 9885"/>
                <a:gd name="connsiteX45" fmla="*/ 667 w 10000"/>
                <a:gd name="connsiteY45" fmla="*/ 6962 h 9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0000" h="9885">
                  <a:moveTo>
                    <a:pt x="667" y="6962"/>
                  </a:moveTo>
                  <a:lnTo>
                    <a:pt x="0" y="6654"/>
                  </a:lnTo>
                  <a:cubicBezTo>
                    <a:pt x="0" y="6500"/>
                    <a:pt x="222" y="6039"/>
                    <a:pt x="222" y="6039"/>
                  </a:cubicBezTo>
                  <a:cubicBezTo>
                    <a:pt x="444" y="5885"/>
                    <a:pt x="889" y="6039"/>
                    <a:pt x="889" y="5885"/>
                  </a:cubicBezTo>
                  <a:cubicBezTo>
                    <a:pt x="1111" y="5885"/>
                    <a:pt x="1333" y="5423"/>
                    <a:pt x="1556" y="5270"/>
                  </a:cubicBezTo>
                  <a:cubicBezTo>
                    <a:pt x="1556" y="5270"/>
                    <a:pt x="889" y="5116"/>
                    <a:pt x="1111" y="4962"/>
                  </a:cubicBezTo>
                  <a:lnTo>
                    <a:pt x="1111" y="4347"/>
                  </a:lnTo>
                  <a:lnTo>
                    <a:pt x="1111" y="3577"/>
                  </a:lnTo>
                  <a:lnTo>
                    <a:pt x="667" y="3270"/>
                  </a:lnTo>
                  <a:lnTo>
                    <a:pt x="1333" y="2962"/>
                  </a:lnTo>
                  <a:lnTo>
                    <a:pt x="1333" y="2347"/>
                  </a:lnTo>
                  <a:lnTo>
                    <a:pt x="1556" y="2500"/>
                  </a:lnTo>
                  <a:cubicBezTo>
                    <a:pt x="1778" y="2500"/>
                    <a:pt x="2667" y="2039"/>
                    <a:pt x="2667" y="1885"/>
                  </a:cubicBezTo>
                  <a:lnTo>
                    <a:pt x="2667" y="1423"/>
                  </a:lnTo>
                  <a:cubicBezTo>
                    <a:pt x="2667" y="1116"/>
                    <a:pt x="2889" y="962"/>
                    <a:pt x="3111" y="808"/>
                  </a:cubicBezTo>
                  <a:cubicBezTo>
                    <a:pt x="3556" y="808"/>
                    <a:pt x="3778" y="654"/>
                    <a:pt x="4222" y="654"/>
                  </a:cubicBezTo>
                  <a:cubicBezTo>
                    <a:pt x="5111" y="808"/>
                    <a:pt x="5778" y="39"/>
                    <a:pt x="5778" y="39"/>
                  </a:cubicBezTo>
                  <a:cubicBezTo>
                    <a:pt x="6222" y="39"/>
                    <a:pt x="6444" y="-115"/>
                    <a:pt x="6667" y="193"/>
                  </a:cubicBezTo>
                  <a:cubicBezTo>
                    <a:pt x="6889" y="347"/>
                    <a:pt x="6444" y="500"/>
                    <a:pt x="6222" y="500"/>
                  </a:cubicBezTo>
                  <a:lnTo>
                    <a:pt x="6000" y="654"/>
                  </a:lnTo>
                  <a:lnTo>
                    <a:pt x="5556" y="962"/>
                  </a:lnTo>
                  <a:cubicBezTo>
                    <a:pt x="5556" y="962"/>
                    <a:pt x="5111" y="962"/>
                    <a:pt x="5111" y="1270"/>
                  </a:cubicBezTo>
                  <a:cubicBezTo>
                    <a:pt x="4889" y="1577"/>
                    <a:pt x="4667" y="2039"/>
                    <a:pt x="4667" y="2039"/>
                  </a:cubicBezTo>
                  <a:cubicBezTo>
                    <a:pt x="4667" y="2193"/>
                    <a:pt x="5556" y="2654"/>
                    <a:pt x="5556" y="2808"/>
                  </a:cubicBezTo>
                  <a:cubicBezTo>
                    <a:pt x="5556" y="2962"/>
                    <a:pt x="5778" y="3270"/>
                    <a:pt x="5778" y="3423"/>
                  </a:cubicBezTo>
                  <a:cubicBezTo>
                    <a:pt x="6222" y="3423"/>
                    <a:pt x="7111" y="3270"/>
                    <a:pt x="7556" y="3423"/>
                  </a:cubicBezTo>
                  <a:cubicBezTo>
                    <a:pt x="7778" y="3577"/>
                    <a:pt x="8000" y="3885"/>
                    <a:pt x="8222" y="3885"/>
                  </a:cubicBezTo>
                  <a:cubicBezTo>
                    <a:pt x="8667" y="3885"/>
                    <a:pt x="9556" y="3731"/>
                    <a:pt x="9778" y="3885"/>
                  </a:cubicBezTo>
                  <a:cubicBezTo>
                    <a:pt x="9778" y="3885"/>
                    <a:pt x="9556" y="4193"/>
                    <a:pt x="9556" y="4500"/>
                  </a:cubicBezTo>
                  <a:lnTo>
                    <a:pt x="9556" y="5116"/>
                  </a:lnTo>
                  <a:lnTo>
                    <a:pt x="10000" y="5423"/>
                  </a:lnTo>
                  <a:cubicBezTo>
                    <a:pt x="10000" y="5577"/>
                    <a:pt x="9556" y="5885"/>
                    <a:pt x="9556" y="5885"/>
                  </a:cubicBezTo>
                  <a:lnTo>
                    <a:pt x="10000" y="6193"/>
                  </a:lnTo>
                  <a:lnTo>
                    <a:pt x="9333" y="6500"/>
                  </a:lnTo>
                  <a:cubicBezTo>
                    <a:pt x="9111" y="6500"/>
                    <a:pt x="8000" y="6500"/>
                    <a:pt x="7778" y="6654"/>
                  </a:cubicBezTo>
                  <a:cubicBezTo>
                    <a:pt x="7778" y="6654"/>
                    <a:pt x="7556" y="7423"/>
                    <a:pt x="7556" y="7577"/>
                  </a:cubicBezTo>
                  <a:cubicBezTo>
                    <a:pt x="7778" y="7731"/>
                    <a:pt x="8222" y="8193"/>
                    <a:pt x="8222" y="8500"/>
                  </a:cubicBezTo>
                  <a:cubicBezTo>
                    <a:pt x="8222" y="8654"/>
                    <a:pt x="8000" y="9423"/>
                    <a:pt x="7778" y="9885"/>
                  </a:cubicBezTo>
                  <a:lnTo>
                    <a:pt x="6889" y="9577"/>
                  </a:lnTo>
                  <a:cubicBezTo>
                    <a:pt x="6889" y="9577"/>
                    <a:pt x="7407" y="9014"/>
                    <a:pt x="7111" y="8962"/>
                  </a:cubicBezTo>
                  <a:cubicBezTo>
                    <a:pt x="6815" y="8910"/>
                    <a:pt x="5778" y="9416"/>
                    <a:pt x="5111" y="9262"/>
                  </a:cubicBezTo>
                  <a:cubicBezTo>
                    <a:pt x="4889" y="9108"/>
                    <a:pt x="3963" y="8038"/>
                    <a:pt x="3556" y="7731"/>
                  </a:cubicBezTo>
                  <a:cubicBezTo>
                    <a:pt x="3149" y="7425"/>
                    <a:pt x="3111" y="7423"/>
                    <a:pt x="2667" y="7423"/>
                  </a:cubicBezTo>
                  <a:lnTo>
                    <a:pt x="2222" y="7423"/>
                  </a:lnTo>
                  <a:cubicBezTo>
                    <a:pt x="2000" y="7423"/>
                    <a:pt x="1333" y="7423"/>
                    <a:pt x="1333" y="7270"/>
                  </a:cubicBezTo>
                  <a:cubicBezTo>
                    <a:pt x="1111" y="7116"/>
                    <a:pt x="889" y="6962"/>
                    <a:pt x="667" y="696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" name="Freeform 634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549845" y="3433463"/>
              <a:ext cx="176129" cy="211930"/>
            </a:xfrm>
            <a:custGeom>
              <a:avLst/>
              <a:gdLst>
                <a:gd name="T0" fmla="*/ 0 w 31"/>
                <a:gd name="T1" fmla="*/ 22 h 32"/>
                <a:gd name="T2" fmla="*/ 12 w 31"/>
                <a:gd name="T3" fmla="*/ 19 h 32"/>
                <a:gd name="T4" fmla="*/ 15 w 31"/>
                <a:gd name="T5" fmla="*/ 11 h 32"/>
                <a:gd name="T6" fmla="*/ 13 w 31"/>
                <a:gd name="T7" fmla="*/ 8 h 32"/>
                <a:gd name="T8" fmla="*/ 15 w 31"/>
                <a:gd name="T9" fmla="*/ 1 h 32"/>
                <a:gd name="T10" fmla="*/ 18 w 31"/>
                <a:gd name="T11" fmla="*/ 0 h 32"/>
                <a:gd name="T12" fmla="*/ 21 w 31"/>
                <a:gd name="T13" fmla="*/ 3 h 32"/>
                <a:gd name="T14" fmla="*/ 26 w 31"/>
                <a:gd name="T15" fmla="*/ 5 h 32"/>
                <a:gd name="T16" fmla="*/ 29 w 31"/>
                <a:gd name="T17" fmla="*/ 9 h 32"/>
                <a:gd name="T18" fmla="*/ 29 w 31"/>
                <a:gd name="T19" fmla="*/ 11 h 32"/>
                <a:gd name="T20" fmla="*/ 25 w 31"/>
                <a:gd name="T21" fmla="*/ 18 h 32"/>
                <a:gd name="T22" fmla="*/ 23 w 31"/>
                <a:gd name="T23" fmla="*/ 18 h 32"/>
                <a:gd name="T24" fmla="*/ 23 w 31"/>
                <a:gd name="T25" fmla="*/ 23 h 32"/>
                <a:gd name="T26" fmla="*/ 19 w 31"/>
                <a:gd name="T27" fmla="*/ 24 h 32"/>
                <a:gd name="T28" fmla="*/ 17 w 31"/>
                <a:gd name="T29" fmla="*/ 27 h 32"/>
                <a:gd name="T30" fmla="*/ 13 w 31"/>
                <a:gd name="T31" fmla="*/ 28 h 32"/>
                <a:gd name="T32" fmla="*/ 12 w 31"/>
                <a:gd name="T33" fmla="*/ 31 h 32"/>
                <a:gd name="T34" fmla="*/ 5 w 31"/>
                <a:gd name="T35" fmla="*/ 32 h 32"/>
                <a:gd name="T36" fmla="*/ 0 w 31"/>
                <a:gd name="T37" fmla="*/ 22 h 32"/>
                <a:gd name="connsiteX0" fmla="*/ 39 w 9394"/>
                <a:gd name="connsiteY0" fmla="*/ 6875 h 10375"/>
                <a:gd name="connsiteX1" fmla="*/ 3910 w 9394"/>
                <a:gd name="connsiteY1" fmla="*/ 5938 h 10375"/>
                <a:gd name="connsiteX2" fmla="*/ 4878 w 9394"/>
                <a:gd name="connsiteY2" fmla="*/ 3438 h 10375"/>
                <a:gd name="connsiteX3" fmla="*/ 4233 w 9394"/>
                <a:gd name="connsiteY3" fmla="*/ 2500 h 10375"/>
                <a:gd name="connsiteX4" fmla="*/ 4878 w 9394"/>
                <a:gd name="connsiteY4" fmla="*/ 313 h 10375"/>
                <a:gd name="connsiteX5" fmla="*/ 5845 w 9394"/>
                <a:gd name="connsiteY5" fmla="*/ 0 h 10375"/>
                <a:gd name="connsiteX6" fmla="*/ 6813 w 9394"/>
                <a:gd name="connsiteY6" fmla="*/ 938 h 10375"/>
                <a:gd name="connsiteX7" fmla="*/ 8426 w 9394"/>
                <a:gd name="connsiteY7" fmla="*/ 1563 h 10375"/>
                <a:gd name="connsiteX8" fmla="*/ 9394 w 9394"/>
                <a:gd name="connsiteY8" fmla="*/ 2813 h 10375"/>
                <a:gd name="connsiteX9" fmla="*/ 9394 w 9394"/>
                <a:gd name="connsiteY9" fmla="*/ 3438 h 10375"/>
                <a:gd name="connsiteX10" fmla="*/ 8104 w 9394"/>
                <a:gd name="connsiteY10" fmla="*/ 5625 h 10375"/>
                <a:gd name="connsiteX11" fmla="*/ 7458 w 9394"/>
                <a:gd name="connsiteY11" fmla="*/ 5625 h 10375"/>
                <a:gd name="connsiteX12" fmla="*/ 7458 w 9394"/>
                <a:gd name="connsiteY12" fmla="*/ 7188 h 10375"/>
                <a:gd name="connsiteX13" fmla="*/ 6168 w 9394"/>
                <a:gd name="connsiteY13" fmla="*/ 7500 h 10375"/>
                <a:gd name="connsiteX14" fmla="*/ 5523 w 9394"/>
                <a:gd name="connsiteY14" fmla="*/ 8438 h 10375"/>
                <a:gd name="connsiteX15" fmla="*/ 4233 w 9394"/>
                <a:gd name="connsiteY15" fmla="*/ 8750 h 10375"/>
                <a:gd name="connsiteX16" fmla="*/ 3910 w 9394"/>
                <a:gd name="connsiteY16" fmla="*/ 9688 h 10375"/>
                <a:gd name="connsiteX17" fmla="*/ 1271 w 9394"/>
                <a:gd name="connsiteY17" fmla="*/ 10375 h 10375"/>
                <a:gd name="connsiteX18" fmla="*/ 39 w 9394"/>
                <a:gd name="connsiteY18" fmla="*/ 6875 h 10375"/>
                <a:gd name="connsiteX0" fmla="*/ 42 w 10000"/>
                <a:gd name="connsiteY0" fmla="*/ 6627 h 10000"/>
                <a:gd name="connsiteX1" fmla="*/ 4027 w 10000"/>
                <a:gd name="connsiteY1" fmla="*/ 5362 h 10000"/>
                <a:gd name="connsiteX2" fmla="*/ 5193 w 10000"/>
                <a:gd name="connsiteY2" fmla="*/ 3314 h 10000"/>
                <a:gd name="connsiteX3" fmla="*/ 4506 w 10000"/>
                <a:gd name="connsiteY3" fmla="*/ 2410 h 10000"/>
                <a:gd name="connsiteX4" fmla="*/ 5193 w 10000"/>
                <a:gd name="connsiteY4" fmla="*/ 302 h 10000"/>
                <a:gd name="connsiteX5" fmla="*/ 6222 w 10000"/>
                <a:gd name="connsiteY5" fmla="*/ 0 h 10000"/>
                <a:gd name="connsiteX6" fmla="*/ 7253 w 10000"/>
                <a:gd name="connsiteY6" fmla="*/ 904 h 10000"/>
                <a:gd name="connsiteX7" fmla="*/ 8970 w 10000"/>
                <a:gd name="connsiteY7" fmla="*/ 1507 h 10000"/>
                <a:gd name="connsiteX8" fmla="*/ 10000 w 10000"/>
                <a:gd name="connsiteY8" fmla="*/ 2711 h 10000"/>
                <a:gd name="connsiteX9" fmla="*/ 10000 w 10000"/>
                <a:gd name="connsiteY9" fmla="*/ 3314 h 10000"/>
                <a:gd name="connsiteX10" fmla="*/ 8627 w 10000"/>
                <a:gd name="connsiteY10" fmla="*/ 5422 h 10000"/>
                <a:gd name="connsiteX11" fmla="*/ 7939 w 10000"/>
                <a:gd name="connsiteY11" fmla="*/ 5422 h 10000"/>
                <a:gd name="connsiteX12" fmla="*/ 7939 w 10000"/>
                <a:gd name="connsiteY12" fmla="*/ 6928 h 10000"/>
                <a:gd name="connsiteX13" fmla="*/ 6566 w 10000"/>
                <a:gd name="connsiteY13" fmla="*/ 7229 h 10000"/>
                <a:gd name="connsiteX14" fmla="*/ 5879 w 10000"/>
                <a:gd name="connsiteY14" fmla="*/ 8133 h 10000"/>
                <a:gd name="connsiteX15" fmla="*/ 4506 w 10000"/>
                <a:gd name="connsiteY15" fmla="*/ 8434 h 10000"/>
                <a:gd name="connsiteX16" fmla="*/ 4162 w 10000"/>
                <a:gd name="connsiteY16" fmla="*/ 9338 h 10000"/>
                <a:gd name="connsiteX17" fmla="*/ 1353 w 10000"/>
                <a:gd name="connsiteY17" fmla="*/ 10000 h 10000"/>
                <a:gd name="connsiteX18" fmla="*/ 42 w 10000"/>
                <a:gd name="connsiteY18" fmla="*/ 6627 h 10000"/>
                <a:gd name="connsiteX0" fmla="*/ 42 w 10000"/>
                <a:gd name="connsiteY0" fmla="*/ 6627 h 10000"/>
                <a:gd name="connsiteX1" fmla="*/ 4027 w 10000"/>
                <a:gd name="connsiteY1" fmla="*/ 5362 h 10000"/>
                <a:gd name="connsiteX2" fmla="*/ 4787 w 10000"/>
                <a:gd name="connsiteY2" fmla="*/ 3194 h 10000"/>
                <a:gd name="connsiteX3" fmla="*/ 4506 w 10000"/>
                <a:gd name="connsiteY3" fmla="*/ 2410 h 10000"/>
                <a:gd name="connsiteX4" fmla="*/ 5193 w 10000"/>
                <a:gd name="connsiteY4" fmla="*/ 302 h 10000"/>
                <a:gd name="connsiteX5" fmla="*/ 6222 w 10000"/>
                <a:gd name="connsiteY5" fmla="*/ 0 h 10000"/>
                <a:gd name="connsiteX6" fmla="*/ 7253 w 10000"/>
                <a:gd name="connsiteY6" fmla="*/ 904 h 10000"/>
                <a:gd name="connsiteX7" fmla="*/ 8970 w 10000"/>
                <a:gd name="connsiteY7" fmla="*/ 1507 h 10000"/>
                <a:gd name="connsiteX8" fmla="*/ 10000 w 10000"/>
                <a:gd name="connsiteY8" fmla="*/ 2711 h 10000"/>
                <a:gd name="connsiteX9" fmla="*/ 10000 w 10000"/>
                <a:gd name="connsiteY9" fmla="*/ 3314 h 10000"/>
                <a:gd name="connsiteX10" fmla="*/ 8627 w 10000"/>
                <a:gd name="connsiteY10" fmla="*/ 5422 h 10000"/>
                <a:gd name="connsiteX11" fmla="*/ 7939 w 10000"/>
                <a:gd name="connsiteY11" fmla="*/ 5422 h 10000"/>
                <a:gd name="connsiteX12" fmla="*/ 7939 w 10000"/>
                <a:gd name="connsiteY12" fmla="*/ 6928 h 10000"/>
                <a:gd name="connsiteX13" fmla="*/ 6566 w 10000"/>
                <a:gd name="connsiteY13" fmla="*/ 7229 h 10000"/>
                <a:gd name="connsiteX14" fmla="*/ 5879 w 10000"/>
                <a:gd name="connsiteY14" fmla="*/ 8133 h 10000"/>
                <a:gd name="connsiteX15" fmla="*/ 4506 w 10000"/>
                <a:gd name="connsiteY15" fmla="*/ 8434 h 10000"/>
                <a:gd name="connsiteX16" fmla="*/ 4162 w 10000"/>
                <a:gd name="connsiteY16" fmla="*/ 9338 h 10000"/>
                <a:gd name="connsiteX17" fmla="*/ 1353 w 10000"/>
                <a:gd name="connsiteY17" fmla="*/ 10000 h 10000"/>
                <a:gd name="connsiteX18" fmla="*/ 42 w 10000"/>
                <a:gd name="connsiteY18" fmla="*/ 662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000" h="10000">
                  <a:moveTo>
                    <a:pt x="42" y="6627"/>
                  </a:moveTo>
                  <a:cubicBezTo>
                    <a:pt x="1370" y="6205"/>
                    <a:pt x="3236" y="5934"/>
                    <a:pt x="4027" y="5362"/>
                  </a:cubicBezTo>
                  <a:cubicBezTo>
                    <a:pt x="4818" y="4790"/>
                    <a:pt x="4707" y="3686"/>
                    <a:pt x="4787" y="3194"/>
                  </a:cubicBezTo>
                  <a:cubicBezTo>
                    <a:pt x="4867" y="2702"/>
                    <a:pt x="4438" y="2892"/>
                    <a:pt x="4506" y="2410"/>
                  </a:cubicBezTo>
                  <a:cubicBezTo>
                    <a:pt x="4574" y="1928"/>
                    <a:pt x="5193" y="602"/>
                    <a:pt x="5193" y="302"/>
                  </a:cubicBezTo>
                  <a:lnTo>
                    <a:pt x="6222" y="0"/>
                  </a:lnTo>
                  <a:cubicBezTo>
                    <a:pt x="6566" y="602"/>
                    <a:pt x="6910" y="904"/>
                    <a:pt x="7253" y="904"/>
                  </a:cubicBezTo>
                  <a:cubicBezTo>
                    <a:pt x="7596" y="1205"/>
                    <a:pt x="8627" y="904"/>
                    <a:pt x="8970" y="1507"/>
                  </a:cubicBezTo>
                  <a:cubicBezTo>
                    <a:pt x="8970" y="1807"/>
                    <a:pt x="10000" y="2711"/>
                    <a:pt x="10000" y="2711"/>
                  </a:cubicBezTo>
                  <a:cubicBezTo>
                    <a:pt x="10687" y="2711"/>
                    <a:pt x="10687" y="3012"/>
                    <a:pt x="10000" y="3314"/>
                  </a:cubicBezTo>
                  <a:cubicBezTo>
                    <a:pt x="10000" y="3614"/>
                    <a:pt x="8970" y="5121"/>
                    <a:pt x="8627" y="5422"/>
                  </a:cubicBezTo>
                  <a:cubicBezTo>
                    <a:pt x="8627" y="5422"/>
                    <a:pt x="7939" y="5121"/>
                    <a:pt x="7939" y="5422"/>
                  </a:cubicBezTo>
                  <a:lnTo>
                    <a:pt x="7939" y="6928"/>
                  </a:lnTo>
                  <a:cubicBezTo>
                    <a:pt x="7596" y="6928"/>
                    <a:pt x="6910" y="6928"/>
                    <a:pt x="6566" y="7229"/>
                  </a:cubicBezTo>
                  <a:cubicBezTo>
                    <a:pt x="6222" y="7831"/>
                    <a:pt x="6222" y="8133"/>
                    <a:pt x="5879" y="8133"/>
                  </a:cubicBezTo>
                  <a:cubicBezTo>
                    <a:pt x="5535" y="8434"/>
                    <a:pt x="4849" y="8133"/>
                    <a:pt x="4506" y="8434"/>
                  </a:cubicBezTo>
                  <a:cubicBezTo>
                    <a:pt x="4162" y="8735"/>
                    <a:pt x="4688" y="9077"/>
                    <a:pt x="4162" y="9338"/>
                  </a:cubicBezTo>
                  <a:cubicBezTo>
                    <a:pt x="3636" y="9599"/>
                    <a:pt x="2040" y="9699"/>
                    <a:pt x="1353" y="10000"/>
                  </a:cubicBezTo>
                  <a:cubicBezTo>
                    <a:pt x="-364" y="6988"/>
                    <a:pt x="42" y="6627"/>
                    <a:pt x="42" y="662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" name="Freeform 645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128770" y="3805076"/>
              <a:ext cx="146868" cy="150780"/>
            </a:xfrm>
            <a:custGeom>
              <a:avLst/>
              <a:gdLst>
                <a:gd name="T0" fmla="*/ 2 w 24"/>
                <a:gd name="T1" fmla="*/ 10 h 24"/>
                <a:gd name="T2" fmla="*/ 3 w 24"/>
                <a:gd name="T3" fmla="*/ 6 h 24"/>
                <a:gd name="T4" fmla="*/ 2 w 24"/>
                <a:gd name="T5" fmla="*/ 1 h 24"/>
                <a:gd name="T6" fmla="*/ 7 w 24"/>
                <a:gd name="T7" fmla="*/ 1 h 24"/>
                <a:gd name="T8" fmla="*/ 12 w 24"/>
                <a:gd name="T9" fmla="*/ 0 h 24"/>
                <a:gd name="T10" fmla="*/ 16 w 24"/>
                <a:gd name="T11" fmla="*/ 4 h 24"/>
                <a:gd name="T12" fmla="*/ 21 w 24"/>
                <a:gd name="T13" fmla="*/ 3 h 24"/>
                <a:gd name="T14" fmla="*/ 22 w 24"/>
                <a:gd name="T15" fmla="*/ 4 h 24"/>
                <a:gd name="T16" fmla="*/ 24 w 24"/>
                <a:gd name="T17" fmla="*/ 8 h 24"/>
                <a:gd name="T18" fmla="*/ 21 w 24"/>
                <a:gd name="T19" fmla="*/ 15 h 24"/>
                <a:gd name="T20" fmla="*/ 23 w 24"/>
                <a:gd name="T21" fmla="*/ 18 h 24"/>
                <a:gd name="T22" fmla="*/ 22 w 24"/>
                <a:gd name="T23" fmla="*/ 22 h 24"/>
                <a:gd name="T24" fmla="*/ 17 w 24"/>
                <a:gd name="T25" fmla="*/ 21 h 24"/>
                <a:gd name="T26" fmla="*/ 4 w 24"/>
                <a:gd name="T27" fmla="*/ 24 h 24"/>
                <a:gd name="T28" fmla="*/ 3 w 24"/>
                <a:gd name="T29" fmla="*/ 24 h 24"/>
                <a:gd name="T30" fmla="*/ 5 w 24"/>
                <a:gd name="T31" fmla="*/ 19 h 24"/>
                <a:gd name="T32" fmla="*/ 1 w 24"/>
                <a:gd name="T33" fmla="*/ 16 h 24"/>
                <a:gd name="T34" fmla="*/ 0 w 24"/>
                <a:gd name="T35" fmla="*/ 12 h 24"/>
                <a:gd name="T36" fmla="*/ 2 w 24"/>
                <a:gd name="T37" fmla="*/ 10 h 24"/>
                <a:gd name="connsiteX0" fmla="*/ 833 w 10000"/>
                <a:gd name="connsiteY0" fmla="*/ 4173 h 10006"/>
                <a:gd name="connsiteX1" fmla="*/ 1250 w 10000"/>
                <a:gd name="connsiteY1" fmla="*/ 2506 h 10006"/>
                <a:gd name="connsiteX2" fmla="*/ 833 w 10000"/>
                <a:gd name="connsiteY2" fmla="*/ 423 h 10006"/>
                <a:gd name="connsiteX3" fmla="*/ 2917 w 10000"/>
                <a:gd name="connsiteY3" fmla="*/ 423 h 10006"/>
                <a:gd name="connsiteX4" fmla="*/ 5000 w 10000"/>
                <a:gd name="connsiteY4" fmla="*/ 6 h 10006"/>
                <a:gd name="connsiteX5" fmla="*/ 6991 w 10000"/>
                <a:gd name="connsiteY5" fmla="*/ 826 h 10006"/>
                <a:gd name="connsiteX6" fmla="*/ 8750 w 10000"/>
                <a:gd name="connsiteY6" fmla="*/ 1256 h 10006"/>
                <a:gd name="connsiteX7" fmla="*/ 9167 w 10000"/>
                <a:gd name="connsiteY7" fmla="*/ 1673 h 10006"/>
                <a:gd name="connsiteX8" fmla="*/ 10000 w 10000"/>
                <a:gd name="connsiteY8" fmla="*/ 3339 h 10006"/>
                <a:gd name="connsiteX9" fmla="*/ 8750 w 10000"/>
                <a:gd name="connsiteY9" fmla="*/ 6256 h 10006"/>
                <a:gd name="connsiteX10" fmla="*/ 9583 w 10000"/>
                <a:gd name="connsiteY10" fmla="*/ 7506 h 10006"/>
                <a:gd name="connsiteX11" fmla="*/ 9167 w 10000"/>
                <a:gd name="connsiteY11" fmla="*/ 9173 h 10006"/>
                <a:gd name="connsiteX12" fmla="*/ 7083 w 10000"/>
                <a:gd name="connsiteY12" fmla="*/ 8756 h 10006"/>
                <a:gd name="connsiteX13" fmla="*/ 1667 w 10000"/>
                <a:gd name="connsiteY13" fmla="*/ 10006 h 10006"/>
                <a:gd name="connsiteX14" fmla="*/ 1250 w 10000"/>
                <a:gd name="connsiteY14" fmla="*/ 10006 h 10006"/>
                <a:gd name="connsiteX15" fmla="*/ 2083 w 10000"/>
                <a:gd name="connsiteY15" fmla="*/ 7923 h 10006"/>
                <a:gd name="connsiteX16" fmla="*/ 417 w 10000"/>
                <a:gd name="connsiteY16" fmla="*/ 6673 h 10006"/>
                <a:gd name="connsiteX17" fmla="*/ 0 w 10000"/>
                <a:gd name="connsiteY17" fmla="*/ 5006 h 10006"/>
                <a:gd name="connsiteX18" fmla="*/ 833 w 10000"/>
                <a:gd name="connsiteY18" fmla="*/ 4173 h 10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000" h="10006">
                  <a:moveTo>
                    <a:pt x="833" y="4173"/>
                  </a:moveTo>
                  <a:cubicBezTo>
                    <a:pt x="833" y="4173"/>
                    <a:pt x="1250" y="2923"/>
                    <a:pt x="1250" y="2506"/>
                  </a:cubicBezTo>
                  <a:cubicBezTo>
                    <a:pt x="833" y="2506"/>
                    <a:pt x="833" y="839"/>
                    <a:pt x="833" y="423"/>
                  </a:cubicBezTo>
                  <a:lnTo>
                    <a:pt x="2917" y="423"/>
                  </a:lnTo>
                  <a:cubicBezTo>
                    <a:pt x="2917" y="423"/>
                    <a:pt x="4321" y="-61"/>
                    <a:pt x="5000" y="6"/>
                  </a:cubicBezTo>
                  <a:cubicBezTo>
                    <a:pt x="5679" y="73"/>
                    <a:pt x="6574" y="826"/>
                    <a:pt x="6991" y="826"/>
                  </a:cubicBezTo>
                  <a:cubicBezTo>
                    <a:pt x="7824" y="826"/>
                    <a:pt x="8387" y="1115"/>
                    <a:pt x="8750" y="1256"/>
                  </a:cubicBezTo>
                  <a:cubicBezTo>
                    <a:pt x="9113" y="1397"/>
                    <a:pt x="9167" y="1256"/>
                    <a:pt x="9167" y="1673"/>
                  </a:cubicBezTo>
                  <a:cubicBezTo>
                    <a:pt x="9583" y="2089"/>
                    <a:pt x="10000" y="2923"/>
                    <a:pt x="10000" y="3339"/>
                  </a:cubicBezTo>
                  <a:cubicBezTo>
                    <a:pt x="9583" y="3756"/>
                    <a:pt x="8750" y="5423"/>
                    <a:pt x="8750" y="6256"/>
                  </a:cubicBezTo>
                  <a:cubicBezTo>
                    <a:pt x="9167" y="6673"/>
                    <a:pt x="9583" y="7089"/>
                    <a:pt x="9583" y="7506"/>
                  </a:cubicBezTo>
                  <a:cubicBezTo>
                    <a:pt x="9583" y="7923"/>
                    <a:pt x="9167" y="8756"/>
                    <a:pt x="9167" y="9173"/>
                  </a:cubicBezTo>
                  <a:cubicBezTo>
                    <a:pt x="8333" y="8756"/>
                    <a:pt x="7500" y="8756"/>
                    <a:pt x="7083" y="8756"/>
                  </a:cubicBezTo>
                  <a:cubicBezTo>
                    <a:pt x="5833" y="8756"/>
                    <a:pt x="2500" y="10006"/>
                    <a:pt x="1667" y="10006"/>
                  </a:cubicBezTo>
                  <a:lnTo>
                    <a:pt x="1250" y="10006"/>
                  </a:lnTo>
                  <a:cubicBezTo>
                    <a:pt x="1250" y="10006"/>
                    <a:pt x="1667" y="8339"/>
                    <a:pt x="2083" y="7923"/>
                  </a:cubicBezTo>
                  <a:cubicBezTo>
                    <a:pt x="2083" y="7506"/>
                    <a:pt x="833" y="6673"/>
                    <a:pt x="417" y="6673"/>
                  </a:cubicBezTo>
                  <a:cubicBezTo>
                    <a:pt x="0" y="6256"/>
                    <a:pt x="417" y="5423"/>
                    <a:pt x="0" y="5006"/>
                  </a:cubicBezTo>
                  <a:cubicBezTo>
                    <a:pt x="0" y="4589"/>
                    <a:pt x="417" y="4173"/>
                    <a:pt x="833" y="417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" name="Freeform 6451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110272" y="2947362"/>
              <a:ext cx="86063" cy="144317"/>
            </a:xfrm>
            <a:custGeom>
              <a:avLst/>
              <a:gdLst>
                <a:gd name="T0" fmla="*/ 1 w 13"/>
                <a:gd name="T1" fmla="*/ 14 h 23"/>
                <a:gd name="T2" fmla="*/ 4 w 13"/>
                <a:gd name="T3" fmla="*/ 3 h 23"/>
                <a:gd name="T4" fmla="*/ 3 w 13"/>
                <a:gd name="T5" fmla="*/ 0 h 23"/>
                <a:gd name="T6" fmla="*/ 10 w 13"/>
                <a:gd name="T7" fmla="*/ 0 h 23"/>
                <a:gd name="T8" fmla="*/ 13 w 13"/>
                <a:gd name="T9" fmla="*/ 2 h 23"/>
                <a:gd name="T10" fmla="*/ 10 w 13"/>
                <a:gd name="T11" fmla="*/ 9 h 23"/>
                <a:gd name="T12" fmla="*/ 9 w 13"/>
                <a:gd name="T13" fmla="*/ 12 h 23"/>
                <a:gd name="T14" fmla="*/ 10 w 13"/>
                <a:gd name="T15" fmla="*/ 16 h 23"/>
                <a:gd name="T16" fmla="*/ 9 w 13"/>
                <a:gd name="T17" fmla="*/ 19 h 23"/>
                <a:gd name="T18" fmla="*/ 8 w 13"/>
                <a:gd name="T19" fmla="*/ 22 h 23"/>
                <a:gd name="T20" fmla="*/ 8 w 13"/>
                <a:gd name="T21" fmla="*/ 22 h 23"/>
                <a:gd name="T22" fmla="*/ 7 w 13"/>
                <a:gd name="T23" fmla="*/ 22 h 23"/>
                <a:gd name="T24" fmla="*/ 3 w 13"/>
                <a:gd name="T25" fmla="*/ 22 h 23"/>
                <a:gd name="T26" fmla="*/ 3 w 13"/>
                <a:gd name="T27" fmla="*/ 20 h 23"/>
                <a:gd name="T28" fmla="*/ 3 w 13"/>
                <a:gd name="T29" fmla="*/ 16 h 23"/>
                <a:gd name="T30" fmla="*/ 2 w 13"/>
                <a:gd name="T31" fmla="*/ 15 h 23"/>
                <a:gd name="T32" fmla="*/ 1 w 13"/>
                <a:gd name="T33" fmla="*/ 14 h 23"/>
                <a:gd name="connsiteX0" fmla="*/ 319 w 11455"/>
                <a:gd name="connsiteY0" fmla="*/ 6112 h 9783"/>
                <a:gd name="connsiteX1" fmla="*/ 2627 w 11455"/>
                <a:gd name="connsiteY1" fmla="*/ 1329 h 9783"/>
                <a:gd name="connsiteX2" fmla="*/ 1858 w 11455"/>
                <a:gd name="connsiteY2" fmla="*/ 25 h 9783"/>
                <a:gd name="connsiteX3" fmla="*/ 7242 w 11455"/>
                <a:gd name="connsiteY3" fmla="*/ 25 h 9783"/>
                <a:gd name="connsiteX4" fmla="*/ 11455 w 11455"/>
                <a:gd name="connsiteY4" fmla="*/ 375 h 9783"/>
                <a:gd name="connsiteX5" fmla="*/ 7242 w 11455"/>
                <a:gd name="connsiteY5" fmla="*/ 3938 h 9783"/>
                <a:gd name="connsiteX6" fmla="*/ 6473 w 11455"/>
                <a:gd name="connsiteY6" fmla="*/ 5242 h 9783"/>
                <a:gd name="connsiteX7" fmla="*/ 7242 w 11455"/>
                <a:gd name="connsiteY7" fmla="*/ 6982 h 9783"/>
                <a:gd name="connsiteX8" fmla="*/ 6473 w 11455"/>
                <a:gd name="connsiteY8" fmla="*/ 8286 h 9783"/>
                <a:gd name="connsiteX9" fmla="*/ 5704 w 11455"/>
                <a:gd name="connsiteY9" fmla="*/ 9590 h 9783"/>
                <a:gd name="connsiteX10" fmla="*/ 5704 w 11455"/>
                <a:gd name="connsiteY10" fmla="*/ 9590 h 9783"/>
                <a:gd name="connsiteX11" fmla="*/ 4935 w 11455"/>
                <a:gd name="connsiteY11" fmla="*/ 9590 h 9783"/>
                <a:gd name="connsiteX12" fmla="*/ 1858 w 11455"/>
                <a:gd name="connsiteY12" fmla="*/ 9590 h 9783"/>
                <a:gd name="connsiteX13" fmla="*/ 1858 w 11455"/>
                <a:gd name="connsiteY13" fmla="*/ 8721 h 9783"/>
                <a:gd name="connsiteX14" fmla="*/ 1858 w 11455"/>
                <a:gd name="connsiteY14" fmla="*/ 6982 h 9783"/>
                <a:gd name="connsiteX15" fmla="*/ 1088 w 11455"/>
                <a:gd name="connsiteY15" fmla="*/ 6547 h 9783"/>
                <a:gd name="connsiteX16" fmla="*/ 319 w 11455"/>
                <a:gd name="connsiteY16" fmla="*/ 6112 h 9783"/>
                <a:gd name="connsiteX0" fmla="*/ 278 w 10000"/>
                <a:gd name="connsiteY0" fmla="*/ 6248 h 10000"/>
                <a:gd name="connsiteX1" fmla="*/ 2293 w 10000"/>
                <a:gd name="connsiteY1" fmla="*/ 1358 h 10000"/>
                <a:gd name="connsiteX2" fmla="*/ 1622 w 10000"/>
                <a:gd name="connsiteY2" fmla="*/ 26 h 10000"/>
                <a:gd name="connsiteX3" fmla="*/ 6322 w 10000"/>
                <a:gd name="connsiteY3" fmla="*/ 26 h 10000"/>
                <a:gd name="connsiteX4" fmla="*/ 10000 w 10000"/>
                <a:gd name="connsiteY4" fmla="*/ 383 h 10000"/>
                <a:gd name="connsiteX5" fmla="*/ 6322 w 10000"/>
                <a:gd name="connsiteY5" fmla="*/ 4025 h 10000"/>
                <a:gd name="connsiteX6" fmla="*/ 7037 w 10000"/>
                <a:gd name="connsiteY6" fmla="*/ 5358 h 10000"/>
                <a:gd name="connsiteX7" fmla="*/ 6322 w 10000"/>
                <a:gd name="connsiteY7" fmla="*/ 7137 h 10000"/>
                <a:gd name="connsiteX8" fmla="*/ 5651 w 10000"/>
                <a:gd name="connsiteY8" fmla="*/ 8470 h 10000"/>
                <a:gd name="connsiteX9" fmla="*/ 4979 w 10000"/>
                <a:gd name="connsiteY9" fmla="*/ 9803 h 10000"/>
                <a:gd name="connsiteX10" fmla="*/ 4979 w 10000"/>
                <a:gd name="connsiteY10" fmla="*/ 9803 h 10000"/>
                <a:gd name="connsiteX11" fmla="*/ 4308 w 10000"/>
                <a:gd name="connsiteY11" fmla="*/ 9803 h 10000"/>
                <a:gd name="connsiteX12" fmla="*/ 1622 w 10000"/>
                <a:gd name="connsiteY12" fmla="*/ 9803 h 10000"/>
                <a:gd name="connsiteX13" fmla="*/ 1622 w 10000"/>
                <a:gd name="connsiteY13" fmla="*/ 8914 h 10000"/>
                <a:gd name="connsiteX14" fmla="*/ 1622 w 10000"/>
                <a:gd name="connsiteY14" fmla="*/ 7137 h 10000"/>
                <a:gd name="connsiteX15" fmla="*/ 950 w 10000"/>
                <a:gd name="connsiteY15" fmla="*/ 6692 h 10000"/>
                <a:gd name="connsiteX16" fmla="*/ 278 w 10000"/>
                <a:gd name="connsiteY16" fmla="*/ 6248 h 10000"/>
                <a:gd name="connsiteX0" fmla="*/ 278 w 10018"/>
                <a:gd name="connsiteY0" fmla="*/ 6260 h 10012"/>
                <a:gd name="connsiteX1" fmla="*/ 2293 w 10018"/>
                <a:gd name="connsiteY1" fmla="*/ 1370 h 10012"/>
                <a:gd name="connsiteX2" fmla="*/ 1622 w 10018"/>
                <a:gd name="connsiteY2" fmla="*/ 38 h 10012"/>
                <a:gd name="connsiteX3" fmla="*/ 6322 w 10018"/>
                <a:gd name="connsiteY3" fmla="*/ 38 h 10012"/>
                <a:gd name="connsiteX4" fmla="*/ 10000 w 10018"/>
                <a:gd name="connsiteY4" fmla="*/ 395 h 10012"/>
                <a:gd name="connsiteX5" fmla="*/ 7708 w 10018"/>
                <a:gd name="connsiteY5" fmla="*/ 3860 h 10012"/>
                <a:gd name="connsiteX6" fmla="*/ 7037 w 10018"/>
                <a:gd name="connsiteY6" fmla="*/ 5370 h 10012"/>
                <a:gd name="connsiteX7" fmla="*/ 6322 w 10018"/>
                <a:gd name="connsiteY7" fmla="*/ 7149 h 10012"/>
                <a:gd name="connsiteX8" fmla="*/ 5651 w 10018"/>
                <a:gd name="connsiteY8" fmla="*/ 8482 h 10012"/>
                <a:gd name="connsiteX9" fmla="*/ 4979 w 10018"/>
                <a:gd name="connsiteY9" fmla="*/ 9815 h 10012"/>
                <a:gd name="connsiteX10" fmla="*/ 4979 w 10018"/>
                <a:gd name="connsiteY10" fmla="*/ 9815 h 10012"/>
                <a:gd name="connsiteX11" fmla="*/ 4308 w 10018"/>
                <a:gd name="connsiteY11" fmla="*/ 9815 h 10012"/>
                <a:gd name="connsiteX12" fmla="*/ 1622 w 10018"/>
                <a:gd name="connsiteY12" fmla="*/ 9815 h 10012"/>
                <a:gd name="connsiteX13" fmla="*/ 1622 w 10018"/>
                <a:gd name="connsiteY13" fmla="*/ 8926 h 10012"/>
                <a:gd name="connsiteX14" fmla="*/ 1622 w 10018"/>
                <a:gd name="connsiteY14" fmla="*/ 7149 h 10012"/>
                <a:gd name="connsiteX15" fmla="*/ 950 w 10018"/>
                <a:gd name="connsiteY15" fmla="*/ 6704 h 10012"/>
                <a:gd name="connsiteX16" fmla="*/ 278 w 10018"/>
                <a:gd name="connsiteY16" fmla="*/ 6260 h 10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18" h="10012">
                  <a:moveTo>
                    <a:pt x="278" y="6260"/>
                  </a:moveTo>
                  <a:cubicBezTo>
                    <a:pt x="278" y="5815"/>
                    <a:pt x="2293" y="2704"/>
                    <a:pt x="2293" y="1370"/>
                  </a:cubicBezTo>
                  <a:cubicBezTo>
                    <a:pt x="2293" y="927"/>
                    <a:pt x="2293" y="482"/>
                    <a:pt x="1622" y="38"/>
                  </a:cubicBezTo>
                  <a:cubicBezTo>
                    <a:pt x="1622" y="38"/>
                    <a:pt x="4926" y="-22"/>
                    <a:pt x="6322" y="38"/>
                  </a:cubicBezTo>
                  <a:cubicBezTo>
                    <a:pt x="7718" y="97"/>
                    <a:pt x="9769" y="-242"/>
                    <a:pt x="10000" y="395"/>
                  </a:cubicBezTo>
                  <a:cubicBezTo>
                    <a:pt x="10231" y="1032"/>
                    <a:pt x="8202" y="3031"/>
                    <a:pt x="7708" y="3860"/>
                  </a:cubicBezTo>
                  <a:cubicBezTo>
                    <a:pt x="7214" y="4689"/>
                    <a:pt x="7268" y="4822"/>
                    <a:pt x="7037" y="5370"/>
                  </a:cubicBezTo>
                  <a:cubicBezTo>
                    <a:pt x="6806" y="5918"/>
                    <a:pt x="6553" y="6630"/>
                    <a:pt x="6322" y="7149"/>
                  </a:cubicBezTo>
                  <a:cubicBezTo>
                    <a:pt x="6091" y="7668"/>
                    <a:pt x="6322" y="8037"/>
                    <a:pt x="5651" y="8482"/>
                  </a:cubicBezTo>
                  <a:cubicBezTo>
                    <a:pt x="4308" y="8926"/>
                    <a:pt x="4979" y="9370"/>
                    <a:pt x="4979" y="9815"/>
                  </a:cubicBezTo>
                  <a:lnTo>
                    <a:pt x="4979" y="9815"/>
                  </a:lnTo>
                  <a:lnTo>
                    <a:pt x="4308" y="9815"/>
                  </a:lnTo>
                  <a:cubicBezTo>
                    <a:pt x="3636" y="10259"/>
                    <a:pt x="2293" y="9815"/>
                    <a:pt x="1622" y="9815"/>
                  </a:cubicBezTo>
                  <a:cubicBezTo>
                    <a:pt x="950" y="9815"/>
                    <a:pt x="1622" y="9370"/>
                    <a:pt x="1622" y="8926"/>
                  </a:cubicBezTo>
                  <a:cubicBezTo>
                    <a:pt x="2293" y="8037"/>
                    <a:pt x="2293" y="7592"/>
                    <a:pt x="1622" y="7149"/>
                  </a:cubicBezTo>
                  <a:cubicBezTo>
                    <a:pt x="1622" y="6704"/>
                    <a:pt x="1622" y="7149"/>
                    <a:pt x="950" y="6704"/>
                  </a:cubicBezTo>
                  <a:cubicBezTo>
                    <a:pt x="278" y="6704"/>
                    <a:pt x="-393" y="6704"/>
                    <a:pt x="278" y="626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0" name="Freeform 6433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469797" y="2529320"/>
              <a:ext cx="215196" cy="247802"/>
            </a:xfrm>
            <a:custGeom>
              <a:avLst/>
              <a:gdLst>
                <a:gd name="T0" fmla="*/ 5 w 36"/>
                <a:gd name="T1" fmla="*/ 7 h 38"/>
                <a:gd name="T2" fmla="*/ 8 w 36"/>
                <a:gd name="T3" fmla="*/ 6 h 38"/>
                <a:gd name="T4" fmla="*/ 10 w 36"/>
                <a:gd name="T5" fmla="*/ 8 h 38"/>
                <a:gd name="T6" fmla="*/ 13 w 36"/>
                <a:gd name="T7" fmla="*/ 6 h 38"/>
                <a:gd name="T8" fmla="*/ 11 w 36"/>
                <a:gd name="T9" fmla="*/ 3 h 38"/>
                <a:gd name="T10" fmla="*/ 10 w 36"/>
                <a:gd name="T11" fmla="*/ 0 h 38"/>
                <a:gd name="T12" fmla="*/ 15 w 36"/>
                <a:gd name="T13" fmla="*/ 0 h 38"/>
                <a:gd name="T14" fmla="*/ 17 w 36"/>
                <a:gd name="T15" fmla="*/ 1 h 38"/>
                <a:gd name="T16" fmla="*/ 20 w 36"/>
                <a:gd name="T17" fmla="*/ 3 h 38"/>
                <a:gd name="T18" fmla="*/ 21 w 36"/>
                <a:gd name="T19" fmla="*/ 3 h 38"/>
                <a:gd name="T20" fmla="*/ 21 w 36"/>
                <a:gd name="T21" fmla="*/ 5 h 38"/>
                <a:gd name="T22" fmla="*/ 24 w 36"/>
                <a:gd name="T23" fmla="*/ 4 h 38"/>
                <a:gd name="T24" fmla="*/ 28 w 36"/>
                <a:gd name="T25" fmla="*/ 3 h 38"/>
                <a:gd name="T26" fmla="*/ 29 w 36"/>
                <a:gd name="T27" fmla="*/ 2 h 38"/>
                <a:gd name="T28" fmla="*/ 30 w 36"/>
                <a:gd name="T29" fmla="*/ 5 h 38"/>
                <a:gd name="T30" fmla="*/ 33 w 36"/>
                <a:gd name="T31" fmla="*/ 5 h 38"/>
                <a:gd name="T32" fmla="*/ 33 w 36"/>
                <a:gd name="T33" fmla="*/ 5 h 38"/>
                <a:gd name="T34" fmla="*/ 33 w 36"/>
                <a:gd name="T35" fmla="*/ 8 h 38"/>
                <a:gd name="T36" fmla="*/ 32 w 36"/>
                <a:gd name="T37" fmla="*/ 10 h 38"/>
                <a:gd name="T38" fmla="*/ 34 w 36"/>
                <a:gd name="T39" fmla="*/ 12 h 38"/>
                <a:gd name="T40" fmla="*/ 34 w 36"/>
                <a:gd name="T41" fmla="*/ 15 h 38"/>
                <a:gd name="T42" fmla="*/ 36 w 36"/>
                <a:gd name="T43" fmla="*/ 19 h 38"/>
                <a:gd name="T44" fmla="*/ 36 w 36"/>
                <a:gd name="T45" fmla="*/ 20 h 38"/>
                <a:gd name="T46" fmla="*/ 34 w 36"/>
                <a:gd name="T47" fmla="*/ 21 h 38"/>
                <a:gd name="T48" fmla="*/ 24 w 36"/>
                <a:gd name="T49" fmla="*/ 24 h 38"/>
                <a:gd name="T50" fmla="*/ 31 w 36"/>
                <a:gd name="T51" fmla="*/ 32 h 38"/>
                <a:gd name="T52" fmla="*/ 28 w 36"/>
                <a:gd name="T53" fmla="*/ 34 h 38"/>
                <a:gd name="T54" fmla="*/ 27 w 36"/>
                <a:gd name="T55" fmla="*/ 36 h 38"/>
                <a:gd name="T56" fmla="*/ 22 w 36"/>
                <a:gd name="T57" fmla="*/ 37 h 38"/>
                <a:gd name="T58" fmla="*/ 18 w 36"/>
                <a:gd name="T59" fmla="*/ 38 h 38"/>
                <a:gd name="T60" fmla="*/ 16 w 36"/>
                <a:gd name="T61" fmla="*/ 37 h 38"/>
                <a:gd name="T62" fmla="*/ 15 w 36"/>
                <a:gd name="T63" fmla="*/ 37 h 38"/>
                <a:gd name="T64" fmla="*/ 11 w 36"/>
                <a:gd name="T65" fmla="*/ 36 h 38"/>
                <a:gd name="T66" fmla="*/ 8 w 36"/>
                <a:gd name="T67" fmla="*/ 37 h 38"/>
                <a:gd name="T68" fmla="*/ 7 w 36"/>
                <a:gd name="T69" fmla="*/ 37 h 38"/>
                <a:gd name="T70" fmla="*/ 9 w 36"/>
                <a:gd name="T71" fmla="*/ 31 h 38"/>
                <a:gd name="T72" fmla="*/ 3 w 36"/>
                <a:gd name="T73" fmla="*/ 29 h 38"/>
                <a:gd name="T74" fmla="*/ 2 w 36"/>
                <a:gd name="T75" fmla="*/ 28 h 38"/>
                <a:gd name="T76" fmla="*/ 2 w 36"/>
                <a:gd name="T77" fmla="*/ 27 h 38"/>
                <a:gd name="T78" fmla="*/ 2 w 36"/>
                <a:gd name="T79" fmla="*/ 23 h 38"/>
                <a:gd name="T80" fmla="*/ 2 w 36"/>
                <a:gd name="T81" fmla="*/ 22 h 38"/>
                <a:gd name="T82" fmla="*/ 1 w 36"/>
                <a:gd name="T83" fmla="*/ 20 h 38"/>
                <a:gd name="T84" fmla="*/ 2 w 36"/>
                <a:gd name="T85" fmla="*/ 18 h 38"/>
                <a:gd name="T86" fmla="*/ 1 w 36"/>
                <a:gd name="T87" fmla="*/ 16 h 38"/>
                <a:gd name="T88" fmla="*/ 5 w 36"/>
                <a:gd name="T89" fmla="*/ 15 h 38"/>
                <a:gd name="T90" fmla="*/ 5 w 36"/>
                <a:gd name="T91" fmla="*/ 12 h 38"/>
                <a:gd name="T92" fmla="*/ 5 w 36"/>
                <a:gd name="T93" fmla="*/ 9 h 38"/>
                <a:gd name="T94" fmla="*/ 5 w 36"/>
                <a:gd name="T95" fmla="*/ 7 h 38"/>
                <a:gd name="connsiteX0" fmla="*/ 1227 w 9838"/>
                <a:gd name="connsiteY0" fmla="*/ 1842 h 10000"/>
                <a:gd name="connsiteX1" fmla="*/ 2060 w 9838"/>
                <a:gd name="connsiteY1" fmla="*/ 1579 h 10000"/>
                <a:gd name="connsiteX2" fmla="*/ 2616 w 9838"/>
                <a:gd name="connsiteY2" fmla="*/ 2105 h 10000"/>
                <a:gd name="connsiteX3" fmla="*/ 3449 w 9838"/>
                <a:gd name="connsiteY3" fmla="*/ 1579 h 10000"/>
                <a:gd name="connsiteX4" fmla="*/ 2894 w 9838"/>
                <a:gd name="connsiteY4" fmla="*/ 789 h 10000"/>
                <a:gd name="connsiteX5" fmla="*/ 2616 w 9838"/>
                <a:gd name="connsiteY5" fmla="*/ 0 h 10000"/>
                <a:gd name="connsiteX6" fmla="*/ 4005 w 9838"/>
                <a:gd name="connsiteY6" fmla="*/ 0 h 10000"/>
                <a:gd name="connsiteX7" fmla="*/ 4560 w 9838"/>
                <a:gd name="connsiteY7" fmla="*/ 263 h 10000"/>
                <a:gd name="connsiteX8" fmla="*/ 5394 w 9838"/>
                <a:gd name="connsiteY8" fmla="*/ 789 h 10000"/>
                <a:gd name="connsiteX9" fmla="*/ 5671 w 9838"/>
                <a:gd name="connsiteY9" fmla="*/ 789 h 10000"/>
                <a:gd name="connsiteX10" fmla="*/ 5671 w 9838"/>
                <a:gd name="connsiteY10" fmla="*/ 1316 h 10000"/>
                <a:gd name="connsiteX11" fmla="*/ 6505 w 9838"/>
                <a:gd name="connsiteY11" fmla="*/ 1053 h 10000"/>
                <a:gd name="connsiteX12" fmla="*/ 7616 w 9838"/>
                <a:gd name="connsiteY12" fmla="*/ 789 h 10000"/>
                <a:gd name="connsiteX13" fmla="*/ 7894 w 9838"/>
                <a:gd name="connsiteY13" fmla="*/ 526 h 10000"/>
                <a:gd name="connsiteX14" fmla="*/ 8171 w 9838"/>
                <a:gd name="connsiteY14" fmla="*/ 1316 h 10000"/>
                <a:gd name="connsiteX15" fmla="*/ 9005 w 9838"/>
                <a:gd name="connsiteY15" fmla="*/ 1316 h 10000"/>
                <a:gd name="connsiteX16" fmla="*/ 9005 w 9838"/>
                <a:gd name="connsiteY16" fmla="*/ 1316 h 10000"/>
                <a:gd name="connsiteX17" fmla="*/ 9005 w 9838"/>
                <a:gd name="connsiteY17" fmla="*/ 2105 h 10000"/>
                <a:gd name="connsiteX18" fmla="*/ 8727 w 9838"/>
                <a:gd name="connsiteY18" fmla="*/ 2632 h 10000"/>
                <a:gd name="connsiteX19" fmla="*/ 9282 w 9838"/>
                <a:gd name="connsiteY19" fmla="*/ 3158 h 10000"/>
                <a:gd name="connsiteX20" fmla="*/ 9282 w 9838"/>
                <a:gd name="connsiteY20" fmla="*/ 3947 h 10000"/>
                <a:gd name="connsiteX21" fmla="*/ 9838 w 9838"/>
                <a:gd name="connsiteY21" fmla="*/ 5000 h 10000"/>
                <a:gd name="connsiteX22" fmla="*/ 9838 w 9838"/>
                <a:gd name="connsiteY22" fmla="*/ 5263 h 10000"/>
                <a:gd name="connsiteX23" fmla="*/ 9282 w 9838"/>
                <a:gd name="connsiteY23" fmla="*/ 5526 h 10000"/>
                <a:gd name="connsiteX24" fmla="*/ 6505 w 9838"/>
                <a:gd name="connsiteY24" fmla="*/ 6316 h 10000"/>
                <a:gd name="connsiteX25" fmla="*/ 8449 w 9838"/>
                <a:gd name="connsiteY25" fmla="*/ 8421 h 10000"/>
                <a:gd name="connsiteX26" fmla="*/ 7616 w 9838"/>
                <a:gd name="connsiteY26" fmla="*/ 8947 h 10000"/>
                <a:gd name="connsiteX27" fmla="*/ 7338 w 9838"/>
                <a:gd name="connsiteY27" fmla="*/ 9474 h 10000"/>
                <a:gd name="connsiteX28" fmla="*/ 5949 w 9838"/>
                <a:gd name="connsiteY28" fmla="*/ 9737 h 10000"/>
                <a:gd name="connsiteX29" fmla="*/ 4838 w 9838"/>
                <a:gd name="connsiteY29" fmla="*/ 10000 h 10000"/>
                <a:gd name="connsiteX30" fmla="*/ 4282 w 9838"/>
                <a:gd name="connsiteY30" fmla="*/ 9737 h 10000"/>
                <a:gd name="connsiteX31" fmla="*/ 4005 w 9838"/>
                <a:gd name="connsiteY31" fmla="*/ 9737 h 10000"/>
                <a:gd name="connsiteX32" fmla="*/ 2894 w 9838"/>
                <a:gd name="connsiteY32" fmla="*/ 9474 h 10000"/>
                <a:gd name="connsiteX33" fmla="*/ 2060 w 9838"/>
                <a:gd name="connsiteY33" fmla="*/ 9737 h 10000"/>
                <a:gd name="connsiteX34" fmla="*/ 1782 w 9838"/>
                <a:gd name="connsiteY34" fmla="*/ 9737 h 10000"/>
                <a:gd name="connsiteX35" fmla="*/ 1903 w 9838"/>
                <a:gd name="connsiteY35" fmla="*/ 8364 h 10000"/>
                <a:gd name="connsiteX36" fmla="*/ 671 w 9838"/>
                <a:gd name="connsiteY36" fmla="*/ 7632 h 10000"/>
                <a:gd name="connsiteX37" fmla="*/ 394 w 9838"/>
                <a:gd name="connsiteY37" fmla="*/ 7368 h 10000"/>
                <a:gd name="connsiteX38" fmla="*/ 394 w 9838"/>
                <a:gd name="connsiteY38" fmla="*/ 7105 h 10000"/>
                <a:gd name="connsiteX39" fmla="*/ 394 w 9838"/>
                <a:gd name="connsiteY39" fmla="*/ 6053 h 10000"/>
                <a:gd name="connsiteX40" fmla="*/ 394 w 9838"/>
                <a:gd name="connsiteY40" fmla="*/ 5789 h 10000"/>
                <a:gd name="connsiteX41" fmla="*/ 116 w 9838"/>
                <a:gd name="connsiteY41" fmla="*/ 5263 h 10000"/>
                <a:gd name="connsiteX42" fmla="*/ 394 w 9838"/>
                <a:gd name="connsiteY42" fmla="*/ 4737 h 10000"/>
                <a:gd name="connsiteX43" fmla="*/ 116 w 9838"/>
                <a:gd name="connsiteY43" fmla="*/ 4211 h 10000"/>
                <a:gd name="connsiteX44" fmla="*/ 1227 w 9838"/>
                <a:gd name="connsiteY44" fmla="*/ 3947 h 10000"/>
                <a:gd name="connsiteX45" fmla="*/ 1227 w 9838"/>
                <a:gd name="connsiteY45" fmla="*/ 3158 h 10000"/>
                <a:gd name="connsiteX46" fmla="*/ 1227 w 9838"/>
                <a:gd name="connsiteY46" fmla="*/ 2368 h 10000"/>
                <a:gd name="connsiteX47" fmla="*/ 1227 w 9838"/>
                <a:gd name="connsiteY47" fmla="*/ 1842 h 10000"/>
                <a:gd name="connsiteX0" fmla="*/ 1247 w 10000"/>
                <a:gd name="connsiteY0" fmla="*/ 1842 h 10000"/>
                <a:gd name="connsiteX1" fmla="*/ 2094 w 10000"/>
                <a:gd name="connsiteY1" fmla="*/ 1579 h 10000"/>
                <a:gd name="connsiteX2" fmla="*/ 2659 w 10000"/>
                <a:gd name="connsiteY2" fmla="*/ 2105 h 10000"/>
                <a:gd name="connsiteX3" fmla="*/ 3506 w 10000"/>
                <a:gd name="connsiteY3" fmla="*/ 1579 h 10000"/>
                <a:gd name="connsiteX4" fmla="*/ 2942 w 10000"/>
                <a:gd name="connsiteY4" fmla="*/ 789 h 10000"/>
                <a:gd name="connsiteX5" fmla="*/ 2659 w 10000"/>
                <a:gd name="connsiteY5" fmla="*/ 0 h 10000"/>
                <a:gd name="connsiteX6" fmla="*/ 4071 w 10000"/>
                <a:gd name="connsiteY6" fmla="*/ 0 h 10000"/>
                <a:gd name="connsiteX7" fmla="*/ 4635 w 10000"/>
                <a:gd name="connsiteY7" fmla="*/ 263 h 10000"/>
                <a:gd name="connsiteX8" fmla="*/ 5483 w 10000"/>
                <a:gd name="connsiteY8" fmla="*/ 789 h 10000"/>
                <a:gd name="connsiteX9" fmla="*/ 5764 w 10000"/>
                <a:gd name="connsiteY9" fmla="*/ 789 h 10000"/>
                <a:gd name="connsiteX10" fmla="*/ 5764 w 10000"/>
                <a:gd name="connsiteY10" fmla="*/ 1316 h 10000"/>
                <a:gd name="connsiteX11" fmla="*/ 6612 w 10000"/>
                <a:gd name="connsiteY11" fmla="*/ 1053 h 10000"/>
                <a:gd name="connsiteX12" fmla="*/ 7741 w 10000"/>
                <a:gd name="connsiteY12" fmla="*/ 789 h 10000"/>
                <a:gd name="connsiteX13" fmla="*/ 8024 w 10000"/>
                <a:gd name="connsiteY13" fmla="*/ 526 h 10000"/>
                <a:gd name="connsiteX14" fmla="*/ 8306 w 10000"/>
                <a:gd name="connsiteY14" fmla="*/ 1316 h 10000"/>
                <a:gd name="connsiteX15" fmla="*/ 9153 w 10000"/>
                <a:gd name="connsiteY15" fmla="*/ 1316 h 10000"/>
                <a:gd name="connsiteX16" fmla="*/ 9153 w 10000"/>
                <a:gd name="connsiteY16" fmla="*/ 1316 h 10000"/>
                <a:gd name="connsiteX17" fmla="*/ 9153 w 10000"/>
                <a:gd name="connsiteY17" fmla="*/ 2105 h 10000"/>
                <a:gd name="connsiteX18" fmla="*/ 8871 w 10000"/>
                <a:gd name="connsiteY18" fmla="*/ 2632 h 10000"/>
                <a:gd name="connsiteX19" fmla="*/ 9435 w 10000"/>
                <a:gd name="connsiteY19" fmla="*/ 3158 h 10000"/>
                <a:gd name="connsiteX20" fmla="*/ 9435 w 10000"/>
                <a:gd name="connsiteY20" fmla="*/ 3947 h 10000"/>
                <a:gd name="connsiteX21" fmla="*/ 10000 w 10000"/>
                <a:gd name="connsiteY21" fmla="*/ 5000 h 10000"/>
                <a:gd name="connsiteX22" fmla="*/ 10000 w 10000"/>
                <a:gd name="connsiteY22" fmla="*/ 5263 h 10000"/>
                <a:gd name="connsiteX23" fmla="*/ 9435 w 10000"/>
                <a:gd name="connsiteY23" fmla="*/ 5526 h 10000"/>
                <a:gd name="connsiteX24" fmla="*/ 6612 w 10000"/>
                <a:gd name="connsiteY24" fmla="*/ 6316 h 10000"/>
                <a:gd name="connsiteX25" fmla="*/ 8588 w 10000"/>
                <a:gd name="connsiteY25" fmla="*/ 8421 h 10000"/>
                <a:gd name="connsiteX26" fmla="*/ 7741 w 10000"/>
                <a:gd name="connsiteY26" fmla="*/ 8947 h 10000"/>
                <a:gd name="connsiteX27" fmla="*/ 7459 w 10000"/>
                <a:gd name="connsiteY27" fmla="*/ 9474 h 10000"/>
                <a:gd name="connsiteX28" fmla="*/ 6047 w 10000"/>
                <a:gd name="connsiteY28" fmla="*/ 9737 h 10000"/>
                <a:gd name="connsiteX29" fmla="*/ 4918 w 10000"/>
                <a:gd name="connsiteY29" fmla="*/ 10000 h 10000"/>
                <a:gd name="connsiteX30" fmla="*/ 4353 w 10000"/>
                <a:gd name="connsiteY30" fmla="*/ 9737 h 10000"/>
                <a:gd name="connsiteX31" fmla="*/ 4071 w 10000"/>
                <a:gd name="connsiteY31" fmla="*/ 9737 h 10000"/>
                <a:gd name="connsiteX32" fmla="*/ 2942 w 10000"/>
                <a:gd name="connsiteY32" fmla="*/ 9474 h 10000"/>
                <a:gd name="connsiteX33" fmla="*/ 2094 w 10000"/>
                <a:gd name="connsiteY33" fmla="*/ 9737 h 10000"/>
                <a:gd name="connsiteX34" fmla="*/ 1811 w 10000"/>
                <a:gd name="connsiteY34" fmla="*/ 9737 h 10000"/>
                <a:gd name="connsiteX35" fmla="*/ 1934 w 10000"/>
                <a:gd name="connsiteY35" fmla="*/ 8364 h 10000"/>
                <a:gd name="connsiteX36" fmla="*/ 400 w 10000"/>
                <a:gd name="connsiteY36" fmla="*/ 7368 h 10000"/>
                <a:gd name="connsiteX37" fmla="*/ 400 w 10000"/>
                <a:gd name="connsiteY37" fmla="*/ 7105 h 10000"/>
                <a:gd name="connsiteX38" fmla="*/ 400 w 10000"/>
                <a:gd name="connsiteY38" fmla="*/ 6053 h 10000"/>
                <a:gd name="connsiteX39" fmla="*/ 400 w 10000"/>
                <a:gd name="connsiteY39" fmla="*/ 5789 h 10000"/>
                <a:gd name="connsiteX40" fmla="*/ 118 w 10000"/>
                <a:gd name="connsiteY40" fmla="*/ 5263 h 10000"/>
                <a:gd name="connsiteX41" fmla="*/ 400 w 10000"/>
                <a:gd name="connsiteY41" fmla="*/ 4737 h 10000"/>
                <a:gd name="connsiteX42" fmla="*/ 118 w 10000"/>
                <a:gd name="connsiteY42" fmla="*/ 4211 h 10000"/>
                <a:gd name="connsiteX43" fmla="*/ 1247 w 10000"/>
                <a:gd name="connsiteY43" fmla="*/ 3947 h 10000"/>
                <a:gd name="connsiteX44" fmla="*/ 1247 w 10000"/>
                <a:gd name="connsiteY44" fmla="*/ 3158 h 10000"/>
                <a:gd name="connsiteX45" fmla="*/ 1247 w 10000"/>
                <a:gd name="connsiteY45" fmla="*/ 2368 h 10000"/>
                <a:gd name="connsiteX46" fmla="*/ 1247 w 10000"/>
                <a:gd name="connsiteY46" fmla="*/ 1842 h 10000"/>
                <a:gd name="connsiteX0" fmla="*/ 1247 w 10000"/>
                <a:gd name="connsiteY0" fmla="*/ 1842 h 10000"/>
                <a:gd name="connsiteX1" fmla="*/ 2094 w 10000"/>
                <a:gd name="connsiteY1" fmla="*/ 1579 h 10000"/>
                <a:gd name="connsiteX2" fmla="*/ 2659 w 10000"/>
                <a:gd name="connsiteY2" fmla="*/ 2105 h 10000"/>
                <a:gd name="connsiteX3" fmla="*/ 3506 w 10000"/>
                <a:gd name="connsiteY3" fmla="*/ 1579 h 10000"/>
                <a:gd name="connsiteX4" fmla="*/ 2942 w 10000"/>
                <a:gd name="connsiteY4" fmla="*/ 789 h 10000"/>
                <a:gd name="connsiteX5" fmla="*/ 2659 w 10000"/>
                <a:gd name="connsiteY5" fmla="*/ 0 h 10000"/>
                <a:gd name="connsiteX6" fmla="*/ 4071 w 10000"/>
                <a:gd name="connsiteY6" fmla="*/ 0 h 10000"/>
                <a:gd name="connsiteX7" fmla="*/ 4635 w 10000"/>
                <a:gd name="connsiteY7" fmla="*/ 263 h 10000"/>
                <a:gd name="connsiteX8" fmla="*/ 5483 w 10000"/>
                <a:gd name="connsiteY8" fmla="*/ 789 h 10000"/>
                <a:gd name="connsiteX9" fmla="*/ 5764 w 10000"/>
                <a:gd name="connsiteY9" fmla="*/ 789 h 10000"/>
                <a:gd name="connsiteX10" fmla="*/ 5764 w 10000"/>
                <a:gd name="connsiteY10" fmla="*/ 1316 h 10000"/>
                <a:gd name="connsiteX11" fmla="*/ 6612 w 10000"/>
                <a:gd name="connsiteY11" fmla="*/ 1053 h 10000"/>
                <a:gd name="connsiteX12" fmla="*/ 7741 w 10000"/>
                <a:gd name="connsiteY12" fmla="*/ 789 h 10000"/>
                <a:gd name="connsiteX13" fmla="*/ 8024 w 10000"/>
                <a:gd name="connsiteY13" fmla="*/ 526 h 10000"/>
                <a:gd name="connsiteX14" fmla="*/ 8306 w 10000"/>
                <a:gd name="connsiteY14" fmla="*/ 1316 h 10000"/>
                <a:gd name="connsiteX15" fmla="*/ 9153 w 10000"/>
                <a:gd name="connsiteY15" fmla="*/ 1316 h 10000"/>
                <a:gd name="connsiteX16" fmla="*/ 9153 w 10000"/>
                <a:gd name="connsiteY16" fmla="*/ 1316 h 10000"/>
                <a:gd name="connsiteX17" fmla="*/ 9153 w 10000"/>
                <a:gd name="connsiteY17" fmla="*/ 2105 h 10000"/>
                <a:gd name="connsiteX18" fmla="*/ 8871 w 10000"/>
                <a:gd name="connsiteY18" fmla="*/ 2632 h 10000"/>
                <a:gd name="connsiteX19" fmla="*/ 9435 w 10000"/>
                <a:gd name="connsiteY19" fmla="*/ 3158 h 10000"/>
                <a:gd name="connsiteX20" fmla="*/ 9435 w 10000"/>
                <a:gd name="connsiteY20" fmla="*/ 3947 h 10000"/>
                <a:gd name="connsiteX21" fmla="*/ 10000 w 10000"/>
                <a:gd name="connsiteY21" fmla="*/ 5000 h 10000"/>
                <a:gd name="connsiteX22" fmla="*/ 10000 w 10000"/>
                <a:gd name="connsiteY22" fmla="*/ 5263 h 10000"/>
                <a:gd name="connsiteX23" fmla="*/ 9435 w 10000"/>
                <a:gd name="connsiteY23" fmla="*/ 5526 h 10000"/>
                <a:gd name="connsiteX24" fmla="*/ 6612 w 10000"/>
                <a:gd name="connsiteY24" fmla="*/ 6316 h 10000"/>
                <a:gd name="connsiteX25" fmla="*/ 8588 w 10000"/>
                <a:gd name="connsiteY25" fmla="*/ 8421 h 10000"/>
                <a:gd name="connsiteX26" fmla="*/ 7741 w 10000"/>
                <a:gd name="connsiteY26" fmla="*/ 8947 h 10000"/>
                <a:gd name="connsiteX27" fmla="*/ 7459 w 10000"/>
                <a:gd name="connsiteY27" fmla="*/ 9474 h 10000"/>
                <a:gd name="connsiteX28" fmla="*/ 6047 w 10000"/>
                <a:gd name="connsiteY28" fmla="*/ 9737 h 10000"/>
                <a:gd name="connsiteX29" fmla="*/ 4918 w 10000"/>
                <a:gd name="connsiteY29" fmla="*/ 10000 h 10000"/>
                <a:gd name="connsiteX30" fmla="*/ 4353 w 10000"/>
                <a:gd name="connsiteY30" fmla="*/ 9737 h 10000"/>
                <a:gd name="connsiteX31" fmla="*/ 4071 w 10000"/>
                <a:gd name="connsiteY31" fmla="*/ 9737 h 10000"/>
                <a:gd name="connsiteX32" fmla="*/ 2942 w 10000"/>
                <a:gd name="connsiteY32" fmla="*/ 9474 h 10000"/>
                <a:gd name="connsiteX33" fmla="*/ 2094 w 10000"/>
                <a:gd name="connsiteY33" fmla="*/ 9737 h 10000"/>
                <a:gd name="connsiteX34" fmla="*/ 1811 w 10000"/>
                <a:gd name="connsiteY34" fmla="*/ 9737 h 10000"/>
                <a:gd name="connsiteX35" fmla="*/ 1934 w 10000"/>
                <a:gd name="connsiteY35" fmla="*/ 8364 h 10000"/>
                <a:gd name="connsiteX36" fmla="*/ 400 w 10000"/>
                <a:gd name="connsiteY36" fmla="*/ 7105 h 10000"/>
                <a:gd name="connsiteX37" fmla="*/ 400 w 10000"/>
                <a:gd name="connsiteY37" fmla="*/ 6053 h 10000"/>
                <a:gd name="connsiteX38" fmla="*/ 400 w 10000"/>
                <a:gd name="connsiteY38" fmla="*/ 5789 h 10000"/>
                <a:gd name="connsiteX39" fmla="*/ 118 w 10000"/>
                <a:gd name="connsiteY39" fmla="*/ 5263 h 10000"/>
                <a:gd name="connsiteX40" fmla="*/ 400 w 10000"/>
                <a:gd name="connsiteY40" fmla="*/ 4737 h 10000"/>
                <a:gd name="connsiteX41" fmla="*/ 118 w 10000"/>
                <a:gd name="connsiteY41" fmla="*/ 4211 h 10000"/>
                <a:gd name="connsiteX42" fmla="*/ 1247 w 10000"/>
                <a:gd name="connsiteY42" fmla="*/ 3947 h 10000"/>
                <a:gd name="connsiteX43" fmla="*/ 1247 w 10000"/>
                <a:gd name="connsiteY43" fmla="*/ 3158 h 10000"/>
                <a:gd name="connsiteX44" fmla="*/ 1247 w 10000"/>
                <a:gd name="connsiteY44" fmla="*/ 2368 h 10000"/>
                <a:gd name="connsiteX45" fmla="*/ 1247 w 10000"/>
                <a:gd name="connsiteY45" fmla="*/ 1842 h 10000"/>
                <a:gd name="connsiteX0" fmla="*/ 1247 w 10000"/>
                <a:gd name="connsiteY0" fmla="*/ 1842 h 10000"/>
                <a:gd name="connsiteX1" fmla="*/ 2094 w 10000"/>
                <a:gd name="connsiteY1" fmla="*/ 1579 h 10000"/>
                <a:gd name="connsiteX2" fmla="*/ 2659 w 10000"/>
                <a:gd name="connsiteY2" fmla="*/ 2105 h 10000"/>
                <a:gd name="connsiteX3" fmla="*/ 3506 w 10000"/>
                <a:gd name="connsiteY3" fmla="*/ 1579 h 10000"/>
                <a:gd name="connsiteX4" fmla="*/ 2942 w 10000"/>
                <a:gd name="connsiteY4" fmla="*/ 789 h 10000"/>
                <a:gd name="connsiteX5" fmla="*/ 2659 w 10000"/>
                <a:gd name="connsiteY5" fmla="*/ 0 h 10000"/>
                <a:gd name="connsiteX6" fmla="*/ 4071 w 10000"/>
                <a:gd name="connsiteY6" fmla="*/ 0 h 10000"/>
                <a:gd name="connsiteX7" fmla="*/ 4635 w 10000"/>
                <a:gd name="connsiteY7" fmla="*/ 263 h 10000"/>
                <a:gd name="connsiteX8" fmla="*/ 5483 w 10000"/>
                <a:gd name="connsiteY8" fmla="*/ 789 h 10000"/>
                <a:gd name="connsiteX9" fmla="*/ 5764 w 10000"/>
                <a:gd name="connsiteY9" fmla="*/ 789 h 10000"/>
                <a:gd name="connsiteX10" fmla="*/ 5764 w 10000"/>
                <a:gd name="connsiteY10" fmla="*/ 1316 h 10000"/>
                <a:gd name="connsiteX11" fmla="*/ 6612 w 10000"/>
                <a:gd name="connsiteY11" fmla="*/ 1053 h 10000"/>
                <a:gd name="connsiteX12" fmla="*/ 7741 w 10000"/>
                <a:gd name="connsiteY12" fmla="*/ 789 h 10000"/>
                <a:gd name="connsiteX13" fmla="*/ 8024 w 10000"/>
                <a:gd name="connsiteY13" fmla="*/ 526 h 10000"/>
                <a:gd name="connsiteX14" fmla="*/ 8306 w 10000"/>
                <a:gd name="connsiteY14" fmla="*/ 1316 h 10000"/>
                <a:gd name="connsiteX15" fmla="*/ 9153 w 10000"/>
                <a:gd name="connsiteY15" fmla="*/ 1316 h 10000"/>
                <a:gd name="connsiteX16" fmla="*/ 9153 w 10000"/>
                <a:gd name="connsiteY16" fmla="*/ 1316 h 10000"/>
                <a:gd name="connsiteX17" fmla="*/ 9153 w 10000"/>
                <a:gd name="connsiteY17" fmla="*/ 2105 h 10000"/>
                <a:gd name="connsiteX18" fmla="*/ 8871 w 10000"/>
                <a:gd name="connsiteY18" fmla="*/ 2632 h 10000"/>
                <a:gd name="connsiteX19" fmla="*/ 9435 w 10000"/>
                <a:gd name="connsiteY19" fmla="*/ 3158 h 10000"/>
                <a:gd name="connsiteX20" fmla="*/ 9435 w 10000"/>
                <a:gd name="connsiteY20" fmla="*/ 3947 h 10000"/>
                <a:gd name="connsiteX21" fmla="*/ 10000 w 10000"/>
                <a:gd name="connsiteY21" fmla="*/ 5000 h 10000"/>
                <a:gd name="connsiteX22" fmla="*/ 10000 w 10000"/>
                <a:gd name="connsiteY22" fmla="*/ 5263 h 10000"/>
                <a:gd name="connsiteX23" fmla="*/ 9435 w 10000"/>
                <a:gd name="connsiteY23" fmla="*/ 5526 h 10000"/>
                <a:gd name="connsiteX24" fmla="*/ 6612 w 10000"/>
                <a:gd name="connsiteY24" fmla="*/ 6316 h 10000"/>
                <a:gd name="connsiteX25" fmla="*/ 8588 w 10000"/>
                <a:gd name="connsiteY25" fmla="*/ 8421 h 10000"/>
                <a:gd name="connsiteX26" fmla="*/ 7741 w 10000"/>
                <a:gd name="connsiteY26" fmla="*/ 8947 h 10000"/>
                <a:gd name="connsiteX27" fmla="*/ 7459 w 10000"/>
                <a:gd name="connsiteY27" fmla="*/ 9474 h 10000"/>
                <a:gd name="connsiteX28" fmla="*/ 6047 w 10000"/>
                <a:gd name="connsiteY28" fmla="*/ 9737 h 10000"/>
                <a:gd name="connsiteX29" fmla="*/ 4918 w 10000"/>
                <a:gd name="connsiteY29" fmla="*/ 10000 h 10000"/>
                <a:gd name="connsiteX30" fmla="*/ 4353 w 10000"/>
                <a:gd name="connsiteY30" fmla="*/ 9737 h 10000"/>
                <a:gd name="connsiteX31" fmla="*/ 4071 w 10000"/>
                <a:gd name="connsiteY31" fmla="*/ 9737 h 10000"/>
                <a:gd name="connsiteX32" fmla="*/ 2942 w 10000"/>
                <a:gd name="connsiteY32" fmla="*/ 9474 h 10000"/>
                <a:gd name="connsiteX33" fmla="*/ 2094 w 10000"/>
                <a:gd name="connsiteY33" fmla="*/ 9737 h 10000"/>
                <a:gd name="connsiteX34" fmla="*/ 1811 w 10000"/>
                <a:gd name="connsiteY34" fmla="*/ 9737 h 10000"/>
                <a:gd name="connsiteX35" fmla="*/ 1934 w 10000"/>
                <a:gd name="connsiteY35" fmla="*/ 8364 h 10000"/>
                <a:gd name="connsiteX36" fmla="*/ 179 w 10000"/>
                <a:gd name="connsiteY36" fmla="*/ 8032 h 10000"/>
                <a:gd name="connsiteX37" fmla="*/ 400 w 10000"/>
                <a:gd name="connsiteY37" fmla="*/ 6053 h 10000"/>
                <a:gd name="connsiteX38" fmla="*/ 400 w 10000"/>
                <a:gd name="connsiteY38" fmla="*/ 5789 h 10000"/>
                <a:gd name="connsiteX39" fmla="*/ 118 w 10000"/>
                <a:gd name="connsiteY39" fmla="*/ 5263 h 10000"/>
                <a:gd name="connsiteX40" fmla="*/ 400 w 10000"/>
                <a:gd name="connsiteY40" fmla="*/ 4737 h 10000"/>
                <a:gd name="connsiteX41" fmla="*/ 118 w 10000"/>
                <a:gd name="connsiteY41" fmla="*/ 4211 h 10000"/>
                <a:gd name="connsiteX42" fmla="*/ 1247 w 10000"/>
                <a:gd name="connsiteY42" fmla="*/ 3947 h 10000"/>
                <a:gd name="connsiteX43" fmla="*/ 1247 w 10000"/>
                <a:gd name="connsiteY43" fmla="*/ 3158 h 10000"/>
                <a:gd name="connsiteX44" fmla="*/ 1247 w 10000"/>
                <a:gd name="connsiteY44" fmla="*/ 2368 h 10000"/>
                <a:gd name="connsiteX45" fmla="*/ 1247 w 10000"/>
                <a:gd name="connsiteY45" fmla="*/ 184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0000" h="10000">
                  <a:moveTo>
                    <a:pt x="1247" y="1842"/>
                  </a:moveTo>
                  <a:lnTo>
                    <a:pt x="2094" y="1579"/>
                  </a:lnTo>
                  <a:cubicBezTo>
                    <a:pt x="2094" y="1579"/>
                    <a:pt x="2376" y="2105"/>
                    <a:pt x="2659" y="2105"/>
                  </a:cubicBezTo>
                  <a:cubicBezTo>
                    <a:pt x="2942" y="1842"/>
                    <a:pt x="3506" y="1579"/>
                    <a:pt x="3506" y="1579"/>
                  </a:cubicBezTo>
                  <a:cubicBezTo>
                    <a:pt x="3506" y="1316"/>
                    <a:pt x="3223" y="1053"/>
                    <a:pt x="2942" y="789"/>
                  </a:cubicBezTo>
                  <a:cubicBezTo>
                    <a:pt x="2942" y="789"/>
                    <a:pt x="2659" y="263"/>
                    <a:pt x="2659" y="0"/>
                  </a:cubicBezTo>
                  <a:lnTo>
                    <a:pt x="4071" y="0"/>
                  </a:lnTo>
                  <a:cubicBezTo>
                    <a:pt x="4071" y="0"/>
                    <a:pt x="4353" y="263"/>
                    <a:pt x="4635" y="263"/>
                  </a:cubicBezTo>
                  <a:cubicBezTo>
                    <a:pt x="4635" y="526"/>
                    <a:pt x="4918" y="789"/>
                    <a:pt x="5483" y="789"/>
                  </a:cubicBezTo>
                  <a:lnTo>
                    <a:pt x="5764" y="789"/>
                  </a:lnTo>
                  <a:lnTo>
                    <a:pt x="5764" y="1316"/>
                  </a:lnTo>
                  <a:lnTo>
                    <a:pt x="6612" y="1053"/>
                  </a:lnTo>
                  <a:cubicBezTo>
                    <a:pt x="6894" y="789"/>
                    <a:pt x="7459" y="789"/>
                    <a:pt x="7741" y="789"/>
                  </a:cubicBezTo>
                  <a:cubicBezTo>
                    <a:pt x="7741" y="526"/>
                    <a:pt x="8024" y="263"/>
                    <a:pt x="8024" y="526"/>
                  </a:cubicBezTo>
                  <a:cubicBezTo>
                    <a:pt x="8306" y="526"/>
                    <a:pt x="8024" y="1053"/>
                    <a:pt x="8306" y="1316"/>
                  </a:cubicBezTo>
                  <a:lnTo>
                    <a:pt x="9153" y="1316"/>
                  </a:lnTo>
                  <a:lnTo>
                    <a:pt x="9153" y="1316"/>
                  </a:lnTo>
                  <a:lnTo>
                    <a:pt x="9153" y="2105"/>
                  </a:lnTo>
                  <a:lnTo>
                    <a:pt x="8871" y="2632"/>
                  </a:lnTo>
                  <a:cubicBezTo>
                    <a:pt x="8871" y="2895"/>
                    <a:pt x="9153" y="3158"/>
                    <a:pt x="9435" y="3158"/>
                  </a:cubicBezTo>
                  <a:lnTo>
                    <a:pt x="9435" y="3947"/>
                  </a:lnTo>
                  <a:cubicBezTo>
                    <a:pt x="9435" y="4211"/>
                    <a:pt x="10000" y="4737"/>
                    <a:pt x="10000" y="5000"/>
                  </a:cubicBezTo>
                  <a:lnTo>
                    <a:pt x="10000" y="5263"/>
                  </a:lnTo>
                  <a:cubicBezTo>
                    <a:pt x="9717" y="5263"/>
                    <a:pt x="9717" y="5526"/>
                    <a:pt x="9435" y="5526"/>
                  </a:cubicBezTo>
                  <a:cubicBezTo>
                    <a:pt x="9153" y="5526"/>
                    <a:pt x="6612" y="6316"/>
                    <a:pt x="6612" y="6316"/>
                  </a:cubicBezTo>
                  <a:cubicBezTo>
                    <a:pt x="6612" y="6579"/>
                    <a:pt x="8871" y="8158"/>
                    <a:pt x="8588" y="8421"/>
                  </a:cubicBezTo>
                  <a:cubicBezTo>
                    <a:pt x="8588" y="8684"/>
                    <a:pt x="8024" y="8684"/>
                    <a:pt x="7741" y="8947"/>
                  </a:cubicBezTo>
                  <a:cubicBezTo>
                    <a:pt x="7741" y="8947"/>
                    <a:pt x="8024" y="10000"/>
                    <a:pt x="7459" y="9474"/>
                  </a:cubicBezTo>
                  <a:cubicBezTo>
                    <a:pt x="7176" y="9474"/>
                    <a:pt x="6330" y="9737"/>
                    <a:pt x="6047" y="9737"/>
                  </a:cubicBezTo>
                  <a:cubicBezTo>
                    <a:pt x="5764" y="9737"/>
                    <a:pt x="5200" y="10000"/>
                    <a:pt x="4918" y="10000"/>
                  </a:cubicBezTo>
                  <a:cubicBezTo>
                    <a:pt x="4635" y="10000"/>
                    <a:pt x="4635" y="9737"/>
                    <a:pt x="4353" y="9737"/>
                  </a:cubicBezTo>
                  <a:lnTo>
                    <a:pt x="4071" y="9737"/>
                  </a:lnTo>
                  <a:cubicBezTo>
                    <a:pt x="3788" y="9737"/>
                    <a:pt x="3223" y="9474"/>
                    <a:pt x="2942" y="9474"/>
                  </a:cubicBezTo>
                  <a:cubicBezTo>
                    <a:pt x="2942" y="9474"/>
                    <a:pt x="2376" y="9737"/>
                    <a:pt x="2094" y="9737"/>
                  </a:cubicBezTo>
                  <a:cubicBezTo>
                    <a:pt x="1811" y="9737"/>
                    <a:pt x="1838" y="9966"/>
                    <a:pt x="1811" y="9737"/>
                  </a:cubicBezTo>
                  <a:cubicBezTo>
                    <a:pt x="1785" y="9508"/>
                    <a:pt x="1652" y="8627"/>
                    <a:pt x="1934" y="8364"/>
                  </a:cubicBezTo>
                  <a:cubicBezTo>
                    <a:pt x="1699" y="7925"/>
                    <a:pt x="435" y="8417"/>
                    <a:pt x="179" y="8032"/>
                  </a:cubicBezTo>
                  <a:cubicBezTo>
                    <a:pt x="179" y="7506"/>
                    <a:pt x="363" y="6427"/>
                    <a:pt x="400" y="6053"/>
                  </a:cubicBezTo>
                  <a:cubicBezTo>
                    <a:pt x="437" y="5679"/>
                    <a:pt x="400" y="5877"/>
                    <a:pt x="400" y="5789"/>
                  </a:cubicBezTo>
                  <a:cubicBezTo>
                    <a:pt x="118" y="5526"/>
                    <a:pt x="118" y="5526"/>
                    <a:pt x="118" y="5263"/>
                  </a:cubicBezTo>
                  <a:lnTo>
                    <a:pt x="400" y="4737"/>
                  </a:lnTo>
                  <a:cubicBezTo>
                    <a:pt x="118" y="4474"/>
                    <a:pt x="-165" y="4211"/>
                    <a:pt x="118" y="4211"/>
                  </a:cubicBezTo>
                  <a:cubicBezTo>
                    <a:pt x="400" y="4211"/>
                    <a:pt x="965" y="4211"/>
                    <a:pt x="1247" y="3947"/>
                  </a:cubicBezTo>
                  <a:lnTo>
                    <a:pt x="1247" y="3158"/>
                  </a:lnTo>
                  <a:lnTo>
                    <a:pt x="1247" y="2368"/>
                  </a:lnTo>
                  <a:lnTo>
                    <a:pt x="1247" y="1842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1" name="Freeform 643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444380" y="1883025"/>
              <a:ext cx="615596" cy="539137"/>
            </a:xfrm>
            <a:custGeom>
              <a:avLst/>
              <a:gdLst>
                <a:gd name="T0" fmla="*/ 2 w 102"/>
                <a:gd name="T1" fmla="*/ 75 h 83"/>
                <a:gd name="T2" fmla="*/ 0 w 102"/>
                <a:gd name="T3" fmla="*/ 68 h 83"/>
                <a:gd name="T4" fmla="*/ 0 w 102"/>
                <a:gd name="T5" fmla="*/ 65 h 83"/>
                <a:gd name="T6" fmla="*/ 1 w 102"/>
                <a:gd name="T7" fmla="*/ 60 h 83"/>
                <a:gd name="T8" fmla="*/ 7 w 102"/>
                <a:gd name="T9" fmla="*/ 55 h 83"/>
                <a:gd name="T10" fmla="*/ 10 w 102"/>
                <a:gd name="T11" fmla="*/ 53 h 83"/>
                <a:gd name="T12" fmla="*/ 14 w 102"/>
                <a:gd name="T13" fmla="*/ 50 h 83"/>
                <a:gd name="T14" fmla="*/ 17 w 102"/>
                <a:gd name="T15" fmla="*/ 52 h 83"/>
                <a:gd name="T16" fmla="*/ 23 w 102"/>
                <a:gd name="T17" fmla="*/ 44 h 83"/>
                <a:gd name="T18" fmla="*/ 25 w 102"/>
                <a:gd name="T19" fmla="*/ 43 h 83"/>
                <a:gd name="T20" fmla="*/ 27 w 102"/>
                <a:gd name="T21" fmla="*/ 41 h 83"/>
                <a:gd name="T22" fmla="*/ 29 w 102"/>
                <a:gd name="T23" fmla="*/ 36 h 83"/>
                <a:gd name="T24" fmla="*/ 33 w 102"/>
                <a:gd name="T25" fmla="*/ 35 h 83"/>
                <a:gd name="T26" fmla="*/ 31 w 102"/>
                <a:gd name="T27" fmla="*/ 32 h 83"/>
                <a:gd name="T28" fmla="*/ 37 w 102"/>
                <a:gd name="T29" fmla="*/ 27 h 83"/>
                <a:gd name="T30" fmla="*/ 44 w 102"/>
                <a:gd name="T31" fmla="*/ 20 h 83"/>
                <a:gd name="T32" fmla="*/ 34 w 102"/>
                <a:gd name="T33" fmla="*/ 22 h 83"/>
                <a:gd name="T34" fmla="*/ 35 w 102"/>
                <a:gd name="T35" fmla="*/ 19 h 83"/>
                <a:gd name="T36" fmla="*/ 39 w 102"/>
                <a:gd name="T37" fmla="*/ 15 h 83"/>
                <a:gd name="T38" fmla="*/ 44 w 102"/>
                <a:gd name="T39" fmla="*/ 16 h 83"/>
                <a:gd name="T40" fmla="*/ 49 w 102"/>
                <a:gd name="T41" fmla="*/ 15 h 83"/>
                <a:gd name="T42" fmla="*/ 51 w 102"/>
                <a:gd name="T43" fmla="*/ 10 h 83"/>
                <a:gd name="T44" fmla="*/ 59 w 102"/>
                <a:gd name="T45" fmla="*/ 7 h 83"/>
                <a:gd name="T46" fmla="*/ 63 w 102"/>
                <a:gd name="T47" fmla="*/ 10 h 83"/>
                <a:gd name="T48" fmla="*/ 67 w 102"/>
                <a:gd name="T49" fmla="*/ 10 h 83"/>
                <a:gd name="T50" fmla="*/ 70 w 102"/>
                <a:gd name="T51" fmla="*/ 7 h 83"/>
                <a:gd name="T52" fmla="*/ 72 w 102"/>
                <a:gd name="T53" fmla="*/ 4 h 83"/>
                <a:gd name="T54" fmla="*/ 77 w 102"/>
                <a:gd name="T55" fmla="*/ 2 h 83"/>
                <a:gd name="T56" fmla="*/ 82 w 102"/>
                <a:gd name="T57" fmla="*/ 0 h 83"/>
                <a:gd name="T58" fmla="*/ 78 w 102"/>
                <a:gd name="T59" fmla="*/ 8 h 83"/>
                <a:gd name="T60" fmla="*/ 85 w 102"/>
                <a:gd name="T61" fmla="*/ 1 h 83"/>
                <a:gd name="T62" fmla="*/ 89 w 102"/>
                <a:gd name="T63" fmla="*/ 3 h 83"/>
                <a:gd name="T64" fmla="*/ 92 w 102"/>
                <a:gd name="T65" fmla="*/ 1 h 83"/>
                <a:gd name="T66" fmla="*/ 95 w 102"/>
                <a:gd name="T67" fmla="*/ 3 h 83"/>
                <a:gd name="T68" fmla="*/ 102 w 102"/>
                <a:gd name="T69" fmla="*/ 7 h 83"/>
                <a:gd name="T70" fmla="*/ 93 w 102"/>
                <a:gd name="T71" fmla="*/ 8 h 83"/>
                <a:gd name="T72" fmla="*/ 99 w 102"/>
                <a:gd name="T73" fmla="*/ 10 h 83"/>
                <a:gd name="T74" fmla="*/ 98 w 102"/>
                <a:gd name="T75" fmla="*/ 13 h 83"/>
                <a:gd name="T76" fmla="*/ 94 w 102"/>
                <a:gd name="T77" fmla="*/ 16 h 83"/>
                <a:gd name="T78" fmla="*/ 93 w 102"/>
                <a:gd name="T79" fmla="*/ 13 h 83"/>
                <a:gd name="T80" fmla="*/ 88 w 102"/>
                <a:gd name="T81" fmla="*/ 10 h 83"/>
                <a:gd name="T82" fmla="*/ 81 w 102"/>
                <a:gd name="T83" fmla="*/ 15 h 83"/>
                <a:gd name="T84" fmla="*/ 74 w 102"/>
                <a:gd name="T85" fmla="*/ 17 h 83"/>
                <a:gd name="T86" fmla="*/ 64 w 102"/>
                <a:gd name="T87" fmla="*/ 14 h 83"/>
                <a:gd name="T88" fmla="*/ 60 w 102"/>
                <a:gd name="T89" fmla="*/ 15 h 83"/>
                <a:gd name="T90" fmla="*/ 52 w 102"/>
                <a:gd name="T91" fmla="*/ 19 h 83"/>
                <a:gd name="T92" fmla="*/ 48 w 102"/>
                <a:gd name="T93" fmla="*/ 22 h 83"/>
                <a:gd name="T94" fmla="*/ 45 w 102"/>
                <a:gd name="T95" fmla="*/ 28 h 83"/>
                <a:gd name="T96" fmla="*/ 38 w 102"/>
                <a:gd name="T97" fmla="*/ 35 h 83"/>
                <a:gd name="T98" fmla="*/ 34 w 102"/>
                <a:gd name="T99" fmla="*/ 43 h 83"/>
                <a:gd name="T100" fmla="*/ 35 w 102"/>
                <a:gd name="T101" fmla="*/ 49 h 83"/>
                <a:gd name="T102" fmla="*/ 28 w 102"/>
                <a:gd name="T103" fmla="*/ 51 h 83"/>
                <a:gd name="T104" fmla="*/ 31 w 102"/>
                <a:gd name="T105" fmla="*/ 64 h 83"/>
                <a:gd name="T106" fmla="*/ 30 w 102"/>
                <a:gd name="T107" fmla="*/ 70 h 83"/>
                <a:gd name="T108" fmla="*/ 27 w 102"/>
                <a:gd name="T109" fmla="*/ 77 h 83"/>
                <a:gd name="T110" fmla="*/ 24 w 102"/>
                <a:gd name="T111" fmla="*/ 75 h 83"/>
                <a:gd name="T112" fmla="*/ 22 w 102"/>
                <a:gd name="T113" fmla="*/ 72 h 83"/>
                <a:gd name="T114" fmla="*/ 17 w 102"/>
                <a:gd name="T115" fmla="*/ 79 h 83"/>
                <a:gd name="T116" fmla="*/ 3 w 102"/>
                <a:gd name="T117" fmla="*/ 79 h 83"/>
                <a:gd name="connsiteX0" fmla="*/ 588 w 10000"/>
                <a:gd name="connsiteY0" fmla="*/ 9036 h 10000"/>
                <a:gd name="connsiteX1" fmla="*/ 196 w 10000"/>
                <a:gd name="connsiteY1" fmla="*/ 9036 h 10000"/>
                <a:gd name="connsiteX2" fmla="*/ 196 w 10000"/>
                <a:gd name="connsiteY2" fmla="*/ 8675 h 10000"/>
                <a:gd name="connsiteX3" fmla="*/ 0 w 10000"/>
                <a:gd name="connsiteY3" fmla="*/ 8193 h 10000"/>
                <a:gd name="connsiteX4" fmla="*/ 1078 w 10000"/>
                <a:gd name="connsiteY4" fmla="*/ 7831 h 10000"/>
                <a:gd name="connsiteX5" fmla="*/ 0 w 10000"/>
                <a:gd name="connsiteY5" fmla="*/ 7831 h 10000"/>
                <a:gd name="connsiteX6" fmla="*/ 98 w 10000"/>
                <a:gd name="connsiteY6" fmla="*/ 7590 h 10000"/>
                <a:gd name="connsiteX7" fmla="*/ 98 w 10000"/>
                <a:gd name="connsiteY7" fmla="*/ 7229 h 10000"/>
                <a:gd name="connsiteX8" fmla="*/ 392 w 10000"/>
                <a:gd name="connsiteY8" fmla="*/ 6988 h 10000"/>
                <a:gd name="connsiteX9" fmla="*/ 686 w 10000"/>
                <a:gd name="connsiteY9" fmla="*/ 6627 h 10000"/>
                <a:gd name="connsiteX10" fmla="*/ 980 w 10000"/>
                <a:gd name="connsiteY10" fmla="*/ 6747 h 10000"/>
                <a:gd name="connsiteX11" fmla="*/ 980 w 10000"/>
                <a:gd name="connsiteY11" fmla="*/ 6386 h 10000"/>
                <a:gd name="connsiteX12" fmla="*/ 1275 w 10000"/>
                <a:gd name="connsiteY12" fmla="*/ 6265 h 10000"/>
                <a:gd name="connsiteX13" fmla="*/ 1373 w 10000"/>
                <a:gd name="connsiteY13" fmla="*/ 6024 h 10000"/>
                <a:gd name="connsiteX14" fmla="*/ 1569 w 10000"/>
                <a:gd name="connsiteY14" fmla="*/ 5904 h 10000"/>
                <a:gd name="connsiteX15" fmla="*/ 1667 w 10000"/>
                <a:gd name="connsiteY15" fmla="*/ 6265 h 10000"/>
                <a:gd name="connsiteX16" fmla="*/ 1863 w 10000"/>
                <a:gd name="connsiteY16" fmla="*/ 5904 h 10000"/>
                <a:gd name="connsiteX17" fmla="*/ 2255 w 10000"/>
                <a:gd name="connsiteY17" fmla="*/ 5301 h 10000"/>
                <a:gd name="connsiteX18" fmla="*/ 2451 w 10000"/>
                <a:gd name="connsiteY18" fmla="*/ 5542 h 10000"/>
                <a:gd name="connsiteX19" fmla="*/ 2451 w 10000"/>
                <a:gd name="connsiteY19" fmla="*/ 5181 h 10000"/>
                <a:gd name="connsiteX20" fmla="*/ 2255 w 10000"/>
                <a:gd name="connsiteY20" fmla="*/ 4940 h 10000"/>
                <a:gd name="connsiteX21" fmla="*/ 2647 w 10000"/>
                <a:gd name="connsiteY21" fmla="*/ 4940 h 10000"/>
                <a:gd name="connsiteX22" fmla="*/ 2745 w 10000"/>
                <a:gd name="connsiteY22" fmla="*/ 4699 h 10000"/>
                <a:gd name="connsiteX23" fmla="*/ 2843 w 10000"/>
                <a:gd name="connsiteY23" fmla="*/ 4337 h 10000"/>
                <a:gd name="connsiteX24" fmla="*/ 2843 w 10000"/>
                <a:gd name="connsiteY24" fmla="*/ 4096 h 10000"/>
                <a:gd name="connsiteX25" fmla="*/ 3235 w 10000"/>
                <a:gd name="connsiteY25" fmla="*/ 4217 h 10000"/>
                <a:gd name="connsiteX26" fmla="*/ 3431 w 10000"/>
                <a:gd name="connsiteY26" fmla="*/ 3976 h 10000"/>
                <a:gd name="connsiteX27" fmla="*/ 3039 w 10000"/>
                <a:gd name="connsiteY27" fmla="*/ 3855 h 10000"/>
                <a:gd name="connsiteX28" fmla="*/ 3235 w 10000"/>
                <a:gd name="connsiteY28" fmla="*/ 3614 h 10000"/>
                <a:gd name="connsiteX29" fmla="*/ 3627 w 10000"/>
                <a:gd name="connsiteY29" fmla="*/ 3253 h 10000"/>
                <a:gd name="connsiteX30" fmla="*/ 3824 w 10000"/>
                <a:gd name="connsiteY30" fmla="*/ 2771 h 10000"/>
                <a:gd name="connsiteX31" fmla="*/ 4314 w 10000"/>
                <a:gd name="connsiteY31" fmla="*/ 2410 h 10000"/>
                <a:gd name="connsiteX32" fmla="*/ 3922 w 10000"/>
                <a:gd name="connsiteY32" fmla="*/ 2410 h 10000"/>
                <a:gd name="connsiteX33" fmla="*/ 3333 w 10000"/>
                <a:gd name="connsiteY33" fmla="*/ 2651 h 10000"/>
                <a:gd name="connsiteX34" fmla="*/ 3039 w 10000"/>
                <a:gd name="connsiteY34" fmla="*/ 2771 h 10000"/>
                <a:gd name="connsiteX35" fmla="*/ 3431 w 10000"/>
                <a:gd name="connsiteY35" fmla="*/ 2289 h 10000"/>
                <a:gd name="connsiteX36" fmla="*/ 3725 w 10000"/>
                <a:gd name="connsiteY36" fmla="*/ 2169 h 10000"/>
                <a:gd name="connsiteX37" fmla="*/ 3824 w 10000"/>
                <a:gd name="connsiteY37" fmla="*/ 1807 h 10000"/>
                <a:gd name="connsiteX38" fmla="*/ 4314 w 10000"/>
                <a:gd name="connsiteY38" fmla="*/ 1566 h 10000"/>
                <a:gd name="connsiteX39" fmla="*/ 4314 w 10000"/>
                <a:gd name="connsiteY39" fmla="*/ 1928 h 10000"/>
                <a:gd name="connsiteX40" fmla="*/ 4608 w 10000"/>
                <a:gd name="connsiteY40" fmla="*/ 2048 h 10000"/>
                <a:gd name="connsiteX41" fmla="*/ 4804 w 10000"/>
                <a:gd name="connsiteY41" fmla="*/ 1807 h 10000"/>
                <a:gd name="connsiteX42" fmla="*/ 4608 w 10000"/>
                <a:gd name="connsiteY42" fmla="*/ 1446 h 10000"/>
                <a:gd name="connsiteX43" fmla="*/ 5000 w 10000"/>
                <a:gd name="connsiteY43" fmla="*/ 1205 h 10000"/>
                <a:gd name="connsiteX44" fmla="*/ 5294 w 10000"/>
                <a:gd name="connsiteY44" fmla="*/ 843 h 10000"/>
                <a:gd name="connsiteX45" fmla="*/ 5784 w 10000"/>
                <a:gd name="connsiteY45" fmla="*/ 843 h 10000"/>
                <a:gd name="connsiteX46" fmla="*/ 6078 w 10000"/>
                <a:gd name="connsiteY46" fmla="*/ 843 h 10000"/>
                <a:gd name="connsiteX47" fmla="*/ 6176 w 10000"/>
                <a:gd name="connsiteY47" fmla="*/ 1205 h 10000"/>
                <a:gd name="connsiteX48" fmla="*/ 6373 w 10000"/>
                <a:gd name="connsiteY48" fmla="*/ 964 h 10000"/>
                <a:gd name="connsiteX49" fmla="*/ 6569 w 10000"/>
                <a:gd name="connsiteY49" fmla="*/ 1205 h 10000"/>
                <a:gd name="connsiteX50" fmla="*/ 6569 w 10000"/>
                <a:gd name="connsiteY50" fmla="*/ 723 h 10000"/>
                <a:gd name="connsiteX51" fmla="*/ 6863 w 10000"/>
                <a:gd name="connsiteY51" fmla="*/ 843 h 10000"/>
                <a:gd name="connsiteX52" fmla="*/ 6961 w 10000"/>
                <a:gd name="connsiteY52" fmla="*/ 1084 h 10000"/>
                <a:gd name="connsiteX53" fmla="*/ 7059 w 10000"/>
                <a:gd name="connsiteY53" fmla="*/ 482 h 10000"/>
                <a:gd name="connsiteX54" fmla="*/ 7353 w 10000"/>
                <a:gd name="connsiteY54" fmla="*/ 482 h 10000"/>
                <a:gd name="connsiteX55" fmla="*/ 7549 w 10000"/>
                <a:gd name="connsiteY55" fmla="*/ 241 h 10000"/>
                <a:gd name="connsiteX56" fmla="*/ 7745 w 10000"/>
                <a:gd name="connsiteY56" fmla="*/ 120 h 10000"/>
                <a:gd name="connsiteX57" fmla="*/ 8039 w 10000"/>
                <a:gd name="connsiteY57" fmla="*/ 0 h 10000"/>
                <a:gd name="connsiteX58" fmla="*/ 7843 w 10000"/>
                <a:gd name="connsiteY58" fmla="*/ 482 h 10000"/>
                <a:gd name="connsiteX59" fmla="*/ 7647 w 10000"/>
                <a:gd name="connsiteY59" fmla="*/ 964 h 10000"/>
                <a:gd name="connsiteX60" fmla="*/ 7941 w 10000"/>
                <a:gd name="connsiteY60" fmla="*/ 723 h 10000"/>
                <a:gd name="connsiteX61" fmla="*/ 8333 w 10000"/>
                <a:gd name="connsiteY61" fmla="*/ 120 h 10000"/>
                <a:gd name="connsiteX62" fmla="*/ 8333 w 10000"/>
                <a:gd name="connsiteY62" fmla="*/ 723 h 10000"/>
                <a:gd name="connsiteX63" fmla="*/ 8725 w 10000"/>
                <a:gd name="connsiteY63" fmla="*/ 361 h 10000"/>
                <a:gd name="connsiteX64" fmla="*/ 8725 w 10000"/>
                <a:gd name="connsiteY64" fmla="*/ 120 h 10000"/>
                <a:gd name="connsiteX65" fmla="*/ 9020 w 10000"/>
                <a:gd name="connsiteY65" fmla="*/ 120 h 10000"/>
                <a:gd name="connsiteX66" fmla="*/ 9020 w 10000"/>
                <a:gd name="connsiteY66" fmla="*/ 602 h 10000"/>
                <a:gd name="connsiteX67" fmla="*/ 9314 w 10000"/>
                <a:gd name="connsiteY67" fmla="*/ 361 h 10000"/>
                <a:gd name="connsiteX68" fmla="*/ 9902 w 10000"/>
                <a:gd name="connsiteY68" fmla="*/ 602 h 10000"/>
                <a:gd name="connsiteX69" fmla="*/ 10000 w 10000"/>
                <a:gd name="connsiteY69" fmla="*/ 843 h 10000"/>
                <a:gd name="connsiteX70" fmla="*/ 9510 w 10000"/>
                <a:gd name="connsiteY70" fmla="*/ 964 h 10000"/>
                <a:gd name="connsiteX71" fmla="*/ 9118 w 10000"/>
                <a:gd name="connsiteY71" fmla="*/ 964 h 10000"/>
                <a:gd name="connsiteX72" fmla="*/ 9216 w 10000"/>
                <a:gd name="connsiteY72" fmla="*/ 1084 h 10000"/>
                <a:gd name="connsiteX73" fmla="*/ 9706 w 10000"/>
                <a:gd name="connsiteY73" fmla="*/ 1205 h 10000"/>
                <a:gd name="connsiteX74" fmla="*/ 9706 w 10000"/>
                <a:gd name="connsiteY74" fmla="*/ 1205 h 10000"/>
                <a:gd name="connsiteX75" fmla="*/ 9608 w 10000"/>
                <a:gd name="connsiteY75" fmla="*/ 1566 h 10000"/>
                <a:gd name="connsiteX76" fmla="*/ 9412 w 10000"/>
                <a:gd name="connsiteY76" fmla="*/ 1928 h 10000"/>
                <a:gd name="connsiteX77" fmla="*/ 9216 w 10000"/>
                <a:gd name="connsiteY77" fmla="*/ 1928 h 10000"/>
                <a:gd name="connsiteX78" fmla="*/ 9118 w 10000"/>
                <a:gd name="connsiteY78" fmla="*/ 1928 h 10000"/>
                <a:gd name="connsiteX79" fmla="*/ 9118 w 10000"/>
                <a:gd name="connsiteY79" fmla="*/ 1566 h 10000"/>
                <a:gd name="connsiteX80" fmla="*/ 8922 w 10000"/>
                <a:gd name="connsiteY80" fmla="*/ 1325 h 10000"/>
                <a:gd name="connsiteX81" fmla="*/ 8627 w 10000"/>
                <a:gd name="connsiteY81" fmla="*/ 1205 h 10000"/>
                <a:gd name="connsiteX82" fmla="*/ 8235 w 10000"/>
                <a:gd name="connsiteY82" fmla="*/ 1325 h 10000"/>
                <a:gd name="connsiteX83" fmla="*/ 7941 w 10000"/>
                <a:gd name="connsiteY83" fmla="*/ 1807 h 10000"/>
                <a:gd name="connsiteX84" fmla="*/ 7745 w 10000"/>
                <a:gd name="connsiteY84" fmla="*/ 2169 h 10000"/>
                <a:gd name="connsiteX85" fmla="*/ 7255 w 10000"/>
                <a:gd name="connsiteY85" fmla="*/ 2048 h 10000"/>
                <a:gd name="connsiteX86" fmla="*/ 6765 w 10000"/>
                <a:gd name="connsiteY86" fmla="*/ 2048 h 10000"/>
                <a:gd name="connsiteX87" fmla="*/ 6275 w 10000"/>
                <a:gd name="connsiteY87" fmla="*/ 1687 h 10000"/>
                <a:gd name="connsiteX88" fmla="*/ 6078 w 10000"/>
                <a:gd name="connsiteY88" fmla="*/ 1807 h 10000"/>
                <a:gd name="connsiteX89" fmla="*/ 5882 w 10000"/>
                <a:gd name="connsiteY89" fmla="*/ 1807 h 10000"/>
                <a:gd name="connsiteX90" fmla="*/ 5784 w 10000"/>
                <a:gd name="connsiteY90" fmla="*/ 2289 h 10000"/>
                <a:gd name="connsiteX91" fmla="*/ 5098 w 10000"/>
                <a:gd name="connsiteY91" fmla="*/ 2289 h 10000"/>
                <a:gd name="connsiteX92" fmla="*/ 5000 w 10000"/>
                <a:gd name="connsiteY92" fmla="*/ 2771 h 10000"/>
                <a:gd name="connsiteX93" fmla="*/ 4706 w 10000"/>
                <a:gd name="connsiteY93" fmla="*/ 2651 h 10000"/>
                <a:gd name="connsiteX94" fmla="*/ 4412 w 10000"/>
                <a:gd name="connsiteY94" fmla="*/ 3133 h 10000"/>
                <a:gd name="connsiteX95" fmla="*/ 4412 w 10000"/>
                <a:gd name="connsiteY95" fmla="*/ 3373 h 10000"/>
                <a:gd name="connsiteX96" fmla="*/ 4118 w 10000"/>
                <a:gd name="connsiteY96" fmla="*/ 3976 h 10000"/>
                <a:gd name="connsiteX97" fmla="*/ 3725 w 10000"/>
                <a:gd name="connsiteY97" fmla="*/ 4217 h 10000"/>
                <a:gd name="connsiteX98" fmla="*/ 3725 w 10000"/>
                <a:gd name="connsiteY98" fmla="*/ 4699 h 10000"/>
                <a:gd name="connsiteX99" fmla="*/ 3333 w 10000"/>
                <a:gd name="connsiteY99" fmla="*/ 5181 h 10000"/>
                <a:gd name="connsiteX100" fmla="*/ 3529 w 10000"/>
                <a:gd name="connsiteY100" fmla="*/ 5422 h 10000"/>
                <a:gd name="connsiteX101" fmla="*/ 3431 w 10000"/>
                <a:gd name="connsiteY101" fmla="*/ 5904 h 10000"/>
                <a:gd name="connsiteX102" fmla="*/ 3137 w 10000"/>
                <a:gd name="connsiteY102" fmla="*/ 5783 h 10000"/>
                <a:gd name="connsiteX103" fmla="*/ 2900 w 10000"/>
                <a:gd name="connsiteY103" fmla="*/ 6145 h 10000"/>
                <a:gd name="connsiteX104" fmla="*/ 2745 w 10000"/>
                <a:gd name="connsiteY104" fmla="*/ 7229 h 10000"/>
                <a:gd name="connsiteX105" fmla="*/ 3039 w 10000"/>
                <a:gd name="connsiteY105" fmla="*/ 7711 h 10000"/>
                <a:gd name="connsiteX106" fmla="*/ 2843 w 10000"/>
                <a:gd name="connsiteY106" fmla="*/ 7952 h 10000"/>
                <a:gd name="connsiteX107" fmla="*/ 2941 w 10000"/>
                <a:gd name="connsiteY107" fmla="*/ 8434 h 10000"/>
                <a:gd name="connsiteX108" fmla="*/ 2647 w 10000"/>
                <a:gd name="connsiteY108" fmla="*/ 8675 h 10000"/>
                <a:gd name="connsiteX109" fmla="*/ 2647 w 10000"/>
                <a:gd name="connsiteY109" fmla="*/ 9277 h 10000"/>
                <a:gd name="connsiteX110" fmla="*/ 2451 w 10000"/>
                <a:gd name="connsiteY110" fmla="*/ 9398 h 10000"/>
                <a:gd name="connsiteX111" fmla="*/ 2353 w 10000"/>
                <a:gd name="connsiteY111" fmla="*/ 9036 h 10000"/>
                <a:gd name="connsiteX112" fmla="*/ 2255 w 10000"/>
                <a:gd name="connsiteY112" fmla="*/ 8675 h 10000"/>
                <a:gd name="connsiteX113" fmla="*/ 2157 w 10000"/>
                <a:gd name="connsiteY113" fmla="*/ 8675 h 10000"/>
                <a:gd name="connsiteX114" fmla="*/ 2059 w 10000"/>
                <a:gd name="connsiteY114" fmla="*/ 9157 h 10000"/>
                <a:gd name="connsiteX115" fmla="*/ 1667 w 10000"/>
                <a:gd name="connsiteY115" fmla="*/ 9518 h 10000"/>
                <a:gd name="connsiteX116" fmla="*/ 1078 w 10000"/>
                <a:gd name="connsiteY116" fmla="*/ 10000 h 10000"/>
                <a:gd name="connsiteX117" fmla="*/ 294 w 10000"/>
                <a:gd name="connsiteY117" fmla="*/ 9518 h 10000"/>
                <a:gd name="connsiteX118" fmla="*/ 588 w 10000"/>
                <a:gd name="connsiteY118" fmla="*/ 9036 h 10000"/>
                <a:gd name="connsiteX0" fmla="*/ 588 w 10000"/>
                <a:gd name="connsiteY0" fmla="*/ 9036 h 10000"/>
                <a:gd name="connsiteX1" fmla="*/ 196 w 10000"/>
                <a:gd name="connsiteY1" fmla="*/ 9036 h 10000"/>
                <a:gd name="connsiteX2" fmla="*/ 196 w 10000"/>
                <a:gd name="connsiteY2" fmla="*/ 8675 h 10000"/>
                <a:gd name="connsiteX3" fmla="*/ 0 w 10000"/>
                <a:gd name="connsiteY3" fmla="*/ 8193 h 10000"/>
                <a:gd name="connsiteX4" fmla="*/ 1078 w 10000"/>
                <a:gd name="connsiteY4" fmla="*/ 7831 h 10000"/>
                <a:gd name="connsiteX5" fmla="*/ 0 w 10000"/>
                <a:gd name="connsiteY5" fmla="*/ 7831 h 10000"/>
                <a:gd name="connsiteX6" fmla="*/ 98 w 10000"/>
                <a:gd name="connsiteY6" fmla="*/ 7590 h 10000"/>
                <a:gd name="connsiteX7" fmla="*/ 98 w 10000"/>
                <a:gd name="connsiteY7" fmla="*/ 7229 h 10000"/>
                <a:gd name="connsiteX8" fmla="*/ 392 w 10000"/>
                <a:gd name="connsiteY8" fmla="*/ 6988 h 10000"/>
                <a:gd name="connsiteX9" fmla="*/ 686 w 10000"/>
                <a:gd name="connsiteY9" fmla="*/ 6627 h 10000"/>
                <a:gd name="connsiteX10" fmla="*/ 980 w 10000"/>
                <a:gd name="connsiteY10" fmla="*/ 6747 h 10000"/>
                <a:gd name="connsiteX11" fmla="*/ 980 w 10000"/>
                <a:gd name="connsiteY11" fmla="*/ 6386 h 10000"/>
                <a:gd name="connsiteX12" fmla="*/ 1275 w 10000"/>
                <a:gd name="connsiteY12" fmla="*/ 6265 h 10000"/>
                <a:gd name="connsiteX13" fmla="*/ 1373 w 10000"/>
                <a:gd name="connsiteY13" fmla="*/ 6024 h 10000"/>
                <a:gd name="connsiteX14" fmla="*/ 1569 w 10000"/>
                <a:gd name="connsiteY14" fmla="*/ 5904 h 10000"/>
                <a:gd name="connsiteX15" fmla="*/ 1667 w 10000"/>
                <a:gd name="connsiteY15" fmla="*/ 6265 h 10000"/>
                <a:gd name="connsiteX16" fmla="*/ 1863 w 10000"/>
                <a:gd name="connsiteY16" fmla="*/ 5904 h 10000"/>
                <a:gd name="connsiteX17" fmla="*/ 2255 w 10000"/>
                <a:gd name="connsiteY17" fmla="*/ 5301 h 10000"/>
                <a:gd name="connsiteX18" fmla="*/ 2451 w 10000"/>
                <a:gd name="connsiteY18" fmla="*/ 5542 h 10000"/>
                <a:gd name="connsiteX19" fmla="*/ 2451 w 10000"/>
                <a:gd name="connsiteY19" fmla="*/ 5181 h 10000"/>
                <a:gd name="connsiteX20" fmla="*/ 2255 w 10000"/>
                <a:gd name="connsiteY20" fmla="*/ 4940 h 10000"/>
                <a:gd name="connsiteX21" fmla="*/ 2647 w 10000"/>
                <a:gd name="connsiteY21" fmla="*/ 4940 h 10000"/>
                <a:gd name="connsiteX22" fmla="*/ 2745 w 10000"/>
                <a:gd name="connsiteY22" fmla="*/ 4699 h 10000"/>
                <a:gd name="connsiteX23" fmla="*/ 2843 w 10000"/>
                <a:gd name="connsiteY23" fmla="*/ 4337 h 10000"/>
                <a:gd name="connsiteX24" fmla="*/ 2843 w 10000"/>
                <a:gd name="connsiteY24" fmla="*/ 4096 h 10000"/>
                <a:gd name="connsiteX25" fmla="*/ 3235 w 10000"/>
                <a:gd name="connsiteY25" fmla="*/ 4217 h 10000"/>
                <a:gd name="connsiteX26" fmla="*/ 3431 w 10000"/>
                <a:gd name="connsiteY26" fmla="*/ 3976 h 10000"/>
                <a:gd name="connsiteX27" fmla="*/ 3039 w 10000"/>
                <a:gd name="connsiteY27" fmla="*/ 3855 h 10000"/>
                <a:gd name="connsiteX28" fmla="*/ 3235 w 10000"/>
                <a:gd name="connsiteY28" fmla="*/ 3614 h 10000"/>
                <a:gd name="connsiteX29" fmla="*/ 3627 w 10000"/>
                <a:gd name="connsiteY29" fmla="*/ 3253 h 10000"/>
                <a:gd name="connsiteX30" fmla="*/ 3824 w 10000"/>
                <a:gd name="connsiteY30" fmla="*/ 2771 h 10000"/>
                <a:gd name="connsiteX31" fmla="*/ 4314 w 10000"/>
                <a:gd name="connsiteY31" fmla="*/ 2410 h 10000"/>
                <a:gd name="connsiteX32" fmla="*/ 3922 w 10000"/>
                <a:gd name="connsiteY32" fmla="*/ 2410 h 10000"/>
                <a:gd name="connsiteX33" fmla="*/ 3333 w 10000"/>
                <a:gd name="connsiteY33" fmla="*/ 2651 h 10000"/>
                <a:gd name="connsiteX34" fmla="*/ 3039 w 10000"/>
                <a:gd name="connsiteY34" fmla="*/ 2771 h 10000"/>
                <a:gd name="connsiteX35" fmla="*/ 3431 w 10000"/>
                <a:gd name="connsiteY35" fmla="*/ 2289 h 10000"/>
                <a:gd name="connsiteX36" fmla="*/ 3725 w 10000"/>
                <a:gd name="connsiteY36" fmla="*/ 2169 h 10000"/>
                <a:gd name="connsiteX37" fmla="*/ 3824 w 10000"/>
                <a:gd name="connsiteY37" fmla="*/ 1807 h 10000"/>
                <a:gd name="connsiteX38" fmla="*/ 4314 w 10000"/>
                <a:gd name="connsiteY38" fmla="*/ 1566 h 10000"/>
                <a:gd name="connsiteX39" fmla="*/ 4314 w 10000"/>
                <a:gd name="connsiteY39" fmla="*/ 1928 h 10000"/>
                <a:gd name="connsiteX40" fmla="*/ 4608 w 10000"/>
                <a:gd name="connsiteY40" fmla="*/ 2048 h 10000"/>
                <a:gd name="connsiteX41" fmla="*/ 4804 w 10000"/>
                <a:gd name="connsiteY41" fmla="*/ 1807 h 10000"/>
                <a:gd name="connsiteX42" fmla="*/ 4608 w 10000"/>
                <a:gd name="connsiteY42" fmla="*/ 1446 h 10000"/>
                <a:gd name="connsiteX43" fmla="*/ 5000 w 10000"/>
                <a:gd name="connsiteY43" fmla="*/ 1205 h 10000"/>
                <a:gd name="connsiteX44" fmla="*/ 5294 w 10000"/>
                <a:gd name="connsiteY44" fmla="*/ 843 h 10000"/>
                <a:gd name="connsiteX45" fmla="*/ 5784 w 10000"/>
                <a:gd name="connsiteY45" fmla="*/ 843 h 10000"/>
                <a:gd name="connsiteX46" fmla="*/ 6078 w 10000"/>
                <a:gd name="connsiteY46" fmla="*/ 843 h 10000"/>
                <a:gd name="connsiteX47" fmla="*/ 6176 w 10000"/>
                <a:gd name="connsiteY47" fmla="*/ 1205 h 10000"/>
                <a:gd name="connsiteX48" fmla="*/ 6373 w 10000"/>
                <a:gd name="connsiteY48" fmla="*/ 964 h 10000"/>
                <a:gd name="connsiteX49" fmla="*/ 6569 w 10000"/>
                <a:gd name="connsiteY49" fmla="*/ 1205 h 10000"/>
                <a:gd name="connsiteX50" fmla="*/ 6569 w 10000"/>
                <a:gd name="connsiteY50" fmla="*/ 723 h 10000"/>
                <a:gd name="connsiteX51" fmla="*/ 6863 w 10000"/>
                <a:gd name="connsiteY51" fmla="*/ 843 h 10000"/>
                <a:gd name="connsiteX52" fmla="*/ 6961 w 10000"/>
                <a:gd name="connsiteY52" fmla="*/ 1084 h 10000"/>
                <a:gd name="connsiteX53" fmla="*/ 7059 w 10000"/>
                <a:gd name="connsiteY53" fmla="*/ 482 h 10000"/>
                <a:gd name="connsiteX54" fmla="*/ 7353 w 10000"/>
                <a:gd name="connsiteY54" fmla="*/ 482 h 10000"/>
                <a:gd name="connsiteX55" fmla="*/ 7549 w 10000"/>
                <a:gd name="connsiteY55" fmla="*/ 241 h 10000"/>
                <a:gd name="connsiteX56" fmla="*/ 7745 w 10000"/>
                <a:gd name="connsiteY56" fmla="*/ 120 h 10000"/>
                <a:gd name="connsiteX57" fmla="*/ 8039 w 10000"/>
                <a:gd name="connsiteY57" fmla="*/ 0 h 10000"/>
                <a:gd name="connsiteX58" fmla="*/ 7843 w 10000"/>
                <a:gd name="connsiteY58" fmla="*/ 482 h 10000"/>
                <a:gd name="connsiteX59" fmla="*/ 7647 w 10000"/>
                <a:gd name="connsiteY59" fmla="*/ 964 h 10000"/>
                <a:gd name="connsiteX60" fmla="*/ 7941 w 10000"/>
                <a:gd name="connsiteY60" fmla="*/ 723 h 10000"/>
                <a:gd name="connsiteX61" fmla="*/ 8333 w 10000"/>
                <a:gd name="connsiteY61" fmla="*/ 120 h 10000"/>
                <a:gd name="connsiteX62" fmla="*/ 8333 w 10000"/>
                <a:gd name="connsiteY62" fmla="*/ 723 h 10000"/>
                <a:gd name="connsiteX63" fmla="*/ 8725 w 10000"/>
                <a:gd name="connsiteY63" fmla="*/ 361 h 10000"/>
                <a:gd name="connsiteX64" fmla="*/ 8725 w 10000"/>
                <a:gd name="connsiteY64" fmla="*/ 120 h 10000"/>
                <a:gd name="connsiteX65" fmla="*/ 9020 w 10000"/>
                <a:gd name="connsiteY65" fmla="*/ 120 h 10000"/>
                <a:gd name="connsiteX66" fmla="*/ 9020 w 10000"/>
                <a:gd name="connsiteY66" fmla="*/ 602 h 10000"/>
                <a:gd name="connsiteX67" fmla="*/ 9314 w 10000"/>
                <a:gd name="connsiteY67" fmla="*/ 361 h 10000"/>
                <a:gd name="connsiteX68" fmla="*/ 9902 w 10000"/>
                <a:gd name="connsiteY68" fmla="*/ 602 h 10000"/>
                <a:gd name="connsiteX69" fmla="*/ 10000 w 10000"/>
                <a:gd name="connsiteY69" fmla="*/ 843 h 10000"/>
                <a:gd name="connsiteX70" fmla="*/ 9510 w 10000"/>
                <a:gd name="connsiteY70" fmla="*/ 964 h 10000"/>
                <a:gd name="connsiteX71" fmla="*/ 9118 w 10000"/>
                <a:gd name="connsiteY71" fmla="*/ 964 h 10000"/>
                <a:gd name="connsiteX72" fmla="*/ 9216 w 10000"/>
                <a:gd name="connsiteY72" fmla="*/ 1084 h 10000"/>
                <a:gd name="connsiteX73" fmla="*/ 9706 w 10000"/>
                <a:gd name="connsiteY73" fmla="*/ 1205 h 10000"/>
                <a:gd name="connsiteX74" fmla="*/ 9706 w 10000"/>
                <a:gd name="connsiteY74" fmla="*/ 1205 h 10000"/>
                <a:gd name="connsiteX75" fmla="*/ 9608 w 10000"/>
                <a:gd name="connsiteY75" fmla="*/ 1566 h 10000"/>
                <a:gd name="connsiteX76" fmla="*/ 9412 w 10000"/>
                <a:gd name="connsiteY76" fmla="*/ 1928 h 10000"/>
                <a:gd name="connsiteX77" fmla="*/ 9216 w 10000"/>
                <a:gd name="connsiteY77" fmla="*/ 1928 h 10000"/>
                <a:gd name="connsiteX78" fmla="*/ 9118 w 10000"/>
                <a:gd name="connsiteY78" fmla="*/ 1928 h 10000"/>
                <a:gd name="connsiteX79" fmla="*/ 9118 w 10000"/>
                <a:gd name="connsiteY79" fmla="*/ 1566 h 10000"/>
                <a:gd name="connsiteX80" fmla="*/ 8922 w 10000"/>
                <a:gd name="connsiteY80" fmla="*/ 1325 h 10000"/>
                <a:gd name="connsiteX81" fmla="*/ 8627 w 10000"/>
                <a:gd name="connsiteY81" fmla="*/ 1205 h 10000"/>
                <a:gd name="connsiteX82" fmla="*/ 8235 w 10000"/>
                <a:gd name="connsiteY82" fmla="*/ 1325 h 10000"/>
                <a:gd name="connsiteX83" fmla="*/ 7941 w 10000"/>
                <a:gd name="connsiteY83" fmla="*/ 1807 h 10000"/>
                <a:gd name="connsiteX84" fmla="*/ 7745 w 10000"/>
                <a:gd name="connsiteY84" fmla="*/ 2169 h 10000"/>
                <a:gd name="connsiteX85" fmla="*/ 7255 w 10000"/>
                <a:gd name="connsiteY85" fmla="*/ 2048 h 10000"/>
                <a:gd name="connsiteX86" fmla="*/ 6765 w 10000"/>
                <a:gd name="connsiteY86" fmla="*/ 2048 h 10000"/>
                <a:gd name="connsiteX87" fmla="*/ 6275 w 10000"/>
                <a:gd name="connsiteY87" fmla="*/ 1687 h 10000"/>
                <a:gd name="connsiteX88" fmla="*/ 6078 w 10000"/>
                <a:gd name="connsiteY88" fmla="*/ 1807 h 10000"/>
                <a:gd name="connsiteX89" fmla="*/ 5882 w 10000"/>
                <a:gd name="connsiteY89" fmla="*/ 1807 h 10000"/>
                <a:gd name="connsiteX90" fmla="*/ 5784 w 10000"/>
                <a:gd name="connsiteY90" fmla="*/ 2289 h 10000"/>
                <a:gd name="connsiteX91" fmla="*/ 5098 w 10000"/>
                <a:gd name="connsiteY91" fmla="*/ 2289 h 10000"/>
                <a:gd name="connsiteX92" fmla="*/ 5000 w 10000"/>
                <a:gd name="connsiteY92" fmla="*/ 2771 h 10000"/>
                <a:gd name="connsiteX93" fmla="*/ 4706 w 10000"/>
                <a:gd name="connsiteY93" fmla="*/ 2651 h 10000"/>
                <a:gd name="connsiteX94" fmla="*/ 4412 w 10000"/>
                <a:gd name="connsiteY94" fmla="*/ 3133 h 10000"/>
                <a:gd name="connsiteX95" fmla="*/ 4412 w 10000"/>
                <a:gd name="connsiteY95" fmla="*/ 3373 h 10000"/>
                <a:gd name="connsiteX96" fmla="*/ 4118 w 10000"/>
                <a:gd name="connsiteY96" fmla="*/ 3976 h 10000"/>
                <a:gd name="connsiteX97" fmla="*/ 3725 w 10000"/>
                <a:gd name="connsiteY97" fmla="*/ 4217 h 10000"/>
                <a:gd name="connsiteX98" fmla="*/ 3725 w 10000"/>
                <a:gd name="connsiteY98" fmla="*/ 4699 h 10000"/>
                <a:gd name="connsiteX99" fmla="*/ 3333 w 10000"/>
                <a:gd name="connsiteY99" fmla="*/ 5181 h 10000"/>
                <a:gd name="connsiteX100" fmla="*/ 3529 w 10000"/>
                <a:gd name="connsiteY100" fmla="*/ 5422 h 10000"/>
                <a:gd name="connsiteX101" fmla="*/ 3431 w 10000"/>
                <a:gd name="connsiteY101" fmla="*/ 5904 h 10000"/>
                <a:gd name="connsiteX102" fmla="*/ 3137 w 10000"/>
                <a:gd name="connsiteY102" fmla="*/ 5783 h 10000"/>
                <a:gd name="connsiteX103" fmla="*/ 2900 w 10000"/>
                <a:gd name="connsiteY103" fmla="*/ 6145 h 10000"/>
                <a:gd name="connsiteX104" fmla="*/ 2900 w 10000"/>
                <a:gd name="connsiteY104" fmla="*/ 7229 h 10000"/>
                <a:gd name="connsiteX105" fmla="*/ 3039 w 10000"/>
                <a:gd name="connsiteY105" fmla="*/ 7711 h 10000"/>
                <a:gd name="connsiteX106" fmla="*/ 2843 w 10000"/>
                <a:gd name="connsiteY106" fmla="*/ 7952 h 10000"/>
                <a:gd name="connsiteX107" fmla="*/ 2941 w 10000"/>
                <a:gd name="connsiteY107" fmla="*/ 8434 h 10000"/>
                <a:gd name="connsiteX108" fmla="*/ 2647 w 10000"/>
                <a:gd name="connsiteY108" fmla="*/ 8675 h 10000"/>
                <a:gd name="connsiteX109" fmla="*/ 2647 w 10000"/>
                <a:gd name="connsiteY109" fmla="*/ 9277 h 10000"/>
                <a:gd name="connsiteX110" fmla="*/ 2451 w 10000"/>
                <a:gd name="connsiteY110" fmla="*/ 9398 h 10000"/>
                <a:gd name="connsiteX111" fmla="*/ 2353 w 10000"/>
                <a:gd name="connsiteY111" fmla="*/ 9036 h 10000"/>
                <a:gd name="connsiteX112" fmla="*/ 2255 w 10000"/>
                <a:gd name="connsiteY112" fmla="*/ 8675 h 10000"/>
                <a:gd name="connsiteX113" fmla="*/ 2157 w 10000"/>
                <a:gd name="connsiteY113" fmla="*/ 8675 h 10000"/>
                <a:gd name="connsiteX114" fmla="*/ 2059 w 10000"/>
                <a:gd name="connsiteY114" fmla="*/ 9157 h 10000"/>
                <a:gd name="connsiteX115" fmla="*/ 1667 w 10000"/>
                <a:gd name="connsiteY115" fmla="*/ 9518 h 10000"/>
                <a:gd name="connsiteX116" fmla="*/ 1078 w 10000"/>
                <a:gd name="connsiteY116" fmla="*/ 10000 h 10000"/>
                <a:gd name="connsiteX117" fmla="*/ 294 w 10000"/>
                <a:gd name="connsiteY117" fmla="*/ 9518 h 10000"/>
                <a:gd name="connsiteX118" fmla="*/ 588 w 10000"/>
                <a:gd name="connsiteY118" fmla="*/ 9036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0000" h="10000">
                  <a:moveTo>
                    <a:pt x="588" y="9036"/>
                  </a:moveTo>
                  <a:cubicBezTo>
                    <a:pt x="490" y="9036"/>
                    <a:pt x="294" y="9157"/>
                    <a:pt x="196" y="9036"/>
                  </a:cubicBezTo>
                  <a:lnTo>
                    <a:pt x="196" y="8675"/>
                  </a:lnTo>
                  <a:cubicBezTo>
                    <a:pt x="196" y="8554"/>
                    <a:pt x="0" y="8193"/>
                    <a:pt x="0" y="8193"/>
                  </a:cubicBezTo>
                  <a:cubicBezTo>
                    <a:pt x="196" y="8072"/>
                    <a:pt x="1078" y="8072"/>
                    <a:pt x="1078" y="7831"/>
                  </a:cubicBezTo>
                  <a:cubicBezTo>
                    <a:pt x="980" y="7590"/>
                    <a:pt x="98" y="7831"/>
                    <a:pt x="0" y="7831"/>
                  </a:cubicBezTo>
                  <a:cubicBezTo>
                    <a:pt x="0" y="7711"/>
                    <a:pt x="0" y="7590"/>
                    <a:pt x="98" y="7590"/>
                  </a:cubicBezTo>
                  <a:cubicBezTo>
                    <a:pt x="196" y="7470"/>
                    <a:pt x="0" y="7349"/>
                    <a:pt x="98" y="7229"/>
                  </a:cubicBezTo>
                  <a:cubicBezTo>
                    <a:pt x="196" y="7108"/>
                    <a:pt x="294" y="6988"/>
                    <a:pt x="392" y="6988"/>
                  </a:cubicBezTo>
                  <a:cubicBezTo>
                    <a:pt x="490" y="6988"/>
                    <a:pt x="588" y="6627"/>
                    <a:pt x="686" y="6627"/>
                  </a:cubicBezTo>
                  <a:cubicBezTo>
                    <a:pt x="686" y="6506"/>
                    <a:pt x="980" y="6747"/>
                    <a:pt x="980" y="6747"/>
                  </a:cubicBezTo>
                  <a:cubicBezTo>
                    <a:pt x="1078" y="6747"/>
                    <a:pt x="882" y="6386"/>
                    <a:pt x="980" y="6386"/>
                  </a:cubicBezTo>
                  <a:cubicBezTo>
                    <a:pt x="1078" y="6386"/>
                    <a:pt x="1176" y="6265"/>
                    <a:pt x="1275" y="6265"/>
                  </a:cubicBezTo>
                  <a:cubicBezTo>
                    <a:pt x="1373" y="6265"/>
                    <a:pt x="1275" y="6024"/>
                    <a:pt x="1373" y="6024"/>
                  </a:cubicBezTo>
                  <a:cubicBezTo>
                    <a:pt x="1471" y="5904"/>
                    <a:pt x="1471" y="5904"/>
                    <a:pt x="1569" y="5904"/>
                  </a:cubicBezTo>
                  <a:cubicBezTo>
                    <a:pt x="1667" y="5904"/>
                    <a:pt x="1667" y="6265"/>
                    <a:pt x="1667" y="6265"/>
                  </a:cubicBezTo>
                  <a:cubicBezTo>
                    <a:pt x="1765" y="6145"/>
                    <a:pt x="1863" y="6024"/>
                    <a:pt x="1863" y="5904"/>
                  </a:cubicBezTo>
                  <a:cubicBezTo>
                    <a:pt x="1863" y="5783"/>
                    <a:pt x="2255" y="5301"/>
                    <a:pt x="2255" y="5301"/>
                  </a:cubicBezTo>
                  <a:cubicBezTo>
                    <a:pt x="2255" y="5301"/>
                    <a:pt x="2353" y="5542"/>
                    <a:pt x="2451" y="5542"/>
                  </a:cubicBezTo>
                  <a:cubicBezTo>
                    <a:pt x="2549" y="5422"/>
                    <a:pt x="2451" y="5181"/>
                    <a:pt x="2451" y="5181"/>
                  </a:cubicBezTo>
                  <a:lnTo>
                    <a:pt x="2255" y="4940"/>
                  </a:lnTo>
                  <a:cubicBezTo>
                    <a:pt x="2255" y="4940"/>
                    <a:pt x="2549" y="5060"/>
                    <a:pt x="2647" y="4940"/>
                  </a:cubicBezTo>
                  <a:cubicBezTo>
                    <a:pt x="2745" y="4940"/>
                    <a:pt x="2745" y="4699"/>
                    <a:pt x="2745" y="4699"/>
                  </a:cubicBezTo>
                  <a:cubicBezTo>
                    <a:pt x="2843" y="4578"/>
                    <a:pt x="2941" y="4458"/>
                    <a:pt x="2843" y="4337"/>
                  </a:cubicBezTo>
                  <a:cubicBezTo>
                    <a:pt x="2843" y="4337"/>
                    <a:pt x="2745" y="4217"/>
                    <a:pt x="2843" y="4096"/>
                  </a:cubicBezTo>
                  <a:lnTo>
                    <a:pt x="3235" y="4217"/>
                  </a:lnTo>
                  <a:cubicBezTo>
                    <a:pt x="3333" y="4096"/>
                    <a:pt x="3431" y="4096"/>
                    <a:pt x="3431" y="3976"/>
                  </a:cubicBezTo>
                  <a:cubicBezTo>
                    <a:pt x="3431" y="3855"/>
                    <a:pt x="3039" y="3976"/>
                    <a:pt x="3039" y="3855"/>
                  </a:cubicBezTo>
                  <a:cubicBezTo>
                    <a:pt x="3039" y="3735"/>
                    <a:pt x="3235" y="3614"/>
                    <a:pt x="3235" y="3614"/>
                  </a:cubicBezTo>
                  <a:cubicBezTo>
                    <a:pt x="3333" y="3494"/>
                    <a:pt x="3627" y="3373"/>
                    <a:pt x="3627" y="3253"/>
                  </a:cubicBezTo>
                  <a:cubicBezTo>
                    <a:pt x="3725" y="3133"/>
                    <a:pt x="3725" y="2892"/>
                    <a:pt x="3824" y="2771"/>
                  </a:cubicBezTo>
                  <a:cubicBezTo>
                    <a:pt x="3922" y="2771"/>
                    <a:pt x="4314" y="2530"/>
                    <a:pt x="4314" y="2410"/>
                  </a:cubicBezTo>
                  <a:cubicBezTo>
                    <a:pt x="4314" y="2410"/>
                    <a:pt x="4020" y="2289"/>
                    <a:pt x="3922" y="2410"/>
                  </a:cubicBezTo>
                  <a:cubicBezTo>
                    <a:pt x="3824" y="2410"/>
                    <a:pt x="3431" y="2530"/>
                    <a:pt x="3333" y="2651"/>
                  </a:cubicBezTo>
                  <a:cubicBezTo>
                    <a:pt x="3235" y="2651"/>
                    <a:pt x="3039" y="2892"/>
                    <a:pt x="3039" y="2771"/>
                  </a:cubicBezTo>
                  <a:cubicBezTo>
                    <a:pt x="3039" y="2771"/>
                    <a:pt x="3333" y="2289"/>
                    <a:pt x="3431" y="2289"/>
                  </a:cubicBezTo>
                  <a:cubicBezTo>
                    <a:pt x="3627" y="2289"/>
                    <a:pt x="3627" y="2169"/>
                    <a:pt x="3725" y="2169"/>
                  </a:cubicBezTo>
                  <a:cubicBezTo>
                    <a:pt x="3824" y="2048"/>
                    <a:pt x="3824" y="1807"/>
                    <a:pt x="3824" y="1807"/>
                  </a:cubicBezTo>
                  <a:cubicBezTo>
                    <a:pt x="3922" y="1807"/>
                    <a:pt x="4216" y="1566"/>
                    <a:pt x="4314" y="1566"/>
                  </a:cubicBezTo>
                  <a:cubicBezTo>
                    <a:pt x="4314" y="1566"/>
                    <a:pt x="4216" y="1928"/>
                    <a:pt x="4314" y="1928"/>
                  </a:cubicBezTo>
                  <a:cubicBezTo>
                    <a:pt x="4412" y="1928"/>
                    <a:pt x="4510" y="2048"/>
                    <a:pt x="4608" y="2048"/>
                  </a:cubicBezTo>
                  <a:lnTo>
                    <a:pt x="4804" y="1807"/>
                  </a:lnTo>
                  <a:cubicBezTo>
                    <a:pt x="4804" y="1687"/>
                    <a:pt x="4608" y="1566"/>
                    <a:pt x="4608" y="1446"/>
                  </a:cubicBezTo>
                  <a:cubicBezTo>
                    <a:pt x="4706" y="1446"/>
                    <a:pt x="4902" y="1446"/>
                    <a:pt x="5000" y="1205"/>
                  </a:cubicBezTo>
                  <a:cubicBezTo>
                    <a:pt x="5098" y="1205"/>
                    <a:pt x="5196" y="964"/>
                    <a:pt x="5294" y="843"/>
                  </a:cubicBezTo>
                  <a:lnTo>
                    <a:pt x="5784" y="843"/>
                  </a:lnTo>
                  <a:lnTo>
                    <a:pt x="6078" y="843"/>
                  </a:lnTo>
                  <a:cubicBezTo>
                    <a:pt x="6176" y="843"/>
                    <a:pt x="6078" y="1205"/>
                    <a:pt x="6176" y="1205"/>
                  </a:cubicBezTo>
                  <a:cubicBezTo>
                    <a:pt x="6373" y="1205"/>
                    <a:pt x="6373" y="964"/>
                    <a:pt x="6373" y="964"/>
                  </a:cubicBezTo>
                  <a:cubicBezTo>
                    <a:pt x="6373" y="1084"/>
                    <a:pt x="6471" y="1205"/>
                    <a:pt x="6569" y="1205"/>
                  </a:cubicBezTo>
                  <a:cubicBezTo>
                    <a:pt x="6667" y="1205"/>
                    <a:pt x="6471" y="843"/>
                    <a:pt x="6569" y="723"/>
                  </a:cubicBezTo>
                  <a:cubicBezTo>
                    <a:pt x="6667" y="723"/>
                    <a:pt x="6765" y="723"/>
                    <a:pt x="6863" y="843"/>
                  </a:cubicBezTo>
                  <a:cubicBezTo>
                    <a:pt x="6961" y="964"/>
                    <a:pt x="6961" y="1084"/>
                    <a:pt x="6961" y="1084"/>
                  </a:cubicBezTo>
                  <a:cubicBezTo>
                    <a:pt x="7059" y="1084"/>
                    <a:pt x="7059" y="482"/>
                    <a:pt x="7059" y="482"/>
                  </a:cubicBezTo>
                  <a:lnTo>
                    <a:pt x="7353" y="482"/>
                  </a:lnTo>
                  <a:cubicBezTo>
                    <a:pt x="7451" y="482"/>
                    <a:pt x="7549" y="361"/>
                    <a:pt x="7549" y="241"/>
                  </a:cubicBezTo>
                  <a:cubicBezTo>
                    <a:pt x="7549" y="120"/>
                    <a:pt x="7647" y="120"/>
                    <a:pt x="7745" y="120"/>
                  </a:cubicBezTo>
                  <a:cubicBezTo>
                    <a:pt x="7745" y="120"/>
                    <a:pt x="7941" y="0"/>
                    <a:pt x="8039" y="0"/>
                  </a:cubicBezTo>
                  <a:cubicBezTo>
                    <a:pt x="8039" y="120"/>
                    <a:pt x="7941" y="361"/>
                    <a:pt x="7843" y="482"/>
                  </a:cubicBezTo>
                  <a:cubicBezTo>
                    <a:pt x="7745" y="482"/>
                    <a:pt x="7647" y="964"/>
                    <a:pt x="7647" y="964"/>
                  </a:cubicBezTo>
                  <a:cubicBezTo>
                    <a:pt x="7647" y="964"/>
                    <a:pt x="7941" y="843"/>
                    <a:pt x="7941" y="723"/>
                  </a:cubicBezTo>
                  <a:cubicBezTo>
                    <a:pt x="8039" y="602"/>
                    <a:pt x="8235" y="120"/>
                    <a:pt x="8333" y="120"/>
                  </a:cubicBezTo>
                  <a:lnTo>
                    <a:pt x="8333" y="723"/>
                  </a:lnTo>
                  <a:cubicBezTo>
                    <a:pt x="8431" y="723"/>
                    <a:pt x="8627" y="482"/>
                    <a:pt x="8725" y="361"/>
                  </a:cubicBezTo>
                  <a:lnTo>
                    <a:pt x="8725" y="120"/>
                  </a:lnTo>
                  <a:lnTo>
                    <a:pt x="9020" y="120"/>
                  </a:lnTo>
                  <a:cubicBezTo>
                    <a:pt x="9020" y="241"/>
                    <a:pt x="8922" y="602"/>
                    <a:pt x="9020" y="602"/>
                  </a:cubicBezTo>
                  <a:cubicBezTo>
                    <a:pt x="9118" y="602"/>
                    <a:pt x="9216" y="241"/>
                    <a:pt x="9314" y="361"/>
                  </a:cubicBezTo>
                  <a:cubicBezTo>
                    <a:pt x="9412" y="482"/>
                    <a:pt x="9804" y="482"/>
                    <a:pt x="9902" y="602"/>
                  </a:cubicBezTo>
                  <a:cubicBezTo>
                    <a:pt x="10000" y="723"/>
                    <a:pt x="10000" y="843"/>
                    <a:pt x="10000" y="843"/>
                  </a:cubicBezTo>
                  <a:cubicBezTo>
                    <a:pt x="9902" y="843"/>
                    <a:pt x="9608" y="964"/>
                    <a:pt x="9510" y="964"/>
                  </a:cubicBezTo>
                  <a:cubicBezTo>
                    <a:pt x="9412" y="964"/>
                    <a:pt x="9118" y="843"/>
                    <a:pt x="9118" y="964"/>
                  </a:cubicBezTo>
                  <a:cubicBezTo>
                    <a:pt x="9151" y="1004"/>
                    <a:pt x="9183" y="1044"/>
                    <a:pt x="9216" y="1084"/>
                  </a:cubicBezTo>
                  <a:cubicBezTo>
                    <a:pt x="9314" y="1205"/>
                    <a:pt x="9608" y="1205"/>
                    <a:pt x="9706" y="1205"/>
                  </a:cubicBezTo>
                  <a:lnTo>
                    <a:pt x="9706" y="1205"/>
                  </a:lnTo>
                  <a:cubicBezTo>
                    <a:pt x="9706" y="1205"/>
                    <a:pt x="9706" y="1446"/>
                    <a:pt x="9608" y="1566"/>
                  </a:cubicBezTo>
                  <a:cubicBezTo>
                    <a:pt x="9510" y="1687"/>
                    <a:pt x="9412" y="1566"/>
                    <a:pt x="9412" y="1928"/>
                  </a:cubicBezTo>
                  <a:cubicBezTo>
                    <a:pt x="9412" y="2048"/>
                    <a:pt x="9314" y="2048"/>
                    <a:pt x="9216" y="1928"/>
                  </a:cubicBezTo>
                  <a:lnTo>
                    <a:pt x="9118" y="1928"/>
                  </a:lnTo>
                  <a:cubicBezTo>
                    <a:pt x="9020" y="1807"/>
                    <a:pt x="9118" y="1687"/>
                    <a:pt x="9118" y="1566"/>
                  </a:cubicBezTo>
                  <a:cubicBezTo>
                    <a:pt x="9118" y="1446"/>
                    <a:pt x="9020" y="1325"/>
                    <a:pt x="8922" y="1325"/>
                  </a:cubicBezTo>
                  <a:cubicBezTo>
                    <a:pt x="8824" y="1205"/>
                    <a:pt x="8725" y="1205"/>
                    <a:pt x="8627" y="1205"/>
                  </a:cubicBezTo>
                  <a:cubicBezTo>
                    <a:pt x="8529" y="1205"/>
                    <a:pt x="8235" y="1205"/>
                    <a:pt x="8235" y="1325"/>
                  </a:cubicBezTo>
                  <a:cubicBezTo>
                    <a:pt x="8137" y="1325"/>
                    <a:pt x="7941" y="1687"/>
                    <a:pt x="7941" y="1807"/>
                  </a:cubicBezTo>
                  <a:cubicBezTo>
                    <a:pt x="7941" y="1928"/>
                    <a:pt x="7843" y="2048"/>
                    <a:pt x="7745" y="2169"/>
                  </a:cubicBezTo>
                  <a:cubicBezTo>
                    <a:pt x="7647" y="2289"/>
                    <a:pt x="7353" y="2048"/>
                    <a:pt x="7255" y="2048"/>
                  </a:cubicBezTo>
                  <a:lnTo>
                    <a:pt x="6765" y="2048"/>
                  </a:lnTo>
                  <a:cubicBezTo>
                    <a:pt x="6667" y="2048"/>
                    <a:pt x="6373" y="1687"/>
                    <a:pt x="6275" y="1687"/>
                  </a:cubicBezTo>
                  <a:cubicBezTo>
                    <a:pt x="6275" y="1687"/>
                    <a:pt x="6176" y="1687"/>
                    <a:pt x="6078" y="1807"/>
                  </a:cubicBezTo>
                  <a:lnTo>
                    <a:pt x="5882" y="1807"/>
                  </a:lnTo>
                  <a:cubicBezTo>
                    <a:pt x="5882" y="1807"/>
                    <a:pt x="5882" y="2289"/>
                    <a:pt x="5784" y="2289"/>
                  </a:cubicBezTo>
                  <a:cubicBezTo>
                    <a:pt x="5686" y="2410"/>
                    <a:pt x="5196" y="2289"/>
                    <a:pt x="5098" y="2289"/>
                  </a:cubicBezTo>
                  <a:cubicBezTo>
                    <a:pt x="5098" y="2289"/>
                    <a:pt x="5000" y="2651"/>
                    <a:pt x="5000" y="2771"/>
                  </a:cubicBezTo>
                  <a:lnTo>
                    <a:pt x="4706" y="2651"/>
                  </a:lnTo>
                  <a:lnTo>
                    <a:pt x="4412" y="3133"/>
                  </a:lnTo>
                  <a:lnTo>
                    <a:pt x="4412" y="3373"/>
                  </a:lnTo>
                  <a:lnTo>
                    <a:pt x="4118" y="3976"/>
                  </a:lnTo>
                  <a:lnTo>
                    <a:pt x="3725" y="4217"/>
                  </a:lnTo>
                  <a:lnTo>
                    <a:pt x="3725" y="4699"/>
                  </a:lnTo>
                  <a:cubicBezTo>
                    <a:pt x="3627" y="4819"/>
                    <a:pt x="3431" y="5181"/>
                    <a:pt x="3333" y="5181"/>
                  </a:cubicBezTo>
                  <a:cubicBezTo>
                    <a:pt x="3333" y="5181"/>
                    <a:pt x="3529" y="5301"/>
                    <a:pt x="3529" y="5422"/>
                  </a:cubicBezTo>
                  <a:cubicBezTo>
                    <a:pt x="3529" y="5542"/>
                    <a:pt x="3529" y="5904"/>
                    <a:pt x="3431" y="5904"/>
                  </a:cubicBezTo>
                  <a:cubicBezTo>
                    <a:pt x="3431" y="5904"/>
                    <a:pt x="3225" y="5743"/>
                    <a:pt x="3137" y="5783"/>
                  </a:cubicBezTo>
                  <a:cubicBezTo>
                    <a:pt x="3049" y="5823"/>
                    <a:pt x="2939" y="5904"/>
                    <a:pt x="2900" y="6145"/>
                  </a:cubicBezTo>
                  <a:cubicBezTo>
                    <a:pt x="2861" y="6386"/>
                    <a:pt x="2998" y="6988"/>
                    <a:pt x="2900" y="7229"/>
                  </a:cubicBezTo>
                  <a:cubicBezTo>
                    <a:pt x="2900" y="7349"/>
                    <a:pt x="3039" y="7590"/>
                    <a:pt x="3039" y="7711"/>
                  </a:cubicBezTo>
                  <a:lnTo>
                    <a:pt x="2843" y="7952"/>
                  </a:lnTo>
                  <a:cubicBezTo>
                    <a:pt x="2843" y="8072"/>
                    <a:pt x="2941" y="8313"/>
                    <a:pt x="2941" y="8434"/>
                  </a:cubicBezTo>
                  <a:cubicBezTo>
                    <a:pt x="2941" y="8554"/>
                    <a:pt x="2745" y="8675"/>
                    <a:pt x="2647" y="8675"/>
                  </a:cubicBezTo>
                  <a:cubicBezTo>
                    <a:pt x="2647" y="8795"/>
                    <a:pt x="2745" y="9036"/>
                    <a:pt x="2647" y="9277"/>
                  </a:cubicBezTo>
                  <a:cubicBezTo>
                    <a:pt x="2549" y="9398"/>
                    <a:pt x="2451" y="9398"/>
                    <a:pt x="2451" y="9398"/>
                  </a:cubicBezTo>
                  <a:cubicBezTo>
                    <a:pt x="2451" y="9277"/>
                    <a:pt x="2451" y="9157"/>
                    <a:pt x="2353" y="9036"/>
                  </a:cubicBezTo>
                  <a:cubicBezTo>
                    <a:pt x="2255" y="8916"/>
                    <a:pt x="2255" y="8795"/>
                    <a:pt x="2255" y="8675"/>
                  </a:cubicBezTo>
                  <a:lnTo>
                    <a:pt x="2157" y="8675"/>
                  </a:lnTo>
                  <a:cubicBezTo>
                    <a:pt x="2059" y="8675"/>
                    <a:pt x="2059" y="9157"/>
                    <a:pt x="2059" y="9157"/>
                  </a:cubicBezTo>
                  <a:cubicBezTo>
                    <a:pt x="1961" y="9277"/>
                    <a:pt x="1765" y="9398"/>
                    <a:pt x="1667" y="9518"/>
                  </a:cubicBezTo>
                  <a:cubicBezTo>
                    <a:pt x="1569" y="9639"/>
                    <a:pt x="1176" y="10000"/>
                    <a:pt x="1078" y="10000"/>
                  </a:cubicBezTo>
                  <a:cubicBezTo>
                    <a:pt x="980" y="10000"/>
                    <a:pt x="294" y="9639"/>
                    <a:pt x="294" y="9518"/>
                  </a:cubicBezTo>
                  <a:cubicBezTo>
                    <a:pt x="294" y="9398"/>
                    <a:pt x="588" y="9157"/>
                    <a:pt x="588" y="903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2" name="Freeform 6395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825611" y="2471836"/>
              <a:ext cx="131244" cy="90968"/>
            </a:xfrm>
            <a:custGeom>
              <a:avLst/>
              <a:gdLst>
                <a:gd name="T0" fmla="*/ 0 w 22"/>
                <a:gd name="T1" fmla="*/ 1 h 13"/>
                <a:gd name="T2" fmla="*/ 4 w 22"/>
                <a:gd name="T3" fmla="*/ 0 h 13"/>
                <a:gd name="T4" fmla="*/ 13 w 22"/>
                <a:gd name="T5" fmla="*/ 1 h 13"/>
                <a:gd name="T6" fmla="*/ 19 w 22"/>
                <a:gd name="T7" fmla="*/ 2 h 13"/>
                <a:gd name="T8" fmla="*/ 22 w 22"/>
                <a:gd name="T9" fmla="*/ 4 h 13"/>
                <a:gd name="T10" fmla="*/ 22 w 22"/>
                <a:gd name="T11" fmla="*/ 7 h 13"/>
                <a:gd name="T12" fmla="*/ 19 w 22"/>
                <a:gd name="T13" fmla="*/ 8 h 13"/>
                <a:gd name="T14" fmla="*/ 18 w 22"/>
                <a:gd name="T15" fmla="*/ 10 h 13"/>
                <a:gd name="T16" fmla="*/ 15 w 22"/>
                <a:gd name="T17" fmla="*/ 12 h 13"/>
                <a:gd name="T18" fmla="*/ 10 w 22"/>
                <a:gd name="T19" fmla="*/ 13 h 13"/>
                <a:gd name="T20" fmla="*/ 10 w 22"/>
                <a:gd name="T21" fmla="*/ 12 h 13"/>
                <a:gd name="T22" fmla="*/ 7 w 22"/>
                <a:gd name="T23" fmla="*/ 10 h 13"/>
                <a:gd name="T24" fmla="*/ 7 w 22"/>
                <a:gd name="T25" fmla="*/ 7 h 13"/>
                <a:gd name="T26" fmla="*/ 1 w 22"/>
                <a:gd name="T27" fmla="*/ 4 h 13"/>
                <a:gd name="T28" fmla="*/ 0 w 22"/>
                <a:gd name="T29" fmla="*/ 1 h 13"/>
                <a:gd name="connsiteX0" fmla="*/ 0 w 10000"/>
                <a:gd name="connsiteY0" fmla="*/ 1270 h 10501"/>
                <a:gd name="connsiteX1" fmla="*/ 1818 w 10000"/>
                <a:gd name="connsiteY1" fmla="*/ 501 h 10501"/>
                <a:gd name="connsiteX2" fmla="*/ 5909 w 10000"/>
                <a:gd name="connsiteY2" fmla="*/ 0 h 10501"/>
                <a:gd name="connsiteX3" fmla="*/ 8636 w 10000"/>
                <a:gd name="connsiteY3" fmla="*/ 2039 h 10501"/>
                <a:gd name="connsiteX4" fmla="*/ 10000 w 10000"/>
                <a:gd name="connsiteY4" fmla="*/ 3578 h 10501"/>
                <a:gd name="connsiteX5" fmla="*/ 10000 w 10000"/>
                <a:gd name="connsiteY5" fmla="*/ 5886 h 10501"/>
                <a:gd name="connsiteX6" fmla="*/ 8636 w 10000"/>
                <a:gd name="connsiteY6" fmla="*/ 6655 h 10501"/>
                <a:gd name="connsiteX7" fmla="*/ 8182 w 10000"/>
                <a:gd name="connsiteY7" fmla="*/ 8193 h 10501"/>
                <a:gd name="connsiteX8" fmla="*/ 6818 w 10000"/>
                <a:gd name="connsiteY8" fmla="*/ 9732 h 10501"/>
                <a:gd name="connsiteX9" fmla="*/ 4545 w 10000"/>
                <a:gd name="connsiteY9" fmla="*/ 10501 h 10501"/>
                <a:gd name="connsiteX10" fmla="*/ 4545 w 10000"/>
                <a:gd name="connsiteY10" fmla="*/ 9732 h 10501"/>
                <a:gd name="connsiteX11" fmla="*/ 3182 w 10000"/>
                <a:gd name="connsiteY11" fmla="*/ 8193 h 10501"/>
                <a:gd name="connsiteX12" fmla="*/ 3182 w 10000"/>
                <a:gd name="connsiteY12" fmla="*/ 5886 h 10501"/>
                <a:gd name="connsiteX13" fmla="*/ 455 w 10000"/>
                <a:gd name="connsiteY13" fmla="*/ 3578 h 10501"/>
                <a:gd name="connsiteX14" fmla="*/ 0 w 10000"/>
                <a:gd name="connsiteY14" fmla="*/ 1270 h 10501"/>
                <a:gd name="connsiteX0" fmla="*/ 0 w 10000"/>
                <a:gd name="connsiteY0" fmla="*/ 2088 h 11319"/>
                <a:gd name="connsiteX1" fmla="*/ 1999 w 10000"/>
                <a:gd name="connsiteY1" fmla="*/ 49 h 11319"/>
                <a:gd name="connsiteX2" fmla="*/ 5909 w 10000"/>
                <a:gd name="connsiteY2" fmla="*/ 818 h 11319"/>
                <a:gd name="connsiteX3" fmla="*/ 8636 w 10000"/>
                <a:gd name="connsiteY3" fmla="*/ 2857 h 11319"/>
                <a:gd name="connsiteX4" fmla="*/ 10000 w 10000"/>
                <a:gd name="connsiteY4" fmla="*/ 4396 h 11319"/>
                <a:gd name="connsiteX5" fmla="*/ 10000 w 10000"/>
                <a:gd name="connsiteY5" fmla="*/ 6704 h 11319"/>
                <a:gd name="connsiteX6" fmla="*/ 8636 w 10000"/>
                <a:gd name="connsiteY6" fmla="*/ 7473 h 11319"/>
                <a:gd name="connsiteX7" fmla="*/ 8182 w 10000"/>
                <a:gd name="connsiteY7" fmla="*/ 9011 h 11319"/>
                <a:gd name="connsiteX8" fmla="*/ 6818 w 10000"/>
                <a:gd name="connsiteY8" fmla="*/ 10550 h 11319"/>
                <a:gd name="connsiteX9" fmla="*/ 4545 w 10000"/>
                <a:gd name="connsiteY9" fmla="*/ 11319 h 11319"/>
                <a:gd name="connsiteX10" fmla="*/ 4545 w 10000"/>
                <a:gd name="connsiteY10" fmla="*/ 10550 h 11319"/>
                <a:gd name="connsiteX11" fmla="*/ 3182 w 10000"/>
                <a:gd name="connsiteY11" fmla="*/ 9011 h 11319"/>
                <a:gd name="connsiteX12" fmla="*/ 3182 w 10000"/>
                <a:gd name="connsiteY12" fmla="*/ 6704 h 11319"/>
                <a:gd name="connsiteX13" fmla="*/ 455 w 10000"/>
                <a:gd name="connsiteY13" fmla="*/ 4396 h 11319"/>
                <a:gd name="connsiteX14" fmla="*/ 0 w 10000"/>
                <a:gd name="connsiteY14" fmla="*/ 2088 h 11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00" h="11319">
                  <a:moveTo>
                    <a:pt x="0" y="2088"/>
                  </a:moveTo>
                  <a:cubicBezTo>
                    <a:pt x="0" y="2088"/>
                    <a:pt x="1014" y="261"/>
                    <a:pt x="1999" y="49"/>
                  </a:cubicBezTo>
                  <a:cubicBezTo>
                    <a:pt x="2984" y="-163"/>
                    <a:pt x="4803" y="350"/>
                    <a:pt x="5909" y="818"/>
                  </a:cubicBezTo>
                  <a:cubicBezTo>
                    <a:pt x="7015" y="1286"/>
                    <a:pt x="7954" y="2261"/>
                    <a:pt x="8636" y="2857"/>
                  </a:cubicBezTo>
                  <a:cubicBezTo>
                    <a:pt x="9318" y="3453"/>
                    <a:pt x="9545" y="4396"/>
                    <a:pt x="10000" y="4396"/>
                  </a:cubicBezTo>
                  <a:lnTo>
                    <a:pt x="10000" y="6704"/>
                  </a:lnTo>
                  <a:lnTo>
                    <a:pt x="8636" y="7473"/>
                  </a:lnTo>
                  <a:cubicBezTo>
                    <a:pt x="8636" y="7473"/>
                    <a:pt x="8636" y="9011"/>
                    <a:pt x="8182" y="9011"/>
                  </a:cubicBezTo>
                  <a:cubicBezTo>
                    <a:pt x="8182" y="9781"/>
                    <a:pt x="7273" y="9781"/>
                    <a:pt x="6818" y="10550"/>
                  </a:cubicBezTo>
                  <a:cubicBezTo>
                    <a:pt x="6364" y="11319"/>
                    <a:pt x="4545" y="11319"/>
                    <a:pt x="4545" y="11319"/>
                  </a:cubicBezTo>
                  <a:lnTo>
                    <a:pt x="4545" y="10550"/>
                  </a:lnTo>
                  <a:cubicBezTo>
                    <a:pt x="4545" y="9781"/>
                    <a:pt x="3636" y="9011"/>
                    <a:pt x="3182" y="9011"/>
                  </a:cubicBezTo>
                  <a:cubicBezTo>
                    <a:pt x="3182" y="9011"/>
                    <a:pt x="3636" y="7473"/>
                    <a:pt x="3182" y="6704"/>
                  </a:cubicBezTo>
                  <a:lnTo>
                    <a:pt x="455" y="4396"/>
                  </a:lnTo>
                  <a:cubicBezTo>
                    <a:pt x="455" y="4396"/>
                    <a:pt x="0" y="2857"/>
                    <a:pt x="0" y="208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3" name="Freeform 6389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852287" y="2615163"/>
              <a:ext cx="422783" cy="261111"/>
            </a:xfrm>
            <a:custGeom>
              <a:avLst/>
              <a:gdLst>
                <a:gd name="T0" fmla="*/ 1 w 70"/>
                <a:gd name="T1" fmla="*/ 20 h 41"/>
                <a:gd name="T2" fmla="*/ 2 w 70"/>
                <a:gd name="T3" fmla="*/ 18 h 41"/>
                <a:gd name="T4" fmla="*/ 4 w 70"/>
                <a:gd name="T5" fmla="*/ 17 h 41"/>
                <a:gd name="T6" fmla="*/ 3 w 70"/>
                <a:gd name="T7" fmla="*/ 14 h 41"/>
                <a:gd name="T8" fmla="*/ 6 w 70"/>
                <a:gd name="T9" fmla="*/ 11 h 41"/>
                <a:gd name="T10" fmla="*/ 8 w 70"/>
                <a:gd name="T11" fmla="*/ 10 h 41"/>
                <a:gd name="T12" fmla="*/ 6 w 70"/>
                <a:gd name="T13" fmla="*/ 5 h 41"/>
                <a:gd name="T14" fmla="*/ 6 w 70"/>
                <a:gd name="T15" fmla="*/ 5 h 41"/>
                <a:gd name="T16" fmla="*/ 6 w 70"/>
                <a:gd name="T17" fmla="*/ 5 h 41"/>
                <a:gd name="T18" fmla="*/ 10 w 70"/>
                <a:gd name="T19" fmla="*/ 3 h 41"/>
                <a:gd name="T20" fmla="*/ 14 w 70"/>
                <a:gd name="T21" fmla="*/ 2 h 41"/>
                <a:gd name="T22" fmla="*/ 22 w 70"/>
                <a:gd name="T23" fmla="*/ 4 h 41"/>
                <a:gd name="T24" fmla="*/ 29 w 70"/>
                <a:gd name="T25" fmla="*/ 5 h 41"/>
                <a:gd name="T26" fmla="*/ 33 w 70"/>
                <a:gd name="T27" fmla="*/ 6 h 41"/>
                <a:gd name="T28" fmla="*/ 35 w 70"/>
                <a:gd name="T29" fmla="*/ 2 h 41"/>
                <a:gd name="T30" fmla="*/ 37 w 70"/>
                <a:gd name="T31" fmla="*/ 2 h 41"/>
                <a:gd name="T32" fmla="*/ 41 w 70"/>
                <a:gd name="T33" fmla="*/ 1 h 41"/>
                <a:gd name="T34" fmla="*/ 46 w 70"/>
                <a:gd name="T35" fmla="*/ 0 h 41"/>
                <a:gd name="T36" fmla="*/ 47 w 70"/>
                <a:gd name="T37" fmla="*/ 5 h 41"/>
                <a:gd name="T38" fmla="*/ 51 w 70"/>
                <a:gd name="T39" fmla="*/ 7 h 41"/>
                <a:gd name="T40" fmla="*/ 53 w 70"/>
                <a:gd name="T41" fmla="*/ 10 h 41"/>
                <a:gd name="T42" fmla="*/ 63 w 70"/>
                <a:gd name="T43" fmla="*/ 13 h 41"/>
                <a:gd name="T44" fmla="*/ 70 w 70"/>
                <a:gd name="T45" fmla="*/ 15 h 41"/>
                <a:gd name="T46" fmla="*/ 70 w 70"/>
                <a:gd name="T47" fmla="*/ 20 h 41"/>
                <a:gd name="T48" fmla="*/ 68 w 70"/>
                <a:gd name="T49" fmla="*/ 23 h 41"/>
                <a:gd name="T50" fmla="*/ 63 w 70"/>
                <a:gd name="T51" fmla="*/ 24 h 41"/>
                <a:gd name="T52" fmla="*/ 63 w 70"/>
                <a:gd name="T53" fmla="*/ 26 h 41"/>
                <a:gd name="T54" fmla="*/ 60 w 70"/>
                <a:gd name="T55" fmla="*/ 27 h 41"/>
                <a:gd name="T56" fmla="*/ 50 w 70"/>
                <a:gd name="T57" fmla="*/ 31 h 41"/>
                <a:gd name="T58" fmla="*/ 49 w 70"/>
                <a:gd name="T59" fmla="*/ 33 h 41"/>
                <a:gd name="T60" fmla="*/ 52 w 70"/>
                <a:gd name="T61" fmla="*/ 35 h 41"/>
                <a:gd name="T62" fmla="*/ 54 w 70"/>
                <a:gd name="T63" fmla="*/ 35 h 41"/>
                <a:gd name="T64" fmla="*/ 54 w 70"/>
                <a:gd name="T65" fmla="*/ 37 h 41"/>
                <a:gd name="T66" fmla="*/ 48 w 70"/>
                <a:gd name="T67" fmla="*/ 39 h 41"/>
                <a:gd name="T68" fmla="*/ 44 w 70"/>
                <a:gd name="T69" fmla="*/ 40 h 41"/>
                <a:gd name="T70" fmla="*/ 44 w 70"/>
                <a:gd name="T71" fmla="*/ 37 h 41"/>
                <a:gd name="T72" fmla="*/ 41 w 70"/>
                <a:gd name="T73" fmla="*/ 36 h 41"/>
                <a:gd name="T74" fmla="*/ 45 w 70"/>
                <a:gd name="T75" fmla="*/ 33 h 41"/>
                <a:gd name="T76" fmla="*/ 43 w 70"/>
                <a:gd name="T77" fmla="*/ 31 h 41"/>
                <a:gd name="T78" fmla="*/ 38 w 70"/>
                <a:gd name="T79" fmla="*/ 31 h 41"/>
                <a:gd name="T80" fmla="*/ 38 w 70"/>
                <a:gd name="T81" fmla="*/ 29 h 41"/>
                <a:gd name="T82" fmla="*/ 34 w 70"/>
                <a:gd name="T83" fmla="*/ 30 h 41"/>
                <a:gd name="T84" fmla="*/ 30 w 70"/>
                <a:gd name="T85" fmla="*/ 34 h 41"/>
                <a:gd name="T86" fmla="*/ 29 w 70"/>
                <a:gd name="T87" fmla="*/ 35 h 41"/>
                <a:gd name="T88" fmla="*/ 27 w 70"/>
                <a:gd name="T89" fmla="*/ 35 h 41"/>
                <a:gd name="T90" fmla="*/ 26 w 70"/>
                <a:gd name="T91" fmla="*/ 35 h 41"/>
                <a:gd name="T92" fmla="*/ 27 w 70"/>
                <a:gd name="T93" fmla="*/ 31 h 41"/>
                <a:gd name="T94" fmla="*/ 29 w 70"/>
                <a:gd name="T95" fmla="*/ 30 h 41"/>
                <a:gd name="T96" fmla="*/ 29 w 70"/>
                <a:gd name="T97" fmla="*/ 26 h 41"/>
                <a:gd name="T98" fmla="*/ 28 w 70"/>
                <a:gd name="T99" fmla="*/ 23 h 41"/>
                <a:gd name="T100" fmla="*/ 24 w 70"/>
                <a:gd name="T101" fmla="*/ 21 h 41"/>
                <a:gd name="T102" fmla="*/ 19 w 70"/>
                <a:gd name="T103" fmla="*/ 21 h 41"/>
                <a:gd name="T104" fmla="*/ 18 w 70"/>
                <a:gd name="T105" fmla="*/ 21 h 41"/>
                <a:gd name="T106" fmla="*/ 15 w 70"/>
                <a:gd name="T107" fmla="*/ 23 h 41"/>
                <a:gd name="T108" fmla="*/ 11 w 70"/>
                <a:gd name="T109" fmla="*/ 24 h 41"/>
                <a:gd name="T110" fmla="*/ 10 w 70"/>
                <a:gd name="T111" fmla="*/ 23 h 41"/>
                <a:gd name="T112" fmla="*/ 7 w 70"/>
                <a:gd name="T113" fmla="*/ 23 h 41"/>
                <a:gd name="T114" fmla="*/ 3 w 70"/>
                <a:gd name="T115" fmla="*/ 22 h 41"/>
                <a:gd name="T116" fmla="*/ 1 w 70"/>
                <a:gd name="T117" fmla="*/ 20 h 41"/>
                <a:gd name="connsiteX0" fmla="*/ 30 w 9887"/>
                <a:gd name="connsiteY0" fmla="*/ 4878 h 9824"/>
                <a:gd name="connsiteX1" fmla="*/ 173 w 9887"/>
                <a:gd name="connsiteY1" fmla="*/ 4390 h 9824"/>
                <a:gd name="connsiteX2" fmla="*/ 458 w 9887"/>
                <a:gd name="connsiteY2" fmla="*/ 4146 h 9824"/>
                <a:gd name="connsiteX3" fmla="*/ 316 w 9887"/>
                <a:gd name="connsiteY3" fmla="*/ 3415 h 9824"/>
                <a:gd name="connsiteX4" fmla="*/ 744 w 9887"/>
                <a:gd name="connsiteY4" fmla="*/ 2683 h 9824"/>
                <a:gd name="connsiteX5" fmla="*/ 1030 w 9887"/>
                <a:gd name="connsiteY5" fmla="*/ 2439 h 9824"/>
                <a:gd name="connsiteX6" fmla="*/ 744 w 9887"/>
                <a:gd name="connsiteY6" fmla="*/ 1220 h 9824"/>
                <a:gd name="connsiteX7" fmla="*/ 744 w 9887"/>
                <a:gd name="connsiteY7" fmla="*/ 1220 h 9824"/>
                <a:gd name="connsiteX8" fmla="*/ 744 w 9887"/>
                <a:gd name="connsiteY8" fmla="*/ 1220 h 9824"/>
                <a:gd name="connsiteX9" fmla="*/ 1316 w 9887"/>
                <a:gd name="connsiteY9" fmla="*/ 732 h 9824"/>
                <a:gd name="connsiteX10" fmla="*/ 1887 w 9887"/>
                <a:gd name="connsiteY10" fmla="*/ 488 h 9824"/>
                <a:gd name="connsiteX11" fmla="*/ 3030 w 9887"/>
                <a:gd name="connsiteY11" fmla="*/ 976 h 9824"/>
                <a:gd name="connsiteX12" fmla="*/ 4030 w 9887"/>
                <a:gd name="connsiteY12" fmla="*/ 1220 h 9824"/>
                <a:gd name="connsiteX13" fmla="*/ 4601 w 9887"/>
                <a:gd name="connsiteY13" fmla="*/ 884 h 9824"/>
                <a:gd name="connsiteX14" fmla="*/ 4887 w 9887"/>
                <a:gd name="connsiteY14" fmla="*/ 488 h 9824"/>
                <a:gd name="connsiteX15" fmla="*/ 5173 w 9887"/>
                <a:gd name="connsiteY15" fmla="*/ 488 h 9824"/>
                <a:gd name="connsiteX16" fmla="*/ 5744 w 9887"/>
                <a:gd name="connsiteY16" fmla="*/ 244 h 9824"/>
                <a:gd name="connsiteX17" fmla="*/ 6458 w 9887"/>
                <a:gd name="connsiteY17" fmla="*/ 0 h 9824"/>
                <a:gd name="connsiteX18" fmla="*/ 6601 w 9887"/>
                <a:gd name="connsiteY18" fmla="*/ 1220 h 9824"/>
                <a:gd name="connsiteX19" fmla="*/ 7173 w 9887"/>
                <a:gd name="connsiteY19" fmla="*/ 1707 h 9824"/>
                <a:gd name="connsiteX20" fmla="*/ 7458 w 9887"/>
                <a:gd name="connsiteY20" fmla="*/ 2439 h 9824"/>
                <a:gd name="connsiteX21" fmla="*/ 8887 w 9887"/>
                <a:gd name="connsiteY21" fmla="*/ 3171 h 9824"/>
                <a:gd name="connsiteX22" fmla="*/ 9887 w 9887"/>
                <a:gd name="connsiteY22" fmla="*/ 3659 h 9824"/>
                <a:gd name="connsiteX23" fmla="*/ 9887 w 9887"/>
                <a:gd name="connsiteY23" fmla="*/ 4878 h 9824"/>
                <a:gd name="connsiteX24" fmla="*/ 9601 w 9887"/>
                <a:gd name="connsiteY24" fmla="*/ 5610 h 9824"/>
                <a:gd name="connsiteX25" fmla="*/ 8887 w 9887"/>
                <a:gd name="connsiteY25" fmla="*/ 5854 h 9824"/>
                <a:gd name="connsiteX26" fmla="*/ 8887 w 9887"/>
                <a:gd name="connsiteY26" fmla="*/ 6341 h 9824"/>
                <a:gd name="connsiteX27" fmla="*/ 8458 w 9887"/>
                <a:gd name="connsiteY27" fmla="*/ 6585 h 9824"/>
                <a:gd name="connsiteX28" fmla="*/ 7030 w 9887"/>
                <a:gd name="connsiteY28" fmla="*/ 7561 h 9824"/>
                <a:gd name="connsiteX29" fmla="*/ 6887 w 9887"/>
                <a:gd name="connsiteY29" fmla="*/ 8049 h 9824"/>
                <a:gd name="connsiteX30" fmla="*/ 7316 w 9887"/>
                <a:gd name="connsiteY30" fmla="*/ 8537 h 9824"/>
                <a:gd name="connsiteX31" fmla="*/ 7601 w 9887"/>
                <a:gd name="connsiteY31" fmla="*/ 8537 h 9824"/>
                <a:gd name="connsiteX32" fmla="*/ 7601 w 9887"/>
                <a:gd name="connsiteY32" fmla="*/ 9024 h 9824"/>
                <a:gd name="connsiteX33" fmla="*/ 6744 w 9887"/>
                <a:gd name="connsiteY33" fmla="*/ 9512 h 9824"/>
                <a:gd name="connsiteX34" fmla="*/ 6173 w 9887"/>
                <a:gd name="connsiteY34" fmla="*/ 9756 h 9824"/>
                <a:gd name="connsiteX35" fmla="*/ 6173 w 9887"/>
                <a:gd name="connsiteY35" fmla="*/ 9024 h 9824"/>
                <a:gd name="connsiteX36" fmla="*/ 5744 w 9887"/>
                <a:gd name="connsiteY36" fmla="*/ 8780 h 9824"/>
                <a:gd name="connsiteX37" fmla="*/ 6316 w 9887"/>
                <a:gd name="connsiteY37" fmla="*/ 8049 h 9824"/>
                <a:gd name="connsiteX38" fmla="*/ 6030 w 9887"/>
                <a:gd name="connsiteY38" fmla="*/ 7561 h 9824"/>
                <a:gd name="connsiteX39" fmla="*/ 5316 w 9887"/>
                <a:gd name="connsiteY39" fmla="*/ 7561 h 9824"/>
                <a:gd name="connsiteX40" fmla="*/ 5316 w 9887"/>
                <a:gd name="connsiteY40" fmla="*/ 7073 h 9824"/>
                <a:gd name="connsiteX41" fmla="*/ 4744 w 9887"/>
                <a:gd name="connsiteY41" fmla="*/ 7317 h 9824"/>
                <a:gd name="connsiteX42" fmla="*/ 4173 w 9887"/>
                <a:gd name="connsiteY42" fmla="*/ 8293 h 9824"/>
                <a:gd name="connsiteX43" fmla="*/ 4030 w 9887"/>
                <a:gd name="connsiteY43" fmla="*/ 8537 h 9824"/>
                <a:gd name="connsiteX44" fmla="*/ 3744 w 9887"/>
                <a:gd name="connsiteY44" fmla="*/ 8537 h 9824"/>
                <a:gd name="connsiteX45" fmla="*/ 3601 w 9887"/>
                <a:gd name="connsiteY45" fmla="*/ 8537 h 9824"/>
                <a:gd name="connsiteX46" fmla="*/ 3744 w 9887"/>
                <a:gd name="connsiteY46" fmla="*/ 7561 h 9824"/>
                <a:gd name="connsiteX47" fmla="*/ 4030 w 9887"/>
                <a:gd name="connsiteY47" fmla="*/ 7317 h 9824"/>
                <a:gd name="connsiteX48" fmla="*/ 4030 w 9887"/>
                <a:gd name="connsiteY48" fmla="*/ 6341 h 9824"/>
                <a:gd name="connsiteX49" fmla="*/ 3887 w 9887"/>
                <a:gd name="connsiteY49" fmla="*/ 5610 h 9824"/>
                <a:gd name="connsiteX50" fmla="*/ 3316 w 9887"/>
                <a:gd name="connsiteY50" fmla="*/ 5122 h 9824"/>
                <a:gd name="connsiteX51" fmla="*/ 2601 w 9887"/>
                <a:gd name="connsiteY51" fmla="*/ 5122 h 9824"/>
                <a:gd name="connsiteX52" fmla="*/ 2458 w 9887"/>
                <a:gd name="connsiteY52" fmla="*/ 5122 h 9824"/>
                <a:gd name="connsiteX53" fmla="*/ 2030 w 9887"/>
                <a:gd name="connsiteY53" fmla="*/ 5610 h 9824"/>
                <a:gd name="connsiteX54" fmla="*/ 1458 w 9887"/>
                <a:gd name="connsiteY54" fmla="*/ 5854 h 9824"/>
                <a:gd name="connsiteX55" fmla="*/ 1316 w 9887"/>
                <a:gd name="connsiteY55" fmla="*/ 5610 h 9824"/>
                <a:gd name="connsiteX56" fmla="*/ 887 w 9887"/>
                <a:gd name="connsiteY56" fmla="*/ 5610 h 9824"/>
                <a:gd name="connsiteX57" fmla="*/ 316 w 9887"/>
                <a:gd name="connsiteY57" fmla="*/ 5366 h 9824"/>
                <a:gd name="connsiteX58" fmla="*/ 30 w 9887"/>
                <a:gd name="connsiteY58" fmla="*/ 4878 h 9824"/>
                <a:gd name="connsiteX0" fmla="*/ 30 w 10000"/>
                <a:gd name="connsiteY0" fmla="*/ 4965 h 10000"/>
                <a:gd name="connsiteX1" fmla="*/ 175 w 10000"/>
                <a:gd name="connsiteY1" fmla="*/ 4469 h 10000"/>
                <a:gd name="connsiteX2" fmla="*/ 463 w 10000"/>
                <a:gd name="connsiteY2" fmla="*/ 4220 h 10000"/>
                <a:gd name="connsiteX3" fmla="*/ 320 w 10000"/>
                <a:gd name="connsiteY3" fmla="*/ 3476 h 10000"/>
                <a:gd name="connsiteX4" fmla="*/ 753 w 10000"/>
                <a:gd name="connsiteY4" fmla="*/ 2731 h 10000"/>
                <a:gd name="connsiteX5" fmla="*/ 1042 w 10000"/>
                <a:gd name="connsiteY5" fmla="*/ 2483 h 10000"/>
                <a:gd name="connsiteX6" fmla="*/ 753 w 10000"/>
                <a:gd name="connsiteY6" fmla="*/ 1242 h 10000"/>
                <a:gd name="connsiteX7" fmla="*/ 753 w 10000"/>
                <a:gd name="connsiteY7" fmla="*/ 1242 h 10000"/>
                <a:gd name="connsiteX8" fmla="*/ 753 w 10000"/>
                <a:gd name="connsiteY8" fmla="*/ 1242 h 10000"/>
                <a:gd name="connsiteX9" fmla="*/ 1331 w 10000"/>
                <a:gd name="connsiteY9" fmla="*/ 745 h 10000"/>
                <a:gd name="connsiteX10" fmla="*/ 1909 w 10000"/>
                <a:gd name="connsiteY10" fmla="*/ 497 h 10000"/>
                <a:gd name="connsiteX11" fmla="*/ 3122 w 10000"/>
                <a:gd name="connsiteY11" fmla="*/ 502 h 10000"/>
                <a:gd name="connsiteX12" fmla="*/ 4076 w 10000"/>
                <a:gd name="connsiteY12" fmla="*/ 1242 h 10000"/>
                <a:gd name="connsiteX13" fmla="*/ 4654 w 10000"/>
                <a:gd name="connsiteY13" fmla="*/ 900 h 10000"/>
                <a:gd name="connsiteX14" fmla="*/ 4943 w 10000"/>
                <a:gd name="connsiteY14" fmla="*/ 497 h 10000"/>
                <a:gd name="connsiteX15" fmla="*/ 5232 w 10000"/>
                <a:gd name="connsiteY15" fmla="*/ 497 h 10000"/>
                <a:gd name="connsiteX16" fmla="*/ 5810 w 10000"/>
                <a:gd name="connsiteY16" fmla="*/ 248 h 10000"/>
                <a:gd name="connsiteX17" fmla="*/ 6532 w 10000"/>
                <a:gd name="connsiteY17" fmla="*/ 0 h 10000"/>
                <a:gd name="connsiteX18" fmla="*/ 6676 w 10000"/>
                <a:gd name="connsiteY18" fmla="*/ 1242 h 10000"/>
                <a:gd name="connsiteX19" fmla="*/ 7255 w 10000"/>
                <a:gd name="connsiteY19" fmla="*/ 1738 h 10000"/>
                <a:gd name="connsiteX20" fmla="*/ 7543 w 10000"/>
                <a:gd name="connsiteY20" fmla="*/ 2483 h 10000"/>
                <a:gd name="connsiteX21" fmla="*/ 8989 w 10000"/>
                <a:gd name="connsiteY21" fmla="*/ 3228 h 10000"/>
                <a:gd name="connsiteX22" fmla="*/ 10000 w 10000"/>
                <a:gd name="connsiteY22" fmla="*/ 3725 h 10000"/>
                <a:gd name="connsiteX23" fmla="*/ 10000 w 10000"/>
                <a:gd name="connsiteY23" fmla="*/ 4965 h 10000"/>
                <a:gd name="connsiteX24" fmla="*/ 9711 w 10000"/>
                <a:gd name="connsiteY24" fmla="*/ 5711 h 10000"/>
                <a:gd name="connsiteX25" fmla="*/ 8989 w 10000"/>
                <a:gd name="connsiteY25" fmla="*/ 5959 h 10000"/>
                <a:gd name="connsiteX26" fmla="*/ 8989 w 10000"/>
                <a:gd name="connsiteY26" fmla="*/ 6455 h 10000"/>
                <a:gd name="connsiteX27" fmla="*/ 8555 w 10000"/>
                <a:gd name="connsiteY27" fmla="*/ 6703 h 10000"/>
                <a:gd name="connsiteX28" fmla="*/ 7110 w 10000"/>
                <a:gd name="connsiteY28" fmla="*/ 7696 h 10000"/>
                <a:gd name="connsiteX29" fmla="*/ 6966 w 10000"/>
                <a:gd name="connsiteY29" fmla="*/ 8193 h 10000"/>
                <a:gd name="connsiteX30" fmla="*/ 7400 w 10000"/>
                <a:gd name="connsiteY30" fmla="*/ 8690 h 10000"/>
                <a:gd name="connsiteX31" fmla="*/ 7688 w 10000"/>
                <a:gd name="connsiteY31" fmla="*/ 8690 h 10000"/>
                <a:gd name="connsiteX32" fmla="*/ 7688 w 10000"/>
                <a:gd name="connsiteY32" fmla="*/ 9186 h 10000"/>
                <a:gd name="connsiteX33" fmla="*/ 6821 w 10000"/>
                <a:gd name="connsiteY33" fmla="*/ 9682 h 10000"/>
                <a:gd name="connsiteX34" fmla="*/ 6244 w 10000"/>
                <a:gd name="connsiteY34" fmla="*/ 9931 h 10000"/>
                <a:gd name="connsiteX35" fmla="*/ 6244 w 10000"/>
                <a:gd name="connsiteY35" fmla="*/ 9186 h 10000"/>
                <a:gd name="connsiteX36" fmla="*/ 5810 w 10000"/>
                <a:gd name="connsiteY36" fmla="*/ 8937 h 10000"/>
                <a:gd name="connsiteX37" fmla="*/ 6388 w 10000"/>
                <a:gd name="connsiteY37" fmla="*/ 8193 h 10000"/>
                <a:gd name="connsiteX38" fmla="*/ 6099 w 10000"/>
                <a:gd name="connsiteY38" fmla="*/ 7696 h 10000"/>
                <a:gd name="connsiteX39" fmla="*/ 5377 w 10000"/>
                <a:gd name="connsiteY39" fmla="*/ 7696 h 10000"/>
                <a:gd name="connsiteX40" fmla="*/ 5377 w 10000"/>
                <a:gd name="connsiteY40" fmla="*/ 7200 h 10000"/>
                <a:gd name="connsiteX41" fmla="*/ 4798 w 10000"/>
                <a:gd name="connsiteY41" fmla="*/ 7448 h 10000"/>
                <a:gd name="connsiteX42" fmla="*/ 4221 w 10000"/>
                <a:gd name="connsiteY42" fmla="*/ 8442 h 10000"/>
                <a:gd name="connsiteX43" fmla="*/ 4076 w 10000"/>
                <a:gd name="connsiteY43" fmla="*/ 8690 h 10000"/>
                <a:gd name="connsiteX44" fmla="*/ 3787 w 10000"/>
                <a:gd name="connsiteY44" fmla="*/ 8690 h 10000"/>
                <a:gd name="connsiteX45" fmla="*/ 3642 w 10000"/>
                <a:gd name="connsiteY45" fmla="*/ 8690 h 10000"/>
                <a:gd name="connsiteX46" fmla="*/ 3787 w 10000"/>
                <a:gd name="connsiteY46" fmla="*/ 7696 h 10000"/>
                <a:gd name="connsiteX47" fmla="*/ 4076 w 10000"/>
                <a:gd name="connsiteY47" fmla="*/ 7448 h 10000"/>
                <a:gd name="connsiteX48" fmla="*/ 4076 w 10000"/>
                <a:gd name="connsiteY48" fmla="*/ 6455 h 10000"/>
                <a:gd name="connsiteX49" fmla="*/ 3931 w 10000"/>
                <a:gd name="connsiteY49" fmla="*/ 5711 h 10000"/>
                <a:gd name="connsiteX50" fmla="*/ 3354 w 10000"/>
                <a:gd name="connsiteY50" fmla="*/ 5214 h 10000"/>
                <a:gd name="connsiteX51" fmla="*/ 2631 w 10000"/>
                <a:gd name="connsiteY51" fmla="*/ 5214 h 10000"/>
                <a:gd name="connsiteX52" fmla="*/ 2486 w 10000"/>
                <a:gd name="connsiteY52" fmla="*/ 5214 h 10000"/>
                <a:gd name="connsiteX53" fmla="*/ 2053 w 10000"/>
                <a:gd name="connsiteY53" fmla="*/ 5711 h 10000"/>
                <a:gd name="connsiteX54" fmla="*/ 1475 w 10000"/>
                <a:gd name="connsiteY54" fmla="*/ 5959 h 10000"/>
                <a:gd name="connsiteX55" fmla="*/ 1331 w 10000"/>
                <a:gd name="connsiteY55" fmla="*/ 5711 h 10000"/>
                <a:gd name="connsiteX56" fmla="*/ 897 w 10000"/>
                <a:gd name="connsiteY56" fmla="*/ 5711 h 10000"/>
                <a:gd name="connsiteX57" fmla="*/ 320 w 10000"/>
                <a:gd name="connsiteY57" fmla="*/ 5462 h 10000"/>
                <a:gd name="connsiteX58" fmla="*/ 30 w 10000"/>
                <a:gd name="connsiteY58" fmla="*/ 4965 h 10000"/>
                <a:gd name="connsiteX0" fmla="*/ 30 w 10000"/>
                <a:gd name="connsiteY0" fmla="*/ 4965 h 10000"/>
                <a:gd name="connsiteX1" fmla="*/ 175 w 10000"/>
                <a:gd name="connsiteY1" fmla="*/ 4469 h 10000"/>
                <a:gd name="connsiteX2" fmla="*/ 463 w 10000"/>
                <a:gd name="connsiteY2" fmla="*/ 4220 h 10000"/>
                <a:gd name="connsiteX3" fmla="*/ 320 w 10000"/>
                <a:gd name="connsiteY3" fmla="*/ 3476 h 10000"/>
                <a:gd name="connsiteX4" fmla="*/ 753 w 10000"/>
                <a:gd name="connsiteY4" fmla="*/ 2731 h 10000"/>
                <a:gd name="connsiteX5" fmla="*/ 1042 w 10000"/>
                <a:gd name="connsiteY5" fmla="*/ 2483 h 10000"/>
                <a:gd name="connsiteX6" fmla="*/ 753 w 10000"/>
                <a:gd name="connsiteY6" fmla="*/ 1242 h 10000"/>
                <a:gd name="connsiteX7" fmla="*/ 753 w 10000"/>
                <a:gd name="connsiteY7" fmla="*/ 1242 h 10000"/>
                <a:gd name="connsiteX8" fmla="*/ 753 w 10000"/>
                <a:gd name="connsiteY8" fmla="*/ 1242 h 10000"/>
                <a:gd name="connsiteX9" fmla="*/ 1331 w 10000"/>
                <a:gd name="connsiteY9" fmla="*/ 745 h 10000"/>
                <a:gd name="connsiteX10" fmla="*/ 1909 w 10000"/>
                <a:gd name="connsiteY10" fmla="*/ 497 h 10000"/>
                <a:gd name="connsiteX11" fmla="*/ 3122 w 10000"/>
                <a:gd name="connsiteY11" fmla="*/ 502 h 10000"/>
                <a:gd name="connsiteX12" fmla="*/ 4076 w 10000"/>
                <a:gd name="connsiteY12" fmla="*/ 849 h 10000"/>
                <a:gd name="connsiteX13" fmla="*/ 4654 w 10000"/>
                <a:gd name="connsiteY13" fmla="*/ 900 h 10000"/>
                <a:gd name="connsiteX14" fmla="*/ 4943 w 10000"/>
                <a:gd name="connsiteY14" fmla="*/ 497 h 10000"/>
                <a:gd name="connsiteX15" fmla="*/ 5232 w 10000"/>
                <a:gd name="connsiteY15" fmla="*/ 497 h 10000"/>
                <a:gd name="connsiteX16" fmla="*/ 5810 w 10000"/>
                <a:gd name="connsiteY16" fmla="*/ 248 h 10000"/>
                <a:gd name="connsiteX17" fmla="*/ 6532 w 10000"/>
                <a:gd name="connsiteY17" fmla="*/ 0 h 10000"/>
                <a:gd name="connsiteX18" fmla="*/ 6676 w 10000"/>
                <a:gd name="connsiteY18" fmla="*/ 1242 h 10000"/>
                <a:gd name="connsiteX19" fmla="*/ 7255 w 10000"/>
                <a:gd name="connsiteY19" fmla="*/ 1738 h 10000"/>
                <a:gd name="connsiteX20" fmla="*/ 7543 w 10000"/>
                <a:gd name="connsiteY20" fmla="*/ 2483 h 10000"/>
                <a:gd name="connsiteX21" fmla="*/ 8989 w 10000"/>
                <a:gd name="connsiteY21" fmla="*/ 3228 h 10000"/>
                <a:gd name="connsiteX22" fmla="*/ 10000 w 10000"/>
                <a:gd name="connsiteY22" fmla="*/ 3725 h 10000"/>
                <a:gd name="connsiteX23" fmla="*/ 10000 w 10000"/>
                <a:gd name="connsiteY23" fmla="*/ 4965 h 10000"/>
                <a:gd name="connsiteX24" fmla="*/ 9711 w 10000"/>
                <a:gd name="connsiteY24" fmla="*/ 5711 h 10000"/>
                <a:gd name="connsiteX25" fmla="*/ 8989 w 10000"/>
                <a:gd name="connsiteY25" fmla="*/ 5959 h 10000"/>
                <a:gd name="connsiteX26" fmla="*/ 8989 w 10000"/>
                <a:gd name="connsiteY26" fmla="*/ 6455 h 10000"/>
                <a:gd name="connsiteX27" fmla="*/ 8555 w 10000"/>
                <a:gd name="connsiteY27" fmla="*/ 6703 h 10000"/>
                <a:gd name="connsiteX28" fmla="*/ 7110 w 10000"/>
                <a:gd name="connsiteY28" fmla="*/ 7696 h 10000"/>
                <a:gd name="connsiteX29" fmla="*/ 6966 w 10000"/>
                <a:gd name="connsiteY29" fmla="*/ 8193 h 10000"/>
                <a:gd name="connsiteX30" fmla="*/ 7400 w 10000"/>
                <a:gd name="connsiteY30" fmla="*/ 8690 h 10000"/>
                <a:gd name="connsiteX31" fmla="*/ 7688 w 10000"/>
                <a:gd name="connsiteY31" fmla="*/ 8690 h 10000"/>
                <a:gd name="connsiteX32" fmla="*/ 7688 w 10000"/>
                <a:gd name="connsiteY32" fmla="*/ 9186 h 10000"/>
                <a:gd name="connsiteX33" fmla="*/ 6821 w 10000"/>
                <a:gd name="connsiteY33" fmla="*/ 9682 h 10000"/>
                <a:gd name="connsiteX34" fmla="*/ 6244 w 10000"/>
                <a:gd name="connsiteY34" fmla="*/ 9931 h 10000"/>
                <a:gd name="connsiteX35" fmla="*/ 6244 w 10000"/>
                <a:gd name="connsiteY35" fmla="*/ 9186 h 10000"/>
                <a:gd name="connsiteX36" fmla="*/ 5810 w 10000"/>
                <a:gd name="connsiteY36" fmla="*/ 8937 h 10000"/>
                <a:gd name="connsiteX37" fmla="*/ 6388 w 10000"/>
                <a:gd name="connsiteY37" fmla="*/ 8193 h 10000"/>
                <a:gd name="connsiteX38" fmla="*/ 6099 w 10000"/>
                <a:gd name="connsiteY38" fmla="*/ 7696 h 10000"/>
                <a:gd name="connsiteX39" fmla="*/ 5377 w 10000"/>
                <a:gd name="connsiteY39" fmla="*/ 7696 h 10000"/>
                <a:gd name="connsiteX40" fmla="*/ 5377 w 10000"/>
                <a:gd name="connsiteY40" fmla="*/ 7200 h 10000"/>
                <a:gd name="connsiteX41" fmla="*/ 4798 w 10000"/>
                <a:gd name="connsiteY41" fmla="*/ 7448 h 10000"/>
                <a:gd name="connsiteX42" fmla="*/ 4221 w 10000"/>
                <a:gd name="connsiteY42" fmla="*/ 8442 h 10000"/>
                <a:gd name="connsiteX43" fmla="*/ 4076 w 10000"/>
                <a:gd name="connsiteY43" fmla="*/ 8690 h 10000"/>
                <a:gd name="connsiteX44" fmla="*/ 3787 w 10000"/>
                <a:gd name="connsiteY44" fmla="*/ 8690 h 10000"/>
                <a:gd name="connsiteX45" fmla="*/ 3642 w 10000"/>
                <a:gd name="connsiteY45" fmla="*/ 8690 h 10000"/>
                <a:gd name="connsiteX46" fmla="*/ 3787 w 10000"/>
                <a:gd name="connsiteY46" fmla="*/ 7696 h 10000"/>
                <a:gd name="connsiteX47" fmla="*/ 4076 w 10000"/>
                <a:gd name="connsiteY47" fmla="*/ 7448 h 10000"/>
                <a:gd name="connsiteX48" fmla="*/ 4076 w 10000"/>
                <a:gd name="connsiteY48" fmla="*/ 6455 h 10000"/>
                <a:gd name="connsiteX49" fmla="*/ 3931 w 10000"/>
                <a:gd name="connsiteY49" fmla="*/ 5711 h 10000"/>
                <a:gd name="connsiteX50" fmla="*/ 3354 w 10000"/>
                <a:gd name="connsiteY50" fmla="*/ 5214 h 10000"/>
                <a:gd name="connsiteX51" fmla="*/ 2631 w 10000"/>
                <a:gd name="connsiteY51" fmla="*/ 5214 h 10000"/>
                <a:gd name="connsiteX52" fmla="*/ 2486 w 10000"/>
                <a:gd name="connsiteY52" fmla="*/ 5214 h 10000"/>
                <a:gd name="connsiteX53" fmla="*/ 2053 w 10000"/>
                <a:gd name="connsiteY53" fmla="*/ 5711 h 10000"/>
                <a:gd name="connsiteX54" fmla="*/ 1475 w 10000"/>
                <a:gd name="connsiteY54" fmla="*/ 5959 h 10000"/>
                <a:gd name="connsiteX55" fmla="*/ 1331 w 10000"/>
                <a:gd name="connsiteY55" fmla="*/ 5711 h 10000"/>
                <a:gd name="connsiteX56" fmla="*/ 897 w 10000"/>
                <a:gd name="connsiteY56" fmla="*/ 5711 h 10000"/>
                <a:gd name="connsiteX57" fmla="*/ 320 w 10000"/>
                <a:gd name="connsiteY57" fmla="*/ 5462 h 10000"/>
                <a:gd name="connsiteX58" fmla="*/ 30 w 10000"/>
                <a:gd name="connsiteY58" fmla="*/ 4965 h 10000"/>
                <a:gd name="connsiteX0" fmla="*/ 30 w 10000"/>
                <a:gd name="connsiteY0" fmla="*/ 4965 h 10000"/>
                <a:gd name="connsiteX1" fmla="*/ 175 w 10000"/>
                <a:gd name="connsiteY1" fmla="*/ 4469 h 10000"/>
                <a:gd name="connsiteX2" fmla="*/ 463 w 10000"/>
                <a:gd name="connsiteY2" fmla="*/ 4220 h 10000"/>
                <a:gd name="connsiteX3" fmla="*/ 320 w 10000"/>
                <a:gd name="connsiteY3" fmla="*/ 3476 h 10000"/>
                <a:gd name="connsiteX4" fmla="*/ 753 w 10000"/>
                <a:gd name="connsiteY4" fmla="*/ 2731 h 10000"/>
                <a:gd name="connsiteX5" fmla="*/ 1042 w 10000"/>
                <a:gd name="connsiteY5" fmla="*/ 2483 h 10000"/>
                <a:gd name="connsiteX6" fmla="*/ 753 w 10000"/>
                <a:gd name="connsiteY6" fmla="*/ 1242 h 10000"/>
                <a:gd name="connsiteX7" fmla="*/ 753 w 10000"/>
                <a:gd name="connsiteY7" fmla="*/ 1242 h 10000"/>
                <a:gd name="connsiteX8" fmla="*/ 753 w 10000"/>
                <a:gd name="connsiteY8" fmla="*/ 1242 h 10000"/>
                <a:gd name="connsiteX9" fmla="*/ 1331 w 10000"/>
                <a:gd name="connsiteY9" fmla="*/ 745 h 10000"/>
                <a:gd name="connsiteX10" fmla="*/ 1909 w 10000"/>
                <a:gd name="connsiteY10" fmla="*/ 497 h 10000"/>
                <a:gd name="connsiteX11" fmla="*/ 3122 w 10000"/>
                <a:gd name="connsiteY11" fmla="*/ 502 h 10000"/>
                <a:gd name="connsiteX12" fmla="*/ 4076 w 10000"/>
                <a:gd name="connsiteY12" fmla="*/ 849 h 10000"/>
                <a:gd name="connsiteX13" fmla="*/ 4654 w 10000"/>
                <a:gd name="connsiteY13" fmla="*/ 900 h 10000"/>
                <a:gd name="connsiteX14" fmla="*/ 4943 w 10000"/>
                <a:gd name="connsiteY14" fmla="*/ 497 h 10000"/>
                <a:gd name="connsiteX15" fmla="*/ 5232 w 10000"/>
                <a:gd name="connsiteY15" fmla="*/ 497 h 10000"/>
                <a:gd name="connsiteX16" fmla="*/ 5810 w 10000"/>
                <a:gd name="connsiteY16" fmla="*/ 248 h 10000"/>
                <a:gd name="connsiteX17" fmla="*/ 6532 w 10000"/>
                <a:gd name="connsiteY17" fmla="*/ 0 h 10000"/>
                <a:gd name="connsiteX18" fmla="*/ 6676 w 10000"/>
                <a:gd name="connsiteY18" fmla="*/ 1242 h 10000"/>
                <a:gd name="connsiteX19" fmla="*/ 7255 w 10000"/>
                <a:gd name="connsiteY19" fmla="*/ 1738 h 10000"/>
                <a:gd name="connsiteX20" fmla="*/ 7770 w 10000"/>
                <a:gd name="connsiteY20" fmla="*/ 2188 h 10000"/>
                <a:gd name="connsiteX21" fmla="*/ 8989 w 10000"/>
                <a:gd name="connsiteY21" fmla="*/ 3228 h 10000"/>
                <a:gd name="connsiteX22" fmla="*/ 10000 w 10000"/>
                <a:gd name="connsiteY22" fmla="*/ 3725 h 10000"/>
                <a:gd name="connsiteX23" fmla="*/ 10000 w 10000"/>
                <a:gd name="connsiteY23" fmla="*/ 4965 h 10000"/>
                <a:gd name="connsiteX24" fmla="*/ 9711 w 10000"/>
                <a:gd name="connsiteY24" fmla="*/ 5711 h 10000"/>
                <a:gd name="connsiteX25" fmla="*/ 8989 w 10000"/>
                <a:gd name="connsiteY25" fmla="*/ 5959 h 10000"/>
                <a:gd name="connsiteX26" fmla="*/ 8989 w 10000"/>
                <a:gd name="connsiteY26" fmla="*/ 6455 h 10000"/>
                <a:gd name="connsiteX27" fmla="*/ 8555 w 10000"/>
                <a:gd name="connsiteY27" fmla="*/ 6703 h 10000"/>
                <a:gd name="connsiteX28" fmla="*/ 7110 w 10000"/>
                <a:gd name="connsiteY28" fmla="*/ 7696 h 10000"/>
                <a:gd name="connsiteX29" fmla="*/ 6966 w 10000"/>
                <a:gd name="connsiteY29" fmla="*/ 8193 h 10000"/>
                <a:gd name="connsiteX30" fmla="*/ 7400 w 10000"/>
                <a:gd name="connsiteY30" fmla="*/ 8690 h 10000"/>
                <a:gd name="connsiteX31" fmla="*/ 7688 w 10000"/>
                <a:gd name="connsiteY31" fmla="*/ 8690 h 10000"/>
                <a:gd name="connsiteX32" fmla="*/ 7688 w 10000"/>
                <a:gd name="connsiteY32" fmla="*/ 9186 h 10000"/>
                <a:gd name="connsiteX33" fmla="*/ 6821 w 10000"/>
                <a:gd name="connsiteY33" fmla="*/ 9682 h 10000"/>
                <a:gd name="connsiteX34" fmla="*/ 6244 w 10000"/>
                <a:gd name="connsiteY34" fmla="*/ 9931 h 10000"/>
                <a:gd name="connsiteX35" fmla="*/ 6244 w 10000"/>
                <a:gd name="connsiteY35" fmla="*/ 9186 h 10000"/>
                <a:gd name="connsiteX36" fmla="*/ 5810 w 10000"/>
                <a:gd name="connsiteY36" fmla="*/ 8937 h 10000"/>
                <a:gd name="connsiteX37" fmla="*/ 6388 w 10000"/>
                <a:gd name="connsiteY37" fmla="*/ 8193 h 10000"/>
                <a:gd name="connsiteX38" fmla="*/ 6099 w 10000"/>
                <a:gd name="connsiteY38" fmla="*/ 7696 h 10000"/>
                <a:gd name="connsiteX39" fmla="*/ 5377 w 10000"/>
                <a:gd name="connsiteY39" fmla="*/ 7696 h 10000"/>
                <a:gd name="connsiteX40" fmla="*/ 5377 w 10000"/>
                <a:gd name="connsiteY40" fmla="*/ 7200 h 10000"/>
                <a:gd name="connsiteX41" fmla="*/ 4798 w 10000"/>
                <a:gd name="connsiteY41" fmla="*/ 7448 h 10000"/>
                <a:gd name="connsiteX42" fmla="*/ 4221 w 10000"/>
                <a:gd name="connsiteY42" fmla="*/ 8442 h 10000"/>
                <a:gd name="connsiteX43" fmla="*/ 4076 w 10000"/>
                <a:gd name="connsiteY43" fmla="*/ 8690 h 10000"/>
                <a:gd name="connsiteX44" fmla="*/ 3787 w 10000"/>
                <a:gd name="connsiteY44" fmla="*/ 8690 h 10000"/>
                <a:gd name="connsiteX45" fmla="*/ 3642 w 10000"/>
                <a:gd name="connsiteY45" fmla="*/ 8690 h 10000"/>
                <a:gd name="connsiteX46" fmla="*/ 3787 w 10000"/>
                <a:gd name="connsiteY46" fmla="*/ 7696 h 10000"/>
                <a:gd name="connsiteX47" fmla="*/ 4076 w 10000"/>
                <a:gd name="connsiteY47" fmla="*/ 7448 h 10000"/>
                <a:gd name="connsiteX48" fmla="*/ 4076 w 10000"/>
                <a:gd name="connsiteY48" fmla="*/ 6455 h 10000"/>
                <a:gd name="connsiteX49" fmla="*/ 3931 w 10000"/>
                <a:gd name="connsiteY49" fmla="*/ 5711 h 10000"/>
                <a:gd name="connsiteX50" fmla="*/ 3354 w 10000"/>
                <a:gd name="connsiteY50" fmla="*/ 5214 h 10000"/>
                <a:gd name="connsiteX51" fmla="*/ 2631 w 10000"/>
                <a:gd name="connsiteY51" fmla="*/ 5214 h 10000"/>
                <a:gd name="connsiteX52" fmla="*/ 2486 w 10000"/>
                <a:gd name="connsiteY52" fmla="*/ 5214 h 10000"/>
                <a:gd name="connsiteX53" fmla="*/ 2053 w 10000"/>
                <a:gd name="connsiteY53" fmla="*/ 5711 h 10000"/>
                <a:gd name="connsiteX54" fmla="*/ 1475 w 10000"/>
                <a:gd name="connsiteY54" fmla="*/ 5959 h 10000"/>
                <a:gd name="connsiteX55" fmla="*/ 1331 w 10000"/>
                <a:gd name="connsiteY55" fmla="*/ 5711 h 10000"/>
                <a:gd name="connsiteX56" fmla="*/ 897 w 10000"/>
                <a:gd name="connsiteY56" fmla="*/ 5711 h 10000"/>
                <a:gd name="connsiteX57" fmla="*/ 320 w 10000"/>
                <a:gd name="connsiteY57" fmla="*/ 5462 h 10000"/>
                <a:gd name="connsiteX58" fmla="*/ 30 w 10000"/>
                <a:gd name="connsiteY58" fmla="*/ 4965 h 10000"/>
                <a:gd name="connsiteX0" fmla="*/ 30 w 10062"/>
                <a:gd name="connsiteY0" fmla="*/ 4965 h 10000"/>
                <a:gd name="connsiteX1" fmla="*/ 175 w 10062"/>
                <a:gd name="connsiteY1" fmla="*/ 4469 h 10000"/>
                <a:gd name="connsiteX2" fmla="*/ 463 w 10062"/>
                <a:gd name="connsiteY2" fmla="*/ 4220 h 10000"/>
                <a:gd name="connsiteX3" fmla="*/ 320 w 10062"/>
                <a:gd name="connsiteY3" fmla="*/ 3476 h 10000"/>
                <a:gd name="connsiteX4" fmla="*/ 753 w 10062"/>
                <a:gd name="connsiteY4" fmla="*/ 2731 h 10000"/>
                <a:gd name="connsiteX5" fmla="*/ 1042 w 10062"/>
                <a:gd name="connsiteY5" fmla="*/ 2483 h 10000"/>
                <a:gd name="connsiteX6" fmla="*/ 753 w 10062"/>
                <a:gd name="connsiteY6" fmla="*/ 1242 h 10000"/>
                <a:gd name="connsiteX7" fmla="*/ 753 w 10062"/>
                <a:gd name="connsiteY7" fmla="*/ 1242 h 10000"/>
                <a:gd name="connsiteX8" fmla="*/ 753 w 10062"/>
                <a:gd name="connsiteY8" fmla="*/ 1242 h 10000"/>
                <a:gd name="connsiteX9" fmla="*/ 1331 w 10062"/>
                <a:gd name="connsiteY9" fmla="*/ 745 h 10000"/>
                <a:gd name="connsiteX10" fmla="*/ 1909 w 10062"/>
                <a:gd name="connsiteY10" fmla="*/ 497 h 10000"/>
                <a:gd name="connsiteX11" fmla="*/ 3122 w 10062"/>
                <a:gd name="connsiteY11" fmla="*/ 502 h 10000"/>
                <a:gd name="connsiteX12" fmla="*/ 4076 w 10062"/>
                <a:gd name="connsiteY12" fmla="*/ 849 h 10000"/>
                <a:gd name="connsiteX13" fmla="*/ 4654 w 10062"/>
                <a:gd name="connsiteY13" fmla="*/ 900 h 10000"/>
                <a:gd name="connsiteX14" fmla="*/ 4943 w 10062"/>
                <a:gd name="connsiteY14" fmla="*/ 497 h 10000"/>
                <a:gd name="connsiteX15" fmla="*/ 5232 w 10062"/>
                <a:gd name="connsiteY15" fmla="*/ 497 h 10000"/>
                <a:gd name="connsiteX16" fmla="*/ 5810 w 10062"/>
                <a:gd name="connsiteY16" fmla="*/ 248 h 10000"/>
                <a:gd name="connsiteX17" fmla="*/ 6532 w 10062"/>
                <a:gd name="connsiteY17" fmla="*/ 0 h 10000"/>
                <a:gd name="connsiteX18" fmla="*/ 6676 w 10062"/>
                <a:gd name="connsiteY18" fmla="*/ 1242 h 10000"/>
                <a:gd name="connsiteX19" fmla="*/ 7255 w 10062"/>
                <a:gd name="connsiteY19" fmla="*/ 1738 h 10000"/>
                <a:gd name="connsiteX20" fmla="*/ 7770 w 10062"/>
                <a:gd name="connsiteY20" fmla="*/ 2188 h 10000"/>
                <a:gd name="connsiteX21" fmla="*/ 9159 w 10062"/>
                <a:gd name="connsiteY21" fmla="*/ 2835 h 10000"/>
                <a:gd name="connsiteX22" fmla="*/ 10000 w 10062"/>
                <a:gd name="connsiteY22" fmla="*/ 3725 h 10000"/>
                <a:gd name="connsiteX23" fmla="*/ 10000 w 10062"/>
                <a:gd name="connsiteY23" fmla="*/ 4965 h 10000"/>
                <a:gd name="connsiteX24" fmla="*/ 9711 w 10062"/>
                <a:gd name="connsiteY24" fmla="*/ 5711 h 10000"/>
                <a:gd name="connsiteX25" fmla="*/ 8989 w 10062"/>
                <a:gd name="connsiteY25" fmla="*/ 5959 h 10000"/>
                <a:gd name="connsiteX26" fmla="*/ 8989 w 10062"/>
                <a:gd name="connsiteY26" fmla="*/ 6455 h 10000"/>
                <a:gd name="connsiteX27" fmla="*/ 8555 w 10062"/>
                <a:gd name="connsiteY27" fmla="*/ 6703 h 10000"/>
                <a:gd name="connsiteX28" fmla="*/ 7110 w 10062"/>
                <a:gd name="connsiteY28" fmla="*/ 7696 h 10000"/>
                <a:gd name="connsiteX29" fmla="*/ 6966 w 10062"/>
                <a:gd name="connsiteY29" fmla="*/ 8193 h 10000"/>
                <a:gd name="connsiteX30" fmla="*/ 7400 w 10062"/>
                <a:gd name="connsiteY30" fmla="*/ 8690 h 10000"/>
                <a:gd name="connsiteX31" fmla="*/ 7688 w 10062"/>
                <a:gd name="connsiteY31" fmla="*/ 8690 h 10000"/>
                <a:gd name="connsiteX32" fmla="*/ 7688 w 10062"/>
                <a:gd name="connsiteY32" fmla="*/ 9186 h 10000"/>
                <a:gd name="connsiteX33" fmla="*/ 6821 w 10062"/>
                <a:gd name="connsiteY33" fmla="*/ 9682 h 10000"/>
                <a:gd name="connsiteX34" fmla="*/ 6244 w 10062"/>
                <a:gd name="connsiteY34" fmla="*/ 9931 h 10000"/>
                <a:gd name="connsiteX35" fmla="*/ 6244 w 10062"/>
                <a:gd name="connsiteY35" fmla="*/ 9186 h 10000"/>
                <a:gd name="connsiteX36" fmla="*/ 5810 w 10062"/>
                <a:gd name="connsiteY36" fmla="*/ 8937 h 10000"/>
                <a:gd name="connsiteX37" fmla="*/ 6388 w 10062"/>
                <a:gd name="connsiteY37" fmla="*/ 8193 h 10000"/>
                <a:gd name="connsiteX38" fmla="*/ 6099 w 10062"/>
                <a:gd name="connsiteY38" fmla="*/ 7696 h 10000"/>
                <a:gd name="connsiteX39" fmla="*/ 5377 w 10062"/>
                <a:gd name="connsiteY39" fmla="*/ 7696 h 10000"/>
                <a:gd name="connsiteX40" fmla="*/ 5377 w 10062"/>
                <a:gd name="connsiteY40" fmla="*/ 7200 h 10000"/>
                <a:gd name="connsiteX41" fmla="*/ 4798 w 10062"/>
                <a:gd name="connsiteY41" fmla="*/ 7448 h 10000"/>
                <a:gd name="connsiteX42" fmla="*/ 4221 w 10062"/>
                <a:gd name="connsiteY42" fmla="*/ 8442 h 10000"/>
                <a:gd name="connsiteX43" fmla="*/ 4076 w 10062"/>
                <a:gd name="connsiteY43" fmla="*/ 8690 h 10000"/>
                <a:gd name="connsiteX44" fmla="*/ 3787 w 10062"/>
                <a:gd name="connsiteY44" fmla="*/ 8690 h 10000"/>
                <a:gd name="connsiteX45" fmla="*/ 3642 w 10062"/>
                <a:gd name="connsiteY45" fmla="*/ 8690 h 10000"/>
                <a:gd name="connsiteX46" fmla="*/ 3787 w 10062"/>
                <a:gd name="connsiteY46" fmla="*/ 7696 h 10000"/>
                <a:gd name="connsiteX47" fmla="*/ 4076 w 10062"/>
                <a:gd name="connsiteY47" fmla="*/ 7448 h 10000"/>
                <a:gd name="connsiteX48" fmla="*/ 4076 w 10062"/>
                <a:gd name="connsiteY48" fmla="*/ 6455 h 10000"/>
                <a:gd name="connsiteX49" fmla="*/ 3931 w 10062"/>
                <a:gd name="connsiteY49" fmla="*/ 5711 h 10000"/>
                <a:gd name="connsiteX50" fmla="*/ 3354 w 10062"/>
                <a:gd name="connsiteY50" fmla="*/ 5214 h 10000"/>
                <a:gd name="connsiteX51" fmla="*/ 2631 w 10062"/>
                <a:gd name="connsiteY51" fmla="*/ 5214 h 10000"/>
                <a:gd name="connsiteX52" fmla="*/ 2486 w 10062"/>
                <a:gd name="connsiteY52" fmla="*/ 5214 h 10000"/>
                <a:gd name="connsiteX53" fmla="*/ 2053 w 10062"/>
                <a:gd name="connsiteY53" fmla="*/ 5711 h 10000"/>
                <a:gd name="connsiteX54" fmla="*/ 1475 w 10062"/>
                <a:gd name="connsiteY54" fmla="*/ 5959 h 10000"/>
                <a:gd name="connsiteX55" fmla="*/ 1331 w 10062"/>
                <a:gd name="connsiteY55" fmla="*/ 5711 h 10000"/>
                <a:gd name="connsiteX56" fmla="*/ 897 w 10062"/>
                <a:gd name="connsiteY56" fmla="*/ 5711 h 10000"/>
                <a:gd name="connsiteX57" fmla="*/ 320 w 10062"/>
                <a:gd name="connsiteY57" fmla="*/ 5462 h 10000"/>
                <a:gd name="connsiteX58" fmla="*/ 30 w 10062"/>
                <a:gd name="connsiteY58" fmla="*/ 4965 h 10000"/>
                <a:gd name="connsiteX0" fmla="*/ 30 w 10062"/>
                <a:gd name="connsiteY0" fmla="*/ 4965 h 10000"/>
                <a:gd name="connsiteX1" fmla="*/ 175 w 10062"/>
                <a:gd name="connsiteY1" fmla="*/ 4469 h 10000"/>
                <a:gd name="connsiteX2" fmla="*/ 463 w 10062"/>
                <a:gd name="connsiteY2" fmla="*/ 4220 h 10000"/>
                <a:gd name="connsiteX3" fmla="*/ 320 w 10062"/>
                <a:gd name="connsiteY3" fmla="*/ 3476 h 10000"/>
                <a:gd name="connsiteX4" fmla="*/ 753 w 10062"/>
                <a:gd name="connsiteY4" fmla="*/ 2731 h 10000"/>
                <a:gd name="connsiteX5" fmla="*/ 1042 w 10062"/>
                <a:gd name="connsiteY5" fmla="*/ 2483 h 10000"/>
                <a:gd name="connsiteX6" fmla="*/ 753 w 10062"/>
                <a:gd name="connsiteY6" fmla="*/ 1242 h 10000"/>
                <a:gd name="connsiteX7" fmla="*/ 753 w 10062"/>
                <a:gd name="connsiteY7" fmla="*/ 1242 h 10000"/>
                <a:gd name="connsiteX8" fmla="*/ 753 w 10062"/>
                <a:gd name="connsiteY8" fmla="*/ 1242 h 10000"/>
                <a:gd name="connsiteX9" fmla="*/ 1331 w 10062"/>
                <a:gd name="connsiteY9" fmla="*/ 745 h 10000"/>
                <a:gd name="connsiteX10" fmla="*/ 1909 w 10062"/>
                <a:gd name="connsiteY10" fmla="*/ 497 h 10000"/>
                <a:gd name="connsiteX11" fmla="*/ 3122 w 10062"/>
                <a:gd name="connsiteY11" fmla="*/ 502 h 10000"/>
                <a:gd name="connsiteX12" fmla="*/ 4076 w 10062"/>
                <a:gd name="connsiteY12" fmla="*/ 849 h 10000"/>
                <a:gd name="connsiteX13" fmla="*/ 4654 w 10062"/>
                <a:gd name="connsiteY13" fmla="*/ 900 h 10000"/>
                <a:gd name="connsiteX14" fmla="*/ 4943 w 10062"/>
                <a:gd name="connsiteY14" fmla="*/ 497 h 10000"/>
                <a:gd name="connsiteX15" fmla="*/ 5232 w 10062"/>
                <a:gd name="connsiteY15" fmla="*/ 497 h 10000"/>
                <a:gd name="connsiteX16" fmla="*/ 5810 w 10062"/>
                <a:gd name="connsiteY16" fmla="*/ 248 h 10000"/>
                <a:gd name="connsiteX17" fmla="*/ 6532 w 10062"/>
                <a:gd name="connsiteY17" fmla="*/ 0 h 10000"/>
                <a:gd name="connsiteX18" fmla="*/ 6789 w 10062"/>
                <a:gd name="connsiteY18" fmla="*/ 751 h 10000"/>
                <a:gd name="connsiteX19" fmla="*/ 7255 w 10062"/>
                <a:gd name="connsiteY19" fmla="*/ 1738 h 10000"/>
                <a:gd name="connsiteX20" fmla="*/ 7770 w 10062"/>
                <a:gd name="connsiteY20" fmla="*/ 2188 h 10000"/>
                <a:gd name="connsiteX21" fmla="*/ 9159 w 10062"/>
                <a:gd name="connsiteY21" fmla="*/ 2835 h 10000"/>
                <a:gd name="connsiteX22" fmla="*/ 10000 w 10062"/>
                <a:gd name="connsiteY22" fmla="*/ 3725 h 10000"/>
                <a:gd name="connsiteX23" fmla="*/ 10000 w 10062"/>
                <a:gd name="connsiteY23" fmla="*/ 4965 h 10000"/>
                <a:gd name="connsiteX24" fmla="*/ 9711 w 10062"/>
                <a:gd name="connsiteY24" fmla="*/ 5711 h 10000"/>
                <a:gd name="connsiteX25" fmla="*/ 8989 w 10062"/>
                <a:gd name="connsiteY25" fmla="*/ 5959 h 10000"/>
                <a:gd name="connsiteX26" fmla="*/ 8989 w 10062"/>
                <a:gd name="connsiteY26" fmla="*/ 6455 h 10000"/>
                <a:gd name="connsiteX27" fmla="*/ 8555 w 10062"/>
                <a:gd name="connsiteY27" fmla="*/ 6703 h 10000"/>
                <a:gd name="connsiteX28" fmla="*/ 7110 w 10062"/>
                <a:gd name="connsiteY28" fmla="*/ 7696 h 10000"/>
                <a:gd name="connsiteX29" fmla="*/ 6966 w 10062"/>
                <a:gd name="connsiteY29" fmla="*/ 8193 h 10000"/>
                <a:gd name="connsiteX30" fmla="*/ 7400 w 10062"/>
                <a:gd name="connsiteY30" fmla="*/ 8690 h 10000"/>
                <a:gd name="connsiteX31" fmla="*/ 7688 w 10062"/>
                <a:gd name="connsiteY31" fmla="*/ 8690 h 10000"/>
                <a:gd name="connsiteX32" fmla="*/ 7688 w 10062"/>
                <a:gd name="connsiteY32" fmla="*/ 9186 h 10000"/>
                <a:gd name="connsiteX33" fmla="*/ 6821 w 10062"/>
                <a:gd name="connsiteY33" fmla="*/ 9682 h 10000"/>
                <a:gd name="connsiteX34" fmla="*/ 6244 w 10062"/>
                <a:gd name="connsiteY34" fmla="*/ 9931 h 10000"/>
                <a:gd name="connsiteX35" fmla="*/ 6244 w 10062"/>
                <a:gd name="connsiteY35" fmla="*/ 9186 h 10000"/>
                <a:gd name="connsiteX36" fmla="*/ 5810 w 10062"/>
                <a:gd name="connsiteY36" fmla="*/ 8937 h 10000"/>
                <a:gd name="connsiteX37" fmla="*/ 6388 w 10062"/>
                <a:gd name="connsiteY37" fmla="*/ 8193 h 10000"/>
                <a:gd name="connsiteX38" fmla="*/ 6099 w 10062"/>
                <a:gd name="connsiteY38" fmla="*/ 7696 h 10000"/>
                <a:gd name="connsiteX39" fmla="*/ 5377 w 10062"/>
                <a:gd name="connsiteY39" fmla="*/ 7696 h 10000"/>
                <a:gd name="connsiteX40" fmla="*/ 5377 w 10062"/>
                <a:gd name="connsiteY40" fmla="*/ 7200 h 10000"/>
                <a:gd name="connsiteX41" fmla="*/ 4798 w 10062"/>
                <a:gd name="connsiteY41" fmla="*/ 7448 h 10000"/>
                <a:gd name="connsiteX42" fmla="*/ 4221 w 10062"/>
                <a:gd name="connsiteY42" fmla="*/ 8442 h 10000"/>
                <a:gd name="connsiteX43" fmla="*/ 4076 w 10062"/>
                <a:gd name="connsiteY43" fmla="*/ 8690 h 10000"/>
                <a:gd name="connsiteX44" fmla="*/ 3787 w 10062"/>
                <a:gd name="connsiteY44" fmla="*/ 8690 h 10000"/>
                <a:gd name="connsiteX45" fmla="*/ 3642 w 10062"/>
                <a:gd name="connsiteY45" fmla="*/ 8690 h 10000"/>
                <a:gd name="connsiteX46" fmla="*/ 3787 w 10062"/>
                <a:gd name="connsiteY46" fmla="*/ 7696 h 10000"/>
                <a:gd name="connsiteX47" fmla="*/ 4076 w 10062"/>
                <a:gd name="connsiteY47" fmla="*/ 7448 h 10000"/>
                <a:gd name="connsiteX48" fmla="*/ 4076 w 10062"/>
                <a:gd name="connsiteY48" fmla="*/ 6455 h 10000"/>
                <a:gd name="connsiteX49" fmla="*/ 3931 w 10062"/>
                <a:gd name="connsiteY49" fmla="*/ 5711 h 10000"/>
                <a:gd name="connsiteX50" fmla="*/ 3354 w 10062"/>
                <a:gd name="connsiteY50" fmla="*/ 5214 h 10000"/>
                <a:gd name="connsiteX51" fmla="*/ 2631 w 10062"/>
                <a:gd name="connsiteY51" fmla="*/ 5214 h 10000"/>
                <a:gd name="connsiteX52" fmla="*/ 2486 w 10062"/>
                <a:gd name="connsiteY52" fmla="*/ 5214 h 10000"/>
                <a:gd name="connsiteX53" fmla="*/ 2053 w 10062"/>
                <a:gd name="connsiteY53" fmla="*/ 5711 h 10000"/>
                <a:gd name="connsiteX54" fmla="*/ 1475 w 10062"/>
                <a:gd name="connsiteY54" fmla="*/ 5959 h 10000"/>
                <a:gd name="connsiteX55" fmla="*/ 1331 w 10062"/>
                <a:gd name="connsiteY55" fmla="*/ 5711 h 10000"/>
                <a:gd name="connsiteX56" fmla="*/ 897 w 10062"/>
                <a:gd name="connsiteY56" fmla="*/ 5711 h 10000"/>
                <a:gd name="connsiteX57" fmla="*/ 320 w 10062"/>
                <a:gd name="connsiteY57" fmla="*/ 5462 h 10000"/>
                <a:gd name="connsiteX58" fmla="*/ 30 w 10062"/>
                <a:gd name="connsiteY58" fmla="*/ 4965 h 10000"/>
                <a:gd name="connsiteX0" fmla="*/ 30 w 10062"/>
                <a:gd name="connsiteY0" fmla="*/ 5012 h 10047"/>
                <a:gd name="connsiteX1" fmla="*/ 175 w 10062"/>
                <a:gd name="connsiteY1" fmla="*/ 4516 h 10047"/>
                <a:gd name="connsiteX2" fmla="*/ 463 w 10062"/>
                <a:gd name="connsiteY2" fmla="*/ 4267 h 10047"/>
                <a:gd name="connsiteX3" fmla="*/ 320 w 10062"/>
                <a:gd name="connsiteY3" fmla="*/ 3523 h 10047"/>
                <a:gd name="connsiteX4" fmla="*/ 753 w 10062"/>
                <a:gd name="connsiteY4" fmla="*/ 2778 h 10047"/>
                <a:gd name="connsiteX5" fmla="*/ 1042 w 10062"/>
                <a:gd name="connsiteY5" fmla="*/ 2530 h 10047"/>
                <a:gd name="connsiteX6" fmla="*/ 753 w 10062"/>
                <a:gd name="connsiteY6" fmla="*/ 1289 h 10047"/>
                <a:gd name="connsiteX7" fmla="*/ 753 w 10062"/>
                <a:gd name="connsiteY7" fmla="*/ 1289 h 10047"/>
                <a:gd name="connsiteX8" fmla="*/ 753 w 10062"/>
                <a:gd name="connsiteY8" fmla="*/ 1289 h 10047"/>
                <a:gd name="connsiteX9" fmla="*/ 1331 w 10062"/>
                <a:gd name="connsiteY9" fmla="*/ 792 h 10047"/>
                <a:gd name="connsiteX10" fmla="*/ 1909 w 10062"/>
                <a:gd name="connsiteY10" fmla="*/ 544 h 10047"/>
                <a:gd name="connsiteX11" fmla="*/ 3122 w 10062"/>
                <a:gd name="connsiteY11" fmla="*/ 549 h 10047"/>
                <a:gd name="connsiteX12" fmla="*/ 4076 w 10062"/>
                <a:gd name="connsiteY12" fmla="*/ 896 h 10047"/>
                <a:gd name="connsiteX13" fmla="*/ 4654 w 10062"/>
                <a:gd name="connsiteY13" fmla="*/ 947 h 10047"/>
                <a:gd name="connsiteX14" fmla="*/ 4943 w 10062"/>
                <a:gd name="connsiteY14" fmla="*/ 544 h 10047"/>
                <a:gd name="connsiteX15" fmla="*/ 5232 w 10062"/>
                <a:gd name="connsiteY15" fmla="*/ 544 h 10047"/>
                <a:gd name="connsiteX16" fmla="*/ 5810 w 10062"/>
                <a:gd name="connsiteY16" fmla="*/ 0 h 10047"/>
                <a:gd name="connsiteX17" fmla="*/ 6532 w 10062"/>
                <a:gd name="connsiteY17" fmla="*/ 47 h 10047"/>
                <a:gd name="connsiteX18" fmla="*/ 6789 w 10062"/>
                <a:gd name="connsiteY18" fmla="*/ 798 h 10047"/>
                <a:gd name="connsiteX19" fmla="*/ 7255 w 10062"/>
                <a:gd name="connsiteY19" fmla="*/ 1785 h 10047"/>
                <a:gd name="connsiteX20" fmla="*/ 7770 w 10062"/>
                <a:gd name="connsiteY20" fmla="*/ 2235 h 10047"/>
                <a:gd name="connsiteX21" fmla="*/ 9159 w 10062"/>
                <a:gd name="connsiteY21" fmla="*/ 2882 h 10047"/>
                <a:gd name="connsiteX22" fmla="*/ 10000 w 10062"/>
                <a:gd name="connsiteY22" fmla="*/ 3772 h 10047"/>
                <a:gd name="connsiteX23" fmla="*/ 10000 w 10062"/>
                <a:gd name="connsiteY23" fmla="*/ 5012 h 10047"/>
                <a:gd name="connsiteX24" fmla="*/ 9711 w 10062"/>
                <a:gd name="connsiteY24" fmla="*/ 5758 h 10047"/>
                <a:gd name="connsiteX25" fmla="*/ 8989 w 10062"/>
                <a:gd name="connsiteY25" fmla="*/ 6006 h 10047"/>
                <a:gd name="connsiteX26" fmla="*/ 8989 w 10062"/>
                <a:gd name="connsiteY26" fmla="*/ 6502 h 10047"/>
                <a:gd name="connsiteX27" fmla="*/ 8555 w 10062"/>
                <a:gd name="connsiteY27" fmla="*/ 6750 h 10047"/>
                <a:gd name="connsiteX28" fmla="*/ 7110 w 10062"/>
                <a:gd name="connsiteY28" fmla="*/ 7743 h 10047"/>
                <a:gd name="connsiteX29" fmla="*/ 6966 w 10062"/>
                <a:gd name="connsiteY29" fmla="*/ 8240 h 10047"/>
                <a:gd name="connsiteX30" fmla="*/ 7400 w 10062"/>
                <a:gd name="connsiteY30" fmla="*/ 8737 h 10047"/>
                <a:gd name="connsiteX31" fmla="*/ 7688 w 10062"/>
                <a:gd name="connsiteY31" fmla="*/ 8737 h 10047"/>
                <a:gd name="connsiteX32" fmla="*/ 7688 w 10062"/>
                <a:gd name="connsiteY32" fmla="*/ 9233 h 10047"/>
                <a:gd name="connsiteX33" fmla="*/ 6821 w 10062"/>
                <a:gd name="connsiteY33" fmla="*/ 9729 h 10047"/>
                <a:gd name="connsiteX34" fmla="*/ 6244 w 10062"/>
                <a:gd name="connsiteY34" fmla="*/ 9978 h 10047"/>
                <a:gd name="connsiteX35" fmla="*/ 6244 w 10062"/>
                <a:gd name="connsiteY35" fmla="*/ 9233 h 10047"/>
                <a:gd name="connsiteX36" fmla="*/ 5810 w 10062"/>
                <a:gd name="connsiteY36" fmla="*/ 8984 h 10047"/>
                <a:gd name="connsiteX37" fmla="*/ 6388 w 10062"/>
                <a:gd name="connsiteY37" fmla="*/ 8240 h 10047"/>
                <a:gd name="connsiteX38" fmla="*/ 6099 w 10062"/>
                <a:gd name="connsiteY38" fmla="*/ 7743 h 10047"/>
                <a:gd name="connsiteX39" fmla="*/ 5377 w 10062"/>
                <a:gd name="connsiteY39" fmla="*/ 7743 h 10047"/>
                <a:gd name="connsiteX40" fmla="*/ 5377 w 10062"/>
                <a:gd name="connsiteY40" fmla="*/ 7247 h 10047"/>
                <a:gd name="connsiteX41" fmla="*/ 4798 w 10062"/>
                <a:gd name="connsiteY41" fmla="*/ 7495 h 10047"/>
                <a:gd name="connsiteX42" fmla="*/ 4221 w 10062"/>
                <a:gd name="connsiteY42" fmla="*/ 8489 h 10047"/>
                <a:gd name="connsiteX43" fmla="*/ 4076 w 10062"/>
                <a:gd name="connsiteY43" fmla="*/ 8737 h 10047"/>
                <a:gd name="connsiteX44" fmla="*/ 3787 w 10062"/>
                <a:gd name="connsiteY44" fmla="*/ 8737 h 10047"/>
                <a:gd name="connsiteX45" fmla="*/ 3642 w 10062"/>
                <a:gd name="connsiteY45" fmla="*/ 8737 h 10047"/>
                <a:gd name="connsiteX46" fmla="*/ 3787 w 10062"/>
                <a:gd name="connsiteY46" fmla="*/ 7743 h 10047"/>
                <a:gd name="connsiteX47" fmla="*/ 4076 w 10062"/>
                <a:gd name="connsiteY47" fmla="*/ 7495 h 10047"/>
                <a:gd name="connsiteX48" fmla="*/ 4076 w 10062"/>
                <a:gd name="connsiteY48" fmla="*/ 6502 h 10047"/>
                <a:gd name="connsiteX49" fmla="*/ 3931 w 10062"/>
                <a:gd name="connsiteY49" fmla="*/ 5758 h 10047"/>
                <a:gd name="connsiteX50" fmla="*/ 3354 w 10062"/>
                <a:gd name="connsiteY50" fmla="*/ 5261 h 10047"/>
                <a:gd name="connsiteX51" fmla="*/ 2631 w 10062"/>
                <a:gd name="connsiteY51" fmla="*/ 5261 h 10047"/>
                <a:gd name="connsiteX52" fmla="*/ 2486 w 10062"/>
                <a:gd name="connsiteY52" fmla="*/ 5261 h 10047"/>
                <a:gd name="connsiteX53" fmla="*/ 2053 w 10062"/>
                <a:gd name="connsiteY53" fmla="*/ 5758 h 10047"/>
                <a:gd name="connsiteX54" fmla="*/ 1475 w 10062"/>
                <a:gd name="connsiteY54" fmla="*/ 6006 h 10047"/>
                <a:gd name="connsiteX55" fmla="*/ 1331 w 10062"/>
                <a:gd name="connsiteY55" fmla="*/ 5758 h 10047"/>
                <a:gd name="connsiteX56" fmla="*/ 897 w 10062"/>
                <a:gd name="connsiteY56" fmla="*/ 5758 h 10047"/>
                <a:gd name="connsiteX57" fmla="*/ 320 w 10062"/>
                <a:gd name="connsiteY57" fmla="*/ 5509 h 10047"/>
                <a:gd name="connsiteX58" fmla="*/ 30 w 10062"/>
                <a:gd name="connsiteY58" fmla="*/ 5012 h 10047"/>
                <a:gd name="connsiteX0" fmla="*/ 30 w 10062"/>
                <a:gd name="connsiteY0" fmla="*/ 5012 h 10047"/>
                <a:gd name="connsiteX1" fmla="*/ 175 w 10062"/>
                <a:gd name="connsiteY1" fmla="*/ 4516 h 10047"/>
                <a:gd name="connsiteX2" fmla="*/ 463 w 10062"/>
                <a:gd name="connsiteY2" fmla="*/ 4267 h 10047"/>
                <a:gd name="connsiteX3" fmla="*/ 320 w 10062"/>
                <a:gd name="connsiteY3" fmla="*/ 3523 h 10047"/>
                <a:gd name="connsiteX4" fmla="*/ 753 w 10062"/>
                <a:gd name="connsiteY4" fmla="*/ 2778 h 10047"/>
                <a:gd name="connsiteX5" fmla="*/ 1042 w 10062"/>
                <a:gd name="connsiteY5" fmla="*/ 2530 h 10047"/>
                <a:gd name="connsiteX6" fmla="*/ 753 w 10062"/>
                <a:gd name="connsiteY6" fmla="*/ 1289 h 10047"/>
                <a:gd name="connsiteX7" fmla="*/ 753 w 10062"/>
                <a:gd name="connsiteY7" fmla="*/ 1289 h 10047"/>
                <a:gd name="connsiteX8" fmla="*/ 753 w 10062"/>
                <a:gd name="connsiteY8" fmla="*/ 1289 h 10047"/>
                <a:gd name="connsiteX9" fmla="*/ 1331 w 10062"/>
                <a:gd name="connsiteY9" fmla="*/ 497 h 10047"/>
                <a:gd name="connsiteX10" fmla="*/ 1909 w 10062"/>
                <a:gd name="connsiteY10" fmla="*/ 544 h 10047"/>
                <a:gd name="connsiteX11" fmla="*/ 3122 w 10062"/>
                <a:gd name="connsiteY11" fmla="*/ 549 h 10047"/>
                <a:gd name="connsiteX12" fmla="*/ 4076 w 10062"/>
                <a:gd name="connsiteY12" fmla="*/ 896 h 10047"/>
                <a:gd name="connsiteX13" fmla="*/ 4654 w 10062"/>
                <a:gd name="connsiteY13" fmla="*/ 947 h 10047"/>
                <a:gd name="connsiteX14" fmla="*/ 4943 w 10062"/>
                <a:gd name="connsiteY14" fmla="*/ 544 h 10047"/>
                <a:gd name="connsiteX15" fmla="*/ 5232 w 10062"/>
                <a:gd name="connsiteY15" fmla="*/ 544 h 10047"/>
                <a:gd name="connsiteX16" fmla="*/ 5810 w 10062"/>
                <a:gd name="connsiteY16" fmla="*/ 0 h 10047"/>
                <a:gd name="connsiteX17" fmla="*/ 6532 w 10062"/>
                <a:gd name="connsiteY17" fmla="*/ 47 h 10047"/>
                <a:gd name="connsiteX18" fmla="*/ 6789 w 10062"/>
                <a:gd name="connsiteY18" fmla="*/ 798 h 10047"/>
                <a:gd name="connsiteX19" fmla="*/ 7255 w 10062"/>
                <a:gd name="connsiteY19" fmla="*/ 1785 h 10047"/>
                <a:gd name="connsiteX20" fmla="*/ 7770 w 10062"/>
                <a:gd name="connsiteY20" fmla="*/ 2235 h 10047"/>
                <a:gd name="connsiteX21" fmla="*/ 9159 w 10062"/>
                <a:gd name="connsiteY21" fmla="*/ 2882 h 10047"/>
                <a:gd name="connsiteX22" fmla="*/ 10000 w 10062"/>
                <a:gd name="connsiteY22" fmla="*/ 3772 h 10047"/>
                <a:gd name="connsiteX23" fmla="*/ 10000 w 10062"/>
                <a:gd name="connsiteY23" fmla="*/ 5012 h 10047"/>
                <a:gd name="connsiteX24" fmla="*/ 9711 w 10062"/>
                <a:gd name="connsiteY24" fmla="*/ 5758 h 10047"/>
                <a:gd name="connsiteX25" fmla="*/ 8989 w 10062"/>
                <a:gd name="connsiteY25" fmla="*/ 6006 h 10047"/>
                <a:gd name="connsiteX26" fmla="*/ 8989 w 10062"/>
                <a:gd name="connsiteY26" fmla="*/ 6502 h 10047"/>
                <a:gd name="connsiteX27" fmla="*/ 8555 w 10062"/>
                <a:gd name="connsiteY27" fmla="*/ 6750 h 10047"/>
                <a:gd name="connsiteX28" fmla="*/ 7110 w 10062"/>
                <a:gd name="connsiteY28" fmla="*/ 7743 h 10047"/>
                <a:gd name="connsiteX29" fmla="*/ 6966 w 10062"/>
                <a:gd name="connsiteY29" fmla="*/ 8240 h 10047"/>
                <a:gd name="connsiteX30" fmla="*/ 7400 w 10062"/>
                <a:gd name="connsiteY30" fmla="*/ 8737 h 10047"/>
                <a:gd name="connsiteX31" fmla="*/ 7688 w 10062"/>
                <a:gd name="connsiteY31" fmla="*/ 8737 h 10047"/>
                <a:gd name="connsiteX32" fmla="*/ 7688 w 10062"/>
                <a:gd name="connsiteY32" fmla="*/ 9233 h 10047"/>
                <a:gd name="connsiteX33" fmla="*/ 6821 w 10062"/>
                <a:gd name="connsiteY33" fmla="*/ 9729 h 10047"/>
                <a:gd name="connsiteX34" fmla="*/ 6244 w 10062"/>
                <a:gd name="connsiteY34" fmla="*/ 9978 h 10047"/>
                <a:gd name="connsiteX35" fmla="*/ 6244 w 10062"/>
                <a:gd name="connsiteY35" fmla="*/ 9233 h 10047"/>
                <a:gd name="connsiteX36" fmla="*/ 5810 w 10062"/>
                <a:gd name="connsiteY36" fmla="*/ 8984 h 10047"/>
                <a:gd name="connsiteX37" fmla="*/ 6388 w 10062"/>
                <a:gd name="connsiteY37" fmla="*/ 8240 h 10047"/>
                <a:gd name="connsiteX38" fmla="*/ 6099 w 10062"/>
                <a:gd name="connsiteY38" fmla="*/ 7743 h 10047"/>
                <a:gd name="connsiteX39" fmla="*/ 5377 w 10062"/>
                <a:gd name="connsiteY39" fmla="*/ 7743 h 10047"/>
                <a:gd name="connsiteX40" fmla="*/ 5377 w 10062"/>
                <a:gd name="connsiteY40" fmla="*/ 7247 h 10047"/>
                <a:gd name="connsiteX41" fmla="*/ 4798 w 10062"/>
                <a:gd name="connsiteY41" fmla="*/ 7495 h 10047"/>
                <a:gd name="connsiteX42" fmla="*/ 4221 w 10062"/>
                <a:gd name="connsiteY42" fmla="*/ 8489 h 10047"/>
                <a:gd name="connsiteX43" fmla="*/ 4076 w 10062"/>
                <a:gd name="connsiteY43" fmla="*/ 8737 h 10047"/>
                <a:gd name="connsiteX44" fmla="*/ 3787 w 10062"/>
                <a:gd name="connsiteY44" fmla="*/ 8737 h 10047"/>
                <a:gd name="connsiteX45" fmla="*/ 3642 w 10062"/>
                <a:gd name="connsiteY45" fmla="*/ 8737 h 10047"/>
                <a:gd name="connsiteX46" fmla="*/ 3787 w 10062"/>
                <a:gd name="connsiteY46" fmla="*/ 7743 h 10047"/>
                <a:gd name="connsiteX47" fmla="*/ 4076 w 10062"/>
                <a:gd name="connsiteY47" fmla="*/ 7495 h 10047"/>
                <a:gd name="connsiteX48" fmla="*/ 4076 w 10062"/>
                <a:gd name="connsiteY48" fmla="*/ 6502 h 10047"/>
                <a:gd name="connsiteX49" fmla="*/ 3931 w 10062"/>
                <a:gd name="connsiteY49" fmla="*/ 5758 h 10047"/>
                <a:gd name="connsiteX50" fmla="*/ 3354 w 10062"/>
                <a:gd name="connsiteY50" fmla="*/ 5261 h 10047"/>
                <a:gd name="connsiteX51" fmla="*/ 2631 w 10062"/>
                <a:gd name="connsiteY51" fmla="*/ 5261 h 10047"/>
                <a:gd name="connsiteX52" fmla="*/ 2486 w 10062"/>
                <a:gd name="connsiteY52" fmla="*/ 5261 h 10047"/>
                <a:gd name="connsiteX53" fmla="*/ 2053 w 10062"/>
                <a:gd name="connsiteY53" fmla="*/ 5758 h 10047"/>
                <a:gd name="connsiteX54" fmla="*/ 1475 w 10062"/>
                <a:gd name="connsiteY54" fmla="*/ 6006 h 10047"/>
                <a:gd name="connsiteX55" fmla="*/ 1331 w 10062"/>
                <a:gd name="connsiteY55" fmla="*/ 5758 h 10047"/>
                <a:gd name="connsiteX56" fmla="*/ 897 w 10062"/>
                <a:gd name="connsiteY56" fmla="*/ 5758 h 10047"/>
                <a:gd name="connsiteX57" fmla="*/ 320 w 10062"/>
                <a:gd name="connsiteY57" fmla="*/ 5509 h 10047"/>
                <a:gd name="connsiteX58" fmla="*/ 30 w 10062"/>
                <a:gd name="connsiteY58" fmla="*/ 5012 h 10047"/>
                <a:gd name="connsiteX0" fmla="*/ 30 w 10062"/>
                <a:gd name="connsiteY0" fmla="*/ 5012 h 10047"/>
                <a:gd name="connsiteX1" fmla="*/ 175 w 10062"/>
                <a:gd name="connsiteY1" fmla="*/ 4516 h 10047"/>
                <a:gd name="connsiteX2" fmla="*/ 463 w 10062"/>
                <a:gd name="connsiteY2" fmla="*/ 4267 h 10047"/>
                <a:gd name="connsiteX3" fmla="*/ 320 w 10062"/>
                <a:gd name="connsiteY3" fmla="*/ 3523 h 10047"/>
                <a:gd name="connsiteX4" fmla="*/ 753 w 10062"/>
                <a:gd name="connsiteY4" fmla="*/ 2778 h 10047"/>
                <a:gd name="connsiteX5" fmla="*/ 1042 w 10062"/>
                <a:gd name="connsiteY5" fmla="*/ 2530 h 10047"/>
                <a:gd name="connsiteX6" fmla="*/ 753 w 10062"/>
                <a:gd name="connsiteY6" fmla="*/ 1289 h 10047"/>
                <a:gd name="connsiteX7" fmla="*/ 753 w 10062"/>
                <a:gd name="connsiteY7" fmla="*/ 1289 h 10047"/>
                <a:gd name="connsiteX8" fmla="*/ 753 w 10062"/>
                <a:gd name="connsiteY8" fmla="*/ 1289 h 10047"/>
                <a:gd name="connsiteX9" fmla="*/ 1331 w 10062"/>
                <a:gd name="connsiteY9" fmla="*/ 497 h 10047"/>
                <a:gd name="connsiteX10" fmla="*/ 2022 w 10062"/>
                <a:gd name="connsiteY10" fmla="*/ 151 h 10047"/>
                <a:gd name="connsiteX11" fmla="*/ 3122 w 10062"/>
                <a:gd name="connsiteY11" fmla="*/ 549 h 10047"/>
                <a:gd name="connsiteX12" fmla="*/ 4076 w 10062"/>
                <a:gd name="connsiteY12" fmla="*/ 896 h 10047"/>
                <a:gd name="connsiteX13" fmla="*/ 4654 w 10062"/>
                <a:gd name="connsiteY13" fmla="*/ 947 h 10047"/>
                <a:gd name="connsiteX14" fmla="*/ 4943 w 10062"/>
                <a:gd name="connsiteY14" fmla="*/ 544 h 10047"/>
                <a:gd name="connsiteX15" fmla="*/ 5232 w 10062"/>
                <a:gd name="connsiteY15" fmla="*/ 544 h 10047"/>
                <a:gd name="connsiteX16" fmla="*/ 5810 w 10062"/>
                <a:gd name="connsiteY16" fmla="*/ 0 h 10047"/>
                <a:gd name="connsiteX17" fmla="*/ 6532 w 10062"/>
                <a:gd name="connsiteY17" fmla="*/ 47 h 10047"/>
                <a:gd name="connsiteX18" fmla="*/ 6789 w 10062"/>
                <a:gd name="connsiteY18" fmla="*/ 798 h 10047"/>
                <a:gd name="connsiteX19" fmla="*/ 7255 w 10062"/>
                <a:gd name="connsiteY19" fmla="*/ 1785 h 10047"/>
                <a:gd name="connsiteX20" fmla="*/ 7770 w 10062"/>
                <a:gd name="connsiteY20" fmla="*/ 2235 h 10047"/>
                <a:gd name="connsiteX21" fmla="*/ 9159 w 10062"/>
                <a:gd name="connsiteY21" fmla="*/ 2882 h 10047"/>
                <a:gd name="connsiteX22" fmla="*/ 10000 w 10062"/>
                <a:gd name="connsiteY22" fmla="*/ 3772 h 10047"/>
                <a:gd name="connsiteX23" fmla="*/ 10000 w 10062"/>
                <a:gd name="connsiteY23" fmla="*/ 5012 h 10047"/>
                <a:gd name="connsiteX24" fmla="*/ 9711 w 10062"/>
                <a:gd name="connsiteY24" fmla="*/ 5758 h 10047"/>
                <a:gd name="connsiteX25" fmla="*/ 8989 w 10062"/>
                <a:gd name="connsiteY25" fmla="*/ 6006 h 10047"/>
                <a:gd name="connsiteX26" fmla="*/ 8989 w 10062"/>
                <a:gd name="connsiteY26" fmla="*/ 6502 h 10047"/>
                <a:gd name="connsiteX27" fmla="*/ 8555 w 10062"/>
                <a:gd name="connsiteY27" fmla="*/ 6750 h 10047"/>
                <a:gd name="connsiteX28" fmla="*/ 7110 w 10062"/>
                <a:gd name="connsiteY28" fmla="*/ 7743 h 10047"/>
                <a:gd name="connsiteX29" fmla="*/ 6966 w 10062"/>
                <a:gd name="connsiteY29" fmla="*/ 8240 h 10047"/>
                <a:gd name="connsiteX30" fmla="*/ 7400 w 10062"/>
                <a:gd name="connsiteY30" fmla="*/ 8737 h 10047"/>
                <a:gd name="connsiteX31" fmla="*/ 7688 w 10062"/>
                <a:gd name="connsiteY31" fmla="*/ 8737 h 10047"/>
                <a:gd name="connsiteX32" fmla="*/ 7688 w 10062"/>
                <a:gd name="connsiteY32" fmla="*/ 9233 h 10047"/>
                <a:gd name="connsiteX33" fmla="*/ 6821 w 10062"/>
                <a:gd name="connsiteY33" fmla="*/ 9729 h 10047"/>
                <a:gd name="connsiteX34" fmla="*/ 6244 w 10062"/>
                <a:gd name="connsiteY34" fmla="*/ 9978 h 10047"/>
                <a:gd name="connsiteX35" fmla="*/ 6244 w 10062"/>
                <a:gd name="connsiteY35" fmla="*/ 9233 h 10047"/>
                <a:gd name="connsiteX36" fmla="*/ 5810 w 10062"/>
                <a:gd name="connsiteY36" fmla="*/ 8984 h 10047"/>
                <a:gd name="connsiteX37" fmla="*/ 6388 w 10062"/>
                <a:gd name="connsiteY37" fmla="*/ 8240 h 10047"/>
                <a:gd name="connsiteX38" fmla="*/ 6099 w 10062"/>
                <a:gd name="connsiteY38" fmla="*/ 7743 h 10047"/>
                <a:gd name="connsiteX39" fmla="*/ 5377 w 10062"/>
                <a:gd name="connsiteY39" fmla="*/ 7743 h 10047"/>
                <a:gd name="connsiteX40" fmla="*/ 5377 w 10062"/>
                <a:gd name="connsiteY40" fmla="*/ 7247 h 10047"/>
                <a:gd name="connsiteX41" fmla="*/ 4798 w 10062"/>
                <a:gd name="connsiteY41" fmla="*/ 7495 h 10047"/>
                <a:gd name="connsiteX42" fmla="*/ 4221 w 10062"/>
                <a:gd name="connsiteY42" fmla="*/ 8489 h 10047"/>
                <a:gd name="connsiteX43" fmla="*/ 4076 w 10062"/>
                <a:gd name="connsiteY43" fmla="*/ 8737 h 10047"/>
                <a:gd name="connsiteX44" fmla="*/ 3787 w 10062"/>
                <a:gd name="connsiteY44" fmla="*/ 8737 h 10047"/>
                <a:gd name="connsiteX45" fmla="*/ 3642 w 10062"/>
                <a:gd name="connsiteY45" fmla="*/ 8737 h 10047"/>
                <a:gd name="connsiteX46" fmla="*/ 3787 w 10062"/>
                <a:gd name="connsiteY46" fmla="*/ 7743 h 10047"/>
                <a:gd name="connsiteX47" fmla="*/ 4076 w 10062"/>
                <a:gd name="connsiteY47" fmla="*/ 7495 h 10047"/>
                <a:gd name="connsiteX48" fmla="*/ 4076 w 10062"/>
                <a:gd name="connsiteY48" fmla="*/ 6502 h 10047"/>
                <a:gd name="connsiteX49" fmla="*/ 3931 w 10062"/>
                <a:gd name="connsiteY49" fmla="*/ 5758 h 10047"/>
                <a:gd name="connsiteX50" fmla="*/ 3354 w 10062"/>
                <a:gd name="connsiteY50" fmla="*/ 5261 h 10047"/>
                <a:gd name="connsiteX51" fmla="*/ 2631 w 10062"/>
                <a:gd name="connsiteY51" fmla="*/ 5261 h 10047"/>
                <a:gd name="connsiteX52" fmla="*/ 2486 w 10062"/>
                <a:gd name="connsiteY52" fmla="*/ 5261 h 10047"/>
                <a:gd name="connsiteX53" fmla="*/ 2053 w 10062"/>
                <a:gd name="connsiteY53" fmla="*/ 5758 h 10047"/>
                <a:gd name="connsiteX54" fmla="*/ 1475 w 10062"/>
                <a:gd name="connsiteY54" fmla="*/ 6006 h 10047"/>
                <a:gd name="connsiteX55" fmla="*/ 1331 w 10062"/>
                <a:gd name="connsiteY55" fmla="*/ 5758 h 10047"/>
                <a:gd name="connsiteX56" fmla="*/ 897 w 10062"/>
                <a:gd name="connsiteY56" fmla="*/ 5758 h 10047"/>
                <a:gd name="connsiteX57" fmla="*/ 320 w 10062"/>
                <a:gd name="connsiteY57" fmla="*/ 5509 h 10047"/>
                <a:gd name="connsiteX58" fmla="*/ 30 w 10062"/>
                <a:gd name="connsiteY58" fmla="*/ 5012 h 1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0062" h="10047">
                  <a:moveTo>
                    <a:pt x="30" y="5012"/>
                  </a:moveTo>
                  <a:cubicBezTo>
                    <a:pt x="78" y="4847"/>
                    <a:pt x="127" y="4681"/>
                    <a:pt x="175" y="4516"/>
                  </a:cubicBezTo>
                  <a:cubicBezTo>
                    <a:pt x="320" y="4267"/>
                    <a:pt x="320" y="4516"/>
                    <a:pt x="463" y="4267"/>
                  </a:cubicBezTo>
                  <a:cubicBezTo>
                    <a:pt x="463" y="4267"/>
                    <a:pt x="320" y="3772"/>
                    <a:pt x="320" y="3523"/>
                  </a:cubicBezTo>
                  <a:lnTo>
                    <a:pt x="753" y="2778"/>
                  </a:lnTo>
                  <a:cubicBezTo>
                    <a:pt x="897" y="2778"/>
                    <a:pt x="1042" y="2778"/>
                    <a:pt x="1042" y="2530"/>
                  </a:cubicBezTo>
                  <a:cubicBezTo>
                    <a:pt x="1042" y="2281"/>
                    <a:pt x="753" y="1785"/>
                    <a:pt x="753" y="1289"/>
                  </a:cubicBezTo>
                  <a:lnTo>
                    <a:pt x="753" y="1289"/>
                  </a:lnTo>
                  <a:lnTo>
                    <a:pt x="753" y="1289"/>
                  </a:lnTo>
                  <a:cubicBezTo>
                    <a:pt x="946" y="1025"/>
                    <a:pt x="1120" y="687"/>
                    <a:pt x="1331" y="497"/>
                  </a:cubicBezTo>
                  <a:cubicBezTo>
                    <a:pt x="1543" y="307"/>
                    <a:pt x="1724" y="142"/>
                    <a:pt x="2022" y="151"/>
                  </a:cubicBezTo>
                  <a:cubicBezTo>
                    <a:pt x="2321" y="160"/>
                    <a:pt x="2977" y="549"/>
                    <a:pt x="3122" y="549"/>
                  </a:cubicBezTo>
                  <a:cubicBezTo>
                    <a:pt x="3411" y="798"/>
                    <a:pt x="3787" y="896"/>
                    <a:pt x="4076" y="896"/>
                  </a:cubicBezTo>
                  <a:cubicBezTo>
                    <a:pt x="4221" y="1143"/>
                    <a:pt x="4654" y="1195"/>
                    <a:pt x="4654" y="947"/>
                  </a:cubicBezTo>
                  <a:cubicBezTo>
                    <a:pt x="4798" y="699"/>
                    <a:pt x="4847" y="611"/>
                    <a:pt x="4943" y="544"/>
                  </a:cubicBezTo>
                  <a:cubicBezTo>
                    <a:pt x="5039" y="477"/>
                    <a:pt x="5087" y="635"/>
                    <a:pt x="5232" y="544"/>
                  </a:cubicBezTo>
                  <a:cubicBezTo>
                    <a:pt x="5377" y="453"/>
                    <a:pt x="5665" y="0"/>
                    <a:pt x="5810" y="0"/>
                  </a:cubicBezTo>
                  <a:cubicBezTo>
                    <a:pt x="5954" y="0"/>
                    <a:pt x="6388" y="47"/>
                    <a:pt x="6532" y="47"/>
                  </a:cubicBezTo>
                  <a:cubicBezTo>
                    <a:pt x="6676" y="295"/>
                    <a:pt x="6789" y="549"/>
                    <a:pt x="6789" y="798"/>
                  </a:cubicBezTo>
                  <a:cubicBezTo>
                    <a:pt x="6789" y="1294"/>
                    <a:pt x="7110" y="1536"/>
                    <a:pt x="7255" y="1785"/>
                  </a:cubicBezTo>
                  <a:cubicBezTo>
                    <a:pt x="7255" y="2033"/>
                    <a:pt x="7627" y="2235"/>
                    <a:pt x="7770" y="2235"/>
                  </a:cubicBezTo>
                  <a:cubicBezTo>
                    <a:pt x="7915" y="2483"/>
                    <a:pt x="9014" y="2633"/>
                    <a:pt x="9159" y="2882"/>
                  </a:cubicBezTo>
                  <a:cubicBezTo>
                    <a:pt x="9303" y="2882"/>
                    <a:pt x="9860" y="3417"/>
                    <a:pt x="10000" y="3772"/>
                  </a:cubicBezTo>
                  <a:cubicBezTo>
                    <a:pt x="10140" y="4127"/>
                    <a:pt x="10000" y="4599"/>
                    <a:pt x="10000" y="5012"/>
                  </a:cubicBezTo>
                  <a:cubicBezTo>
                    <a:pt x="10000" y="5261"/>
                    <a:pt x="9855" y="5758"/>
                    <a:pt x="9711" y="5758"/>
                  </a:cubicBezTo>
                  <a:cubicBezTo>
                    <a:pt x="9711" y="5758"/>
                    <a:pt x="9133" y="5758"/>
                    <a:pt x="8989" y="6006"/>
                  </a:cubicBezTo>
                  <a:lnTo>
                    <a:pt x="8989" y="6502"/>
                  </a:lnTo>
                  <a:cubicBezTo>
                    <a:pt x="8844" y="6502"/>
                    <a:pt x="8699" y="6750"/>
                    <a:pt x="8555" y="6750"/>
                  </a:cubicBezTo>
                  <a:cubicBezTo>
                    <a:pt x="8411" y="6750"/>
                    <a:pt x="7255" y="7495"/>
                    <a:pt x="7110" y="7743"/>
                  </a:cubicBezTo>
                  <a:cubicBezTo>
                    <a:pt x="6966" y="7743"/>
                    <a:pt x="6966" y="7992"/>
                    <a:pt x="6966" y="8240"/>
                  </a:cubicBezTo>
                  <a:cubicBezTo>
                    <a:pt x="6966" y="8240"/>
                    <a:pt x="7255" y="8737"/>
                    <a:pt x="7400" y="8737"/>
                  </a:cubicBezTo>
                  <a:lnTo>
                    <a:pt x="7688" y="8737"/>
                  </a:lnTo>
                  <a:cubicBezTo>
                    <a:pt x="7833" y="8737"/>
                    <a:pt x="7688" y="9233"/>
                    <a:pt x="7688" y="9233"/>
                  </a:cubicBezTo>
                  <a:cubicBezTo>
                    <a:pt x="7400" y="9481"/>
                    <a:pt x="6966" y="9481"/>
                    <a:pt x="6821" y="9729"/>
                  </a:cubicBezTo>
                  <a:cubicBezTo>
                    <a:pt x="6821" y="9729"/>
                    <a:pt x="6388" y="10226"/>
                    <a:pt x="6244" y="9978"/>
                  </a:cubicBezTo>
                  <a:cubicBezTo>
                    <a:pt x="6244" y="9729"/>
                    <a:pt x="6388" y="9233"/>
                    <a:pt x="6244" y="9233"/>
                  </a:cubicBezTo>
                  <a:cubicBezTo>
                    <a:pt x="6099" y="8984"/>
                    <a:pt x="5810" y="8984"/>
                    <a:pt x="5810" y="8984"/>
                  </a:cubicBezTo>
                  <a:cubicBezTo>
                    <a:pt x="5665" y="8737"/>
                    <a:pt x="6388" y="8240"/>
                    <a:pt x="6388" y="8240"/>
                  </a:cubicBezTo>
                  <a:cubicBezTo>
                    <a:pt x="6388" y="7992"/>
                    <a:pt x="6244" y="7743"/>
                    <a:pt x="6099" y="7743"/>
                  </a:cubicBezTo>
                  <a:cubicBezTo>
                    <a:pt x="5954" y="7743"/>
                    <a:pt x="5377" y="7992"/>
                    <a:pt x="5377" y="7743"/>
                  </a:cubicBezTo>
                  <a:cubicBezTo>
                    <a:pt x="5232" y="7495"/>
                    <a:pt x="5520" y="7247"/>
                    <a:pt x="5377" y="7247"/>
                  </a:cubicBezTo>
                  <a:cubicBezTo>
                    <a:pt x="5232" y="6998"/>
                    <a:pt x="4798" y="7247"/>
                    <a:pt x="4798" y="7495"/>
                  </a:cubicBezTo>
                  <a:cubicBezTo>
                    <a:pt x="4654" y="7495"/>
                    <a:pt x="4365" y="8240"/>
                    <a:pt x="4221" y="8489"/>
                  </a:cubicBezTo>
                  <a:cubicBezTo>
                    <a:pt x="4173" y="8572"/>
                    <a:pt x="4124" y="8654"/>
                    <a:pt x="4076" y="8737"/>
                  </a:cubicBezTo>
                  <a:lnTo>
                    <a:pt x="3787" y="8737"/>
                  </a:lnTo>
                  <a:lnTo>
                    <a:pt x="3642" y="8737"/>
                  </a:lnTo>
                  <a:cubicBezTo>
                    <a:pt x="3690" y="8406"/>
                    <a:pt x="3739" y="8074"/>
                    <a:pt x="3787" y="7743"/>
                  </a:cubicBezTo>
                  <a:cubicBezTo>
                    <a:pt x="3787" y="7495"/>
                    <a:pt x="4076" y="7495"/>
                    <a:pt x="4076" y="7495"/>
                  </a:cubicBezTo>
                  <a:lnTo>
                    <a:pt x="4076" y="6502"/>
                  </a:lnTo>
                  <a:cubicBezTo>
                    <a:pt x="3931" y="6254"/>
                    <a:pt x="3931" y="6006"/>
                    <a:pt x="3931" y="5758"/>
                  </a:cubicBezTo>
                  <a:cubicBezTo>
                    <a:pt x="3931" y="5509"/>
                    <a:pt x="3498" y="5509"/>
                    <a:pt x="3354" y="5261"/>
                  </a:cubicBezTo>
                  <a:lnTo>
                    <a:pt x="2631" y="5261"/>
                  </a:lnTo>
                  <a:lnTo>
                    <a:pt x="2486" y="5261"/>
                  </a:lnTo>
                  <a:cubicBezTo>
                    <a:pt x="2342" y="5509"/>
                    <a:pt x="2053" y="5758"/>
                    <a:pt x="2053" y="5758"/>
                  </a:cubicBezTo>
                  <a:cubicBezTo>
                    <a:pt x="1909" y="5758"/>
                    <a:pt x="1619" y="6006"/>
                    <a:pt x="1475" y="6006"/>
                  </a:cubicBezTo>
                  <a:cubicBezTo>
                    <a:pt x="1475" y="6006"/>
                    <a:pt x="1331" y="6006"/>
                    <a:pt x="1331" y="5758"/>
                  </a:cubicBezTo>
                  <a:lnTo>
                    <a:pt x="897" y="5758"/>
                  </a:lnTo>
                  <a:lnTo>
                    <a:pt x="320" y="5509"/>
                  </a:lnTo>
                  <a:cubicBezTo>
                    <a:pt x="320" y="5509"/>
                    <a:pt x="-114" y="5261"/>
                    <a:pt x="30" y="50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4" name="Freeform 640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716241" y="2740287"/>
              <a:ext cx="156243" cy="90414"/>
            </a:xfrm>
            <a:custGeom>
              <a:avLst/>
              <a:gdLst>
                <a:gd name="T0" fmla="*/ 1 w 26"/>
                <a:gd name="T1" fmla="*/ 10 h 14"/>
                <a:gd name="T2" fmla="*/ 0 w 26"/>
                <a:gd name="T3" fmla="*/ 8 h 14"/>
                <a:gd name="T4" fmla="*/ 1 w 26"/>
                <a:gd name="T5" fmla="*/ 7 h 14"/>
                <a:gd name="T6" fmla="*/ 1 w 26"/>
                <a:gd name="T7" fmla="*/ 4 h 14"/>
                <a:gd name="T8" fmla="*/ 3 w 26"/>
                <a:gd name="T9" fmla="*/ 5 h 14"/>
                <a:gd name="T10" fmla="*/ 3 w 26"/>
                <a:gd name="T11" fmla="*/ 3 h 14"/>
                <a:gd name="T12" fmla="*/ 3 w 26"/>
                <a:gd name="T13" fmla="*/ 3 h 14"/>
                <a:gd name="T14" fmla="*/ 6 w 26"/>
                <a:gd name="T15" fmla="*/ 4 h 14"/>
                <a:gd name="T16" fmla="*/ 10 w 26"/>
                <a:gd name="T17" fmla="*/ 4 h 14"/>
                <a:gd name="T18" fmla="*/ 11 w 26"/>
                <a:gd name="T19" fmla="*/ 3 h 14"/>
                <a:gd name="T20" fmla="*/ 15 w 26"/>
                <a:gd name="T21" fmla="*/ 2 h 14"/>
                <a:gd name="T22" fmla="*/ 19 w 26"/>
                <a:gd name="T23" fmla="*/ 0 h 14"/>
                <a:gd name="T24" fmla="*/ 23 w 26"/>
                <a:gd name="T25" fmla="*/ 1 h 14"/>
                <a:gd name="T26" fmla="*/ 25 w 26"/>
                <a:gd name="T27" fmla="*/ 3 h 14"/>
                <a:gd name="T28" fmla="*/ 25 w 26"/>
                <a:gd name="T29" fmla="*/ 4 h 14"/>
                <a:gd name="T30" fmla="*/ 22 w 26"/>
                <a:gd name="T31" fmla="*/ 6 h 14"/>
                <a:gd name="T32" fmla="*/ 19 w 26"/>
                <a:gd name="T33" fmla="*/ 11 h 14"/>
                <a:gd name="T34" fmla="*/ 16 w 26"/>
                <a:gd name="T35" fmla="*/ 12 h 14"/>
                <a:gd name="T36" fmla="*/ 15 w 26"/>
                <a:gd name="T37" fmla="*/ 12 h 14"/>
                <a:gd name="T38" fmla="*/ 11 w 26"/>
                <a:gd name="T39" fmla="*/ 12 h 14"/>
                <a:gd name="T40" fmla="*/ 10 w 26"/>
                <a:gd name="T41" fmla="*/ 13 h 14"/>
                <a:gd name="T42" fmla="*/ 8 w 26"/>
                <a:gd name="T43" fmla="*/ 14 h 14"/>
                <a:gd name="T44" fmla="*/ 5 w 26"/>
                <a:gd name="T45" fmla="*/ 13 h 14"/>
                <a:gd name="T46" fmla="*/ 1 w 26"/>
                <a:gd name="T47" fmla="*/ 10 h 14"/>
                <a:gd name="T48" fmla="*/ 1 w 26"/>
                <a:gd name="T4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" h="14">
                  <a:moveTo>
                    <a:pt x="1" y="1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5" y="4"/>
                    <a:pt x="6" y="4"/>
                  </a:cubicBezTo>
                  <a:cubicBezTo>
                    <a:pt x="6" y="4"/>
                    <a:pt x="10" y="4"/>
                    <a:pt x="10" y="4"/>
                  </a:cubicBezTo>
                  <a:cubicBezTo>
                    <a:pt x="10" y="4"/>
                    <a:pt x="11" y="3"/>
                    <a:pt x="11" y="3"/>
                  </a:cubicBezTo>
                  <a:cubicBezTo>
                    <a:pt x="12" y="2"/>
                    <a:pt x="15" y="2"/>
                    <a:pt x="15" y="2"/>
                  </a:cubicBezTo>
                  <a:cubicBezTo>
                    <a:pt x="16" y="2"/>
                    <a:pt x="18" y="0"/>
                    <a:pt x="19" y="0"/>
                  </a:cubicBezTo>
                  <a:cubicBezTo>
                    <a:pt x="20" y="0"/>
                    <a:pt x="23" y="1"/>
                    <a:pt x="23" y="1"/>
                  </a:cubicBezTo>
                  <a:cubicBezTo>
                    <a:pt x="22" y="1"/>
                    <a:pt x="25" y="2"/>
                    <a:pt x="25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2" y="6"/>
                    <a:pt x="22" y="6"/>
                  </a:cubicBezTo>
                  <a:cubicBezTo>
                    <a:pt x="21" y="6"/>
                    <a:pt x="20" y="11"/>
                    <a:pt x="19" y="11"/>
                  </a:cubicBezTo>
                  <a:cubicBezTo>
                    <a:pt x="19" y="12"/>
                    <a:pt x="17" y="12"/>
                    <a:pt x="16" y="12"/>
                  </a:cubicBezTo>
                  <a:cubicBezTo>
                    <a:pt x="16" y="12"/>
                    <a:pt x="16" y="12"/>
                    <a:pt x="15" y="12"/>
                  </a:cubicBezTo>
                  <a:cubicBezTo>
                    <a:pt x="15" y="12"/>
                    <a:pt x="12" y="12"/>
                    <a:pt x="11" y="12"/>
                  </a:cubicBezTo>
                  <a:cubicBezTo>
                    <a:pt x="11" y="12"/>
                    <a:pt x="10" y="13"/>
                    <a:pt x="10" y="13"/>
                  </a:cubicBezTo>
                  <a:cubicBezTo>
                    <a:pt x="9" y="13"/>
                    <a:pt x="9" y="13"/>
                    <a:pt x="8" y="14"/>
                  </a:cubicBezTo>
                  <a:cubicBezTo>
                    <a:pt x="7" y="14"/>
                    <a:pt x="5" y="13"/>
                    <a:pt x="5" y="13"/>
                  </a:cubicBezTo>
                  <a:cubicBezTo>
                    <a:pt x="4" y="13"/>
                    <a:pt x="2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5" name="Freeform 639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806862" y="2947904"/>
              <a:ext cx="143743" cy="160737"/>
            </a:xfrm>
            <a:custGeom>
              <a:avLst/>
              <a:gdLst>
                <a:gd name="T0" fmla="*/ 1 w 24"/>
                <a:gd name="T1" fmla="*/ 13 h 25"/>
                <a:gd name="T2" fmla="*/ 0 w 24"/>
                <a:gd name="T3" fmla="*/ 11 h 25"/>
                <a:gd name="T4" fmla="*/ 3 w 24"/>
                <a:gd name="T5" fmla="*/ 7 h 25"/>
                <a:gd name="T6" fmla="*/ 3 w 24"/>
                <a:gd name="T7" fmla="*/ 6 h 25"/>
                <a:gd name="T8" fmla="*/ 7 w 24"/>
                <a:gd name="T9" fmla="*/ 4 h 25"/>
                <a:gd name="T10" fmla="*/ 10 w 24"/>
                <a:gd name="T11" fmla="*/ 3 h 25"/>
                <a:gd name="T12" fmla="*/ 11 w 24"/>
                <a:gd name="T13" fmla="*/ 3 h 25"/>
                <a:gd name="T14" fmla="*/ 14 w 24"/>
                <a:gd name="T15" fmla="*/ 2 h 25"/>
                <a:gd name="T16" fmla="*/ 18 w 24"/>
                <a:gd name="T17" fmla="*/ 2 h 25"/>
                <a:gd name="T18" fmla="*/ 21 w 24"/>
                <a:gd name="T19" fmla="*/ 2 h 25"/>
                <a:gd name="T20" fmla="*/ 23 w 24"/>
                <a:gd name="T21" fmla="*/ 0 h 25"/>
                <a:gd name="T22" fmla="*/ 24 w 24"/>
                <a:gd name="T23" fmla="*/ 4 h 25"/>
                <a:gd name="T24" fmla="*/ 23 w 24"/>
                <a:gd name="T25" fmla="*/ 6 h 25"/>
                <a:gd name="T26" fmla="*/ 20 w 24"/>
                <a:gd name="T27" fmla="*/ 5 h 25"/>
                <a:gd name="T28" fmla="*/ 16 w 24"/>
                <a:gd name="T29" fmla="*/ 5 h 25"/>
                <a:gd name="T30" fmla="*/ 14 w 24"/>
                <a:gd name="T31" fmla="*/ 7 h 25"/>
                <a:gd name="T32" fmla="*/ 16 w 24"/>
                <a:gd name="T33" fmla="*/ 9 h 25"/>
                <a:gd name="T34" fmla="*/ 13 w 24"/>
                <a:gd name="T35" fmla="*/ 9 h 25"/>
                <a:gd name="T36" fmla="*/ 10 w 24"/>
                <a:gd name="T37" fmla="*/ 7 h 25"/>
                <a:gd name="T38" fmla="*/ 9 w 24"/>
                <a:gd name="T39" fmla="*/ 9 h 25"/>
                <a:gd name="T40" fmla="*/ 12 w 24"/>
                <a:gd name="T41" fmla="*/ 13 h 25"/>
                <a:gd name="T42" fmla="*/ 14 w 24"/>
                <a:gd name="T43" fmla="*/ 15 h 25"/>
                <a:gd name="T44" fmla="*/ 16 w 24"/>
                <a:gd name="T45" fmla="*/ 18 h 25"/>
                <a:gd name="T46" fmla="*/ 18 w 24"/>
                <a:gd name="T47" fmla="*/ 19 h 25"/>
                <a:gd name="T48" fmla="*/ 15 w 24"/>
                <a:gd name="T49" fmla="*/ 19 h 25"/>
                <a:gd name="T50" fmla="*/ 12 w 24"/>
                <a:gd name="T51" fmla="*/ 19 h 25"/>
                <a:gd name="T52" fmla="*/ 12 w 24"/>
                <a:gd name="T53" fmla="*/ 21 h 25"/>
                <a:gd name="T54" fmla="*/ 10 w 24"/>
                <a:gd name="T55" fmla="*/ 21 h 25"/>
                <a:gd name="T56" fmla="*/ 11 w 24"/>
                <a:gd name="T57" fmla="*/ 25 h 25"/>
                <a:gd name="T58" fmla="*/ 8 w 24"/>
                <a:gd name="T59" fmla="*/ 24 h 25"/>
                <a:gd name="T60" fmla="*/ 5 w 24"/>
                <a:gd name="T61" fmla="*/ 23 h 25"/>
                <a:gd name="T62" fmla="*/ 6 w 24"/>
                <a:gd name="T63" fmla="*/ 21 h 25"/>
                <a:gd name="T64" fmla="*/ 4 w 24"/>
                <a:gd name="T65" fmla="*/ 19 h 25"/>
                <a:gd name="T66" fmla="*/ 7 w 24"/>
                <a:gd name="T67" fmla="*/ 18 h 25"/>
                <a:gd name="T68" fmla="*/ 4 w 24"/>
                <a:gd name="T69" fmla="*/ 16 h 25"/>
                <a:gd name="T70" fmla="*/ 1 w 24"/>
                <a:gd name="T7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" h="25">
                  <a:moveTo>
                    <a:pt x="1" y="13"/>
                  </a:moveTo>
                  <a:cubicBezTo>
                    <a:pt x="1" y="12"/>
                    <a:pt x="0" y="12"/>
                    <a:pt x="0" y="11"/>
                  </a:cubicBezTo>
                  <a:cubicBezTo>
                    <a:pt x="1" y="9"/>
                    <a:pt x="3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3" y="6"/>
                    <a:pt x="6" y="4"/>
                    <a:pt x="7" y="4"/>
                  </a:cubicBezTo>
                  <a:cubicBezTo>
                    <a:pt x="7" y="4"/>
                    <a:pt x="9" y="3"/>
                    <a:pt x="10" y="3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2"/>
                    <a:pt x="17" y="2"/>
                    <a:pt x="18" y="2"/>
                  </a:cubicBezTo>
                  <a:cubicBezTo>
                    <a:pt x="18" y="2"/>
                    <a:pt x="21" y="2"/>
                    <a:pt x="21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0" y="5"/>
                    <a:pt x="20" y="5"/>
                  </a:cubicBezTo>
                  <a:cubicBezTo>
                    <a:pt x="19" y="5"/>
                    <a:pt x="16" y="5"/>
                    <a:pt x="16" y="5"/>
                  </a:cubicBezTo>
                  <a:cubicBezTo>
                    <a:pt x="15" y="6"/>
                    <a:pt x="13" y="6"/>
                    <a:pt x="14" y="7"/>
                  </a:cubicBezTo>
                  <a:cubicBezTo>
                    <a:pt x="16" y="8"/>
                    <a:pt x="17" y="9"/>
                    <a:pt x="16" y="9"/>
                  </a:cubicBezTo>
                  <a:cubicBezTo>
                    <a:pt x="15" y="9"/>
                    <a:pt x="13" y="10"/>
                    <a:pt x="13" y="9"/>
                  </a:cubicBezTo>
                  <a:cubicBezTo>
                    <a:pt x="12" y="9"/>
                    <a:pt x="11" y="7"/>
                    <a:pt x="10" y="7"/>
                  </a:cubicBezTo>
                  <a:cubicBezTo>
                    <a:pt x="10" y="7"/>
                    <a:pt x="9" y="8"/>
                    <a:pt x="9" y="9"/>
                  </a:cubicBezTo>
                  <a:cubicBezTo>
                    <a:pt x="10" y="11"/>
                    <a:pt x="12" y="12"/>
                    <a:pt x="12" y="13"/>
                  </a:cubicBezTo>
                  <a:cubicBezTo>
                    <a:pt x="12" y="14"/>
                    <a:pt x="12" y="14"/>
                    <a:pt x="14" y="15"/>
                  </a:cubicBezTo>
                  <a:cubicBezTo>
                    <a:pt x="15" y="16"/>
                    <a:pt x="16" y="17"/>
                    <a:pt x="16" y="18"/>
                  </a:cubicBezTo>
                  <a:cubicBezTo>
                    <a:pt x="16" y="18"/>
                    <a:pt x="18" y="19"/>
                    <a:pt x="18" y="19"/>
                  </a:cubicBezTo>
                  <a:cubicBezTo>
                    <a:pt x="18" y="20"/>
                    <a:pt x="16" y="19"/>
                    <a:pt x="15" y="19"/>
                  </a:cubicBezTo>
                  <a:cubicBezTo>
                    <a:pt x="14" y="19"/>
                    <a:pt x="13" y="18"/>
                    <a:pt x="12" y="19"/>
                  </a:cubicBezTo>
                  <a:cubicBezTo>
                    <a:pt x="12" y="19"/>
                    <a:pt x="13" y="21"/>
                    <a:pt x="12" y="21"/>
                  </a:cubicBezTo>
                  <a:cubicBezTo>
                    <a:pt x="12" y="21"/>
                    <a:pt x="10" y="20"/>
                    <a:pt x="10" y="21"/>
                  </a:cubicBezTo>
                  <a:cubicBezTo>
                    <a:pt x="10" y="21"/>
                    <a:pt x="12" y="25"/>
                    <a:pt x="11" y="25"/>
                  </a:cubicBezTo>
                  <a:cubicBezTo>
                    <a:pt x="10" y="25"/>
                    <a:pt x="8" y="24"/>
                    <a:pt x="8" y="24"/>
                  </a:cubicBezTo>
                  <a:cubicBezTo>
                    <a:pt x="7" y="24"/>
                    <a:pt x="5" y="24"/>
                    <a:pt x="5" y="23"/>
                  </a:cubicBezTo>
                  <a:cubicBezTo>
                    <a:pt x="5" y="22"/>
                    <a:pt x="7" y="21"/>
                    <a:pt x="6" y="21"/>
                  </a:cubicBezTo>
                  <a:cubicBezTo>
                    <a:pt x="5" y="20"/>
                    <a:pt x="4" y="19"/>
                    <a:pt x="4" y="19"/>
                  </a:cubicBezTo>
                  <a:cubicBezTo>
                    <a:pt x="5" y="18"/>
                    <a:pt x="6" y="18"/>
                    <a:pt x="7" y="18"/>
                  </a:cubicBezTo>
                  <a:cubicBezTo>
                    <a:pt x="7" y="18"/>
                    <a:pt x="5" y="17"/>
                    <a:pt x="4" y="16"/>
                  </a:cubicBezTo>
                  <a:cubicBezTo>
                    <a:pt x="3" y="15"/>
                    <a:pt x="2" y="14"/>
                    <a:pt x="1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6" name="Freeform 6424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502358" y="3081852"/>
              <a:ext cx="104514" cy="208575"/>
            </a:xfrm>
            <a:custGeom>
              <a:avLst/>
              <a:gdLst>
                <a:gd name="T0" fmla="*/ 4 w 18"/>
                <a:gd name="T1" fmla="*/ 20 h 31"/>
                <a:gd name="T2" fmla="*/ 1 w 18"/>
                <a:gd name="T3" fmla="*/ 17 h 31"/>
                <a:gd name="T4" fmla="*/ 4 w 18"/>
                <a:gd name="T5" fmla="*/ 13 h 31"/>
                <a:gd name="T6" fmla="*/ 5 w 18"/>
                <a:gd name="T7" fmla="*/ 6 h 31"/>
                <a:gd name="T8" fmla="*/ 6 w 18"/>
                <a:gd name="T9" fmla="*/ 2 h 31"/>
                <a:gd name="T10" fmla="*/ 6 w 18"/>
                <a:gd name="T11" fmla="*/ 2 h 31"/>
                <a:gd name="T12" fmla="*/ 8 w 18"/>
                <a:gd name="T13" fmla="*/ 1 h 31"/>
                <a:gd name="T14" fmla="*/ 12 w 18"/>
                <a:gd name="T15" fmla="*/ 0 h 31"/>
                <a:gd name="T16" fmla="*/ 13 w 18"/>
                <a:gd name="T17" fmla="*/ 3 h 31"/>
                <a:gd name="T18" fmla="*/ 16 w 18"/>
                <a:gd name="T19" fmla="*/ 2 h 31"/>
                <a:gd name="T20" fmla="*/ 16 w 18"/>
                <a:gd name="T21" fmla="*/ 2 h 31"/>
                <a:gd name="T22" fmla="*/ 13 w 18"/>
                <a:gd name="T23" fmla="*/ 6 h 31"/>
                <a:gd name="T24" fmla="*/ 16 w 18"/>
                <a:gd name="T25" fmla="*/ 9 h 31"/>
                <a:gd name="T26" fmla="*/ 13 w 18"/>
                <a:gd name="T27" fmla="*/ 13 h 31"/>
                <a:gd name="T28" fmla="*/ 12 w 18"/>
                <a:gd name="T29" fmla="*/ 15 h 31"/>
                <a:gd name="T30" fmla="*/ 15 w 18"/>
                <a:gd name="T31" fmla="*/ 16 h 31"/>
                <a:gd name="T32" fmla="*/ 18 w 18"/>
                <a:gd name="T33" fmla="*/ 18 h 31"/>
                <a:gd name="T34" fmla="*/ 18 w 18"/>
                <a:gd name="T35" fmla="*/ 18 h 31"/>
                <a:gd name="T36" fmla="*/ 16 w 18"/>
                <a:gd name="T37" fmla="*/ 22 h 31"/>
                <a:gd name="T38" fmla="*/ 13 w 18"/>
                <a:gd name="T39" fmla="*/ 26 h 31"/>
                <a:gd name="T40" fmla="*/ 13 w 18"/>
                <a:gd name="T41" fmla="*/ 31 h 31"/>
                <a:gd name="T42" fmla="*/ 10 w 18"/>
                <a:gd name="T43" fmla="*/ 31 h 31"/>
                <a:gd name="T44" fmla="*/ 7 w 18"/>
                <a:gd name="T45" fmla="*/ 24 h 31"/>
                <a:gd name="T46" fmla="*/ 4 w 18"/>
                <a:gd name="T47" fmla="*/ 20 h 31"/>
                <a:gd name="connsiteX0" fmla="*/ 1778 w 9556"/>
                <a:gd name="connsiteY0" fmla="*/ 6452 h 10000"/>
                <a:gd name="connsiteX1" fmla="*/ 112 w 9556"/>
                <a:gd name="connsiteY1" fmla="*/ 5484 h 10000"/>
                <a:gd name="connsiteX2" fmla="*/ 1778 w 9556"/>
                <a:gd name="connsiteY2" fmla="*/ 4194 h 10000"/>
                <a:gd name="connsiteX3" fmla="*/ 2334 w 9556"/>
                <a:gd name="connsiteY3" fmla="*/ 1935 h 10000"/>
                <a:gd name="connsiteX4" fmla="*/ 2889 w 9556"/>
                <a:gd name="connsiteY4" fmla="*/ 645 h 10000"/>
                <a:gd name="connsiteX5" fmla="*/ 2889 w 9556"/>
                <a:gd name="connsiteY5" fmla="*/ 645 h 10000"/>
                <a:gd name="connsiteX6" fmla="*/ 4000 w 9556"/>
                <a:gd name="connsiteY6" fmla="*/ 323 h 10000"/>
                <a:gd name="connsiteX7" fmla="*/ 6223 w 9556"/>
                <a:gd name="connsiteY7" fmla="*/ 0 h 10000"/>
                <a:gd name="connsiteX8" fmla="*/ 6778 w 9556"/>
                <a:gd name="connsiteY8" fmla="*/ 968 h 10000"/>
                <a:gd name="connsiteX9" fmla="*/ 8445 w 9556"/>
                <a:gd name="connsiteY9" fmla="*/ 645 h 10000"/>
                <a:gd name="connsiteX10" fmla="*/ 8445 w 9556"/>
                <a:gd name="connsiteY10" fmla="*/ 645 h 10000"/>
                <a:gd name="connsiteX11" fmla="*/ 6778 w 9556"/>
                <a:gd name="connsiteY11" fmla="*/ 1935 h 10000"/>
                <a:gd name="connsiteX12" fmla="*/ 8445 w 9556"/>
                <a:gd name="connsiteY12" fmla="*/ 2903 h 10000"/>
                <a:gd name="connsiteX13" fmla="*/ 6778 w 9556"/>
                <a:gd name="connsiteY13" fmla="*/ 4194 h 10000"/>
                <a:gd name="connsiteX14" fmla="*/ 6223 w 9556"/>
                <a:gd name="connsiteY14" fmla="*/ 4839 h 10000"/>
                <a:gd name="connsiteX15" fmla="*/ 7889 w 9556"/>
                <a:gd name="connsiteY15" fmla="*/ 5161 h 10000"/>
                <a:gd name="connsiteX16" fmla="*/ 9556 w 9556"/>
                <a:gd name="connsiteY16" fmla="*/ 5806 h 10000"/>
                <a:gd name="connsiteX17" fmla="*/ 9556 w 9556"/>
                <a:gd name="connsiteY17" fmla="*/ 5806 h 10000"/>
                <a:gd name="connsiteX18" fmla="*/ 8445 w 9556"/>
                <a:gd name="connsiteY18" fmla="*/ 7097 h 10000"/>
                <a:gd name="connsiteX19" fmla="*/ 6778 w 9556"/>
                <a:gd name="connsiteY19" fmla="*/ 8387 h 10000"/>
                <a:gd name="connsiteX20" fmla="*/ 6778 w 9556"/>
                <a:gd name="connsiteY20" fmla="*/ 10000 h 10000"/>
                <a:gd name="connsiteX21" fmla="*/ 5112 w 9556"/>
                <a:gd name="connsiteY21" fmla="*/ 10000 h 10000"/>
                <a:gd name="connsiteX22" fmla="*/ 2792 w 9556"/>
                <a:gd name="connsiteY22" fmla="*/ 7869 h 10000"/>
                <a:gd name="connsiteX23" fmla="*/ 1778 w 9556"/>
                <a:gd name="connsiteY23" fmla="*/ 6452 h 10000"/>
                <a:gd name="connsiteX0" fmla="*/ 1861 w 10000"/>
                <a:gd name="connsiteY0" fmla="*/ 6452 h 10381"/>
                <a:gd name="connsiteX1" fmla="*/ 117 w 10000"/>
                <a:gd name="connsiteY1" fmla="*/ 5484 h 10381"/>
                <a:gd name="connsiteX2" fmla="*/ 1861 w 10000"/>
                <a:gd name="connsiteY2" fmla="*/ 4194 h 10381"/>
                <a:gd name="connsiteX3" fmla="*/ 2442 w 10000"/>
                <a:gd name="connsiteY3" fmla="*/ 1935 h 10381"/>
                <a:gd name="connsiteX4" fmla="*/ 3023 w 10000"/>
                <a:gd name="connsiteY4" fmla="*/ 645 h 10381"/>
                <a:gd name="connsiteX5" fmla="*/ 3023 w 10000"/>
                <a:gd name="connsiteY5" fmla="*/ 645 h 10381"/>
                <a:gd name="connsiteX6" fmla="*/ 4186 w 10000"/>
                <a:gd name="connsiteY6" fmla="*/ 323 h 10381"/>
                <a:gd name="connsiteX7" fmla="*/ 6512 w 10000"/>
                <a:gd name="connsiteY7" fmla="*/ 0 h 10381"/>
                <a:gd name="connsiteX8" fmla="*/ 7093 w 10000"/>
                <a:gd name="connsiteY8" fmla="*/ 968 h 10381"/>
                <a:gd name="connsiteX9" fmla="*/ 8837 w 10000"/>
                <a:gd name="connsiteY9" fmla="*/ 645 h 10381"/>
                <a:gd name="connsiteX10" fmla="*/ 8837 w 10000"/>
                <a:gd name="connsiteY10" fmla="*/ 645 h 10381"/>
                <a:gd name="connsiteX11" fmla="*/ 7093 w 10000"/>
                <a:gd name="connsiteY11" fmla="*/ 1935 h 10381"/>
                <a:gd name="connsiteX12" fmla="*/ 8837 w 10000"/>
                <a:gd name="connsiteY12" fmla="*/ 2903 h 10381"/>
                <a:gd name="connsiteX13" fmla="*/ 7093 w 10000"/>
                <a:gd name="connsiteY13" fmla="*/ 4194 h 10381"/>
                <a:gd name="connsiteX14" fmla="*/ 6512 w 10000"/>
                <a:gd name="connsiteY14" fmla="*/ 4839 h 10381"/>
                <a:gd name="connsiteX15" fmla="*/ 8256 w 10000"/>
                <a:gd name="connsiteY15" fmla="*/ 5161 h 10381"/>
                <a:gd name="connsiteX16" fmla="*/ 10000 w 10000"/>
                <a:gd name="connsiteY16" fmla="*/ 5806 h 10381"/>
                <a:gd name="connsiteX17" fmla="*/ 10000 w 10000"/>
                <a:gd name="connsiteY17" fmla="*/ 5806 h 10381"/>
                <a:gd name="connsiteX18" fmla="*/ 8837 w 10000"/>
                <a:gd name="connsiteY18" fmla="*/ 7097 h 10381"/>
                <a:gd name="connsiteX19" fmla="*/ 7093 w 10000"/>
                <a:gd name="connsiteY19" fmla="*/ 8387 h 10381"/>
                <a:gd name="connsiteX20" fmla="*/ 7093 w 10000"/>
                <a:gd name="connsiteY20" fmla="*/ 10000 h 10381"/>
                <a:gd name="connsiteX21" fmla="*/ 4439 w 10000"/>
                <a:gd name="connsiteY21" fmla="*/ 10381 h 10381"/>
                <a:gd name="connsiteX22" fmla="*/ 2922 w 10000"/>
                <a:gd name="connsiteY22" fmla="*/ 7869 h 10381"/>
                <a:gd name="connsiteX23" fmla="*/ 1861 w 10000"/>
                <a:gd name="connsiteY23" fmla="*/ 6452 h 10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000" h="10381">
                  <a:moveTo>
                    <a:pt x="1861" y="6452"/>
                  </a:moveTo>
                  <a:cubicBezTo>
                    <a:pt x="1861" y="6452"/>
                    <a:pt x="1280" y="5806"/>
                    <a:pt x="117" y="5484"/>
                  </a:cubicBezTo>
                  <a:cubicBezTo>
                    <a:pt x="-465" y="5161"/>
                    <a:pt x="1280" y="4516"/>
                    <a:pt x="1861" y="4194"/>
                  </a:cubicBezTo>
                  <a:cubicBezTo>
                    <a:pt x="1861" y="3871"/>
                    <a:pt x="2442" y="2258"/>
                    <a:pt x="2442" y="1935"/>
                  </a:cubicBezTo>
                  <a:cubicBezTo>
                    <a:pt x="2442" y="1613"/>
                    <a:pt x="3023" y="645"/>
                    <a:pt x="3023" y="645"/>
                  </a:cubicBezTo>
                  <a:lnTo>
                    <a:pt x="3023" y="645"/>
                  </a:lnTo>
                  <a:lnTo>
                    <a:pt x="4186" y="323"/>
                  </a:lnTo>
                  <a:cubicBezTo>
                    <a:pt x="4768" y="0"/>
                    <a:pt x="5350" y="0"/>
                    <a:pt x="6512" y="0"/>
                  </a:cubicBezTo>
                  <a:cubicBezTo>
                    <a:pt x="6512" y="0"/>
                    <a:pt x="6512" y="968"/>
                    <a:pt x="7093" y="968"/>
                  </a:cubicBezTo>
                  <a:cubicBezTo>
                    <a:pt x="7093" y="968"/>
                    <a:pt x="8256" y="323"/>
                    <a:pt x="8837" y="645"/>
                  </a:cubicBezTo>
                  <a:lnTo>
                    <a:pt x="8837" y="645"/>
                  </a:lnTo>
                  <a:cubicBezTo>
                    <a:pt x="8837" y="968"/>
                    <a:pt x="7093" y="1613"/>
                    <a:pt x="7093" y="1935"/>
                  </a:cubicBezTo>
                  <a:cubicBezTo>
                    <a:pt x="7675" y="1935"/>
                    <a:pt x="8837" y="2581"/>
                    <a:pt x="8837" y="2903"/>
                  </a:cubicBezTo>
                  <a:cubicBezTo>
                    <a:pt x="8837" y="2903"/>
                    <a:pt x="8256" y="4194"/>
                    <a:pt x="7093" y="4194"/>
                  </a:cubicBezTo>
                  <a:cubicBezTo>
                    <a:pt x="6512" y="4194"/>
                    <a:pt x="5350" y="4516"/>
                    <a:pt x="6512" y="4839"/>
                  </a:cubicBezTo>
                  <a:cubicBezTo>
                    <a:pt x="6512" y="5161"/>
                    <a:pt x="8256" y="4839"/>
                    <a:pt x="8256" y="5161"/>
                  </a:cubicBezTo>
                  <a:cubicBezTo>
                    <a:pt x="8837" y="5484"/>
                    <a:pt x="8837" y="5806"/>
                    <a:pt x="10000" y="5806"/>
                  </a:cubicBezTo>
                  <a:lnTo>
                    <a:pt x="10000" y="5806"/>
                  </a:lnTo>
                  <a:cubicBezTo>
                    <a:pt x="9418" y="6129"/>
                    <a:pt x="10000" y="6774"/>
                    <a:pt x="8837" y="7097"/>
                  </a:cubicBezTo>
                  <a:cubicBezTo>
                    <a:pt x="8837" y="7419"/>
                    <a:pt x="7675" y="8065"/>
                    <a:pt x="7093" y="8387"/>
                  </a:cubicBezTo>
                  <a:cubicBezTo>
                    <a:pt x="7093" y="8925"/>
                    <a:pt x="7535" y="9668"/>
                    <a:pt x="7093" y="10000"/>
                  </a:cubicBezTo>
                  <a:cubicBezTo>
                    <a:pt x="6651" y="10332"/>
                    <a:pt x="5324" y="10254"/>
                    <a:pt x="4439" y="10381"/>
                  </a:cubicBezTo>
                  <a:lnTo>
                    <a:pt x="2922" y="7869"/>
                  </a:lnTo>
                  <a:cubicBezTo>
                    <a:pt x="2922" y="7546"/>
                    <a:pt x="1861" y="6774"/>
                    <a:pt x="1861" y="645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7" name="Freeform 6425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549215" y="3199055"/>
              <a:ext cx="373267" cy="373327"/>
            </a:xfrm>
            <a:custGeom>
              <a:avLst/>
              <a:gdLst>
                <a:gd name="T0" fmla="*/ 3 w 62"/>
                <a:gd name="T1" fmla="*/ 27 h 57"/>
                <a:gd name="T2" fmla="*/ 2 w 62"/>
                <a:gd name="T3" fmla="*/ 15 h 57"/>
                <a:gd name="T4" fmla="*/ 2 w 62"/>
                <a:gd name="T5" fmla="*/ 13 h 57"/>
                <a:gd name="T6" fmla="*/ 5 w 62"/>
                <a:gd name="T7" fmla="*/ 13 h 57"/>
                <a:gd name="T8" fmla="*/ 6 w 62"/>
                <a:gd name="T9" fmla="*/ 8 h 57"/>
                <a:gd name="T10" fmla="*/ 9 w 62"/>
                <a:gd name="T11" fmla="*/ 5 h 57"/>
                <a:gd name="T12" fmla="*/ 10 w 62"/>
                <a:gd name="T13" fmla="*/ 0 h 57"/>
                <a:gd name="T14" fmla="*/ 10 w 62"/>
                <a:gd name="T15" fmla="*/ 0 h 57"/>
                <a:gd name="T16" fmla="*/ 11 w 62"/>
                <a:gd name="T17" fmla="*/ 1 h 57"/>
                <a:gd name="T18" fmla="*/ 16 w 62"/>
                <a:gd name="T19" fmla="*/ 2 h 57"/>
                <a:gd name="T20" fmla="*/ 23 w 62"/>
                <a:gd name="T21" fmla="*/ 5 h 57"/>
                <a:gd name="T22" fmla="*/ 26 w 62"/>
                <a:gd name="T23" fmla="*/ 8 h 57"/>
                <a:gd name="T24" fmla="*/ 33 w 62"/>
                <a:gd name="T25" fmla="*/ 10 h 57"/>
                <a:gd name="T26" fmla="*/ 38 w 62"/>
                <a:gd name="T27" fmla="*/ 13 h 57"/>
                <a:gd name="T28" fmla="*/ 42 w 62"/>
                <a:gd name="T29" fmla="*/ 10 h 57"/>
                <a:gd name="T30" fmla="*/ 42 w 62"/>
                <a:gd name="T31" fmla="*/ 5 h 57"/>
                <a:gd name="T32" fmla="*/ 47 w 62"/>
                <a:gd name="T33" fmla="*/ 2 h 57"/>
                <a:gd name="T34" fmla="*/ 53 w 62"/>
                <a:gd name="T35" fmla="*/ 2 h 57"/>
                <a:gd name="T36" fmla="*/ 54 w 62"/>
                <a:gd name="T37" fmla="*/ 5 h 57"/>
                <a:gd name="T38" fmla="*/ 60 w 62"/>
                <a:gd name="T39" fmla="*/ 6 h 57"/>
                <a:gd name="T40" fmla="*/ 62 w 62"/>
                <a:gd name="T41" fmla="*/ 8 h 57"/>
                <a:gd name="T42" fmla="*/ 62 w 62"/>
                <a:gd name="T43" fmla="*/ 8 h 57"/>
                <a:gd name="T44" fmla="*/ 62 w 62"/>
                <a:gd name="T45" fmla="*/ 11 h 57"/>
                <a:gd name="T46" fmla="*/ 60 w 62"/>
                <a:gd name="T47" fmla="*/ 14 h 57"/>
                <a:gd name="T48" fmla="*/ 61 w 62"/>
                <a:gd name="T49" fmla="*/ 18 h 57"/>
                <a:gd name="T50" fmla="*/ 61 w 62"/>
                <a:gd name="T51" fmla="*/ 47 h 57"/>
                <a:gd name="T52" fmla="*/ 61 w 62"/>
                <a:gd name="T53" fmla="*/ 55 h 57"/>
                <a:gd name="T54" fmla="*/ 57 w 62"/>
                <a:gd name="T55" fmla="*/ 55 h 57"/>
                <a:gd name="T56" fmla="*/ 57 w 62"/>
                <a:gd name="T57" fmla="*/ 57 h 57"/>
                <a:gd name="T58" fmla="*/ 26 w 62"/>
                <a:gd name="T59" fmla="*/ 41 h 57"/>
                <a:gd name="T60" fmla="*/ 23 w 62"/>
                <a:gd name="T61" fmla="*/ 43 h 57"/>
                <a:gd name="T62" fmla="*/ 19 w 62"/>
                <a:gd name="T63" fmla="*/ 45 h 57"/>
                <a:gd name="T64" fmla="*/ 15 w 62"/>
                <a:gd name="T65" fmla="*/ 42 h 57"/>
                <a:gd name="T66" fmla="*/ 11 w 62"/>
                <a:gd name="T67" fmla="*/ 41 h 57"/>
                <a:gd name="T68" fmla="*/ 10 w 62"/>
                <a:gd name="T69" fmla="*/ 41 h 57"/>
                <a:gd name="T70" fmla="*/ 9 w 62"/>
                <a:gd name="T71" fmla="*/ 37 h 57"/>
                <a:gd name="T72" fmla="*/ 4 w 62"/>
                <a:gd name="T73" fmla="*/ 36 h 57"/>
                <a:gd name="T74" fmla="*/ 1 w 62"/>
                <a:gd name="T75" fmla="*/ 31 h 57"/>
                <a:gd name="T76" fmla="*/ 3 w 62"/>
                <a:gd name="T77" fmla="*/ 27 h 57"/>
                <a:gd name="connsiteX0" fmla="*/ 356 w 9872"/>
                <a:gd name="connsiteY0" fmla="*/ 4737 h 10135"/>
                <a:gd name="connsiteX1" fmla="*/ 195 w 9872"/>
                <a:gd name="connsiteY1" fmla="*/ 2632 h 10135"/>
                <a:gd name="connsiteX2" fmla="*/ 195 w 9872"/>
                <a:gd name="connsiteY2" fmla="*/ 2281 h 10135"/>
                <a:gd name="connsiteX3" fmla="*/ 678 w 9872"/>
                <a:gd name="connsiteY3" fmla="*/ 2281 h 10135"/>
                <a:gd name="connsiteX4" fmla="*/ 840 w 9872"/>
                <a:gd name="connsiteY4" fmla="*/ 1404 h 10135"/>
                <a:gd name="connsiteX5" fmla="*/ 1324 w 9872"/>
                <a:gd name="connsiteY5" fmla="*/ 877 h 10135"/>
                <a:gd name="connsiteX6" fmla="*/ 1485 w 9872"/>
                <a:gd name="connsiteY6" fmla="*/ 0 h 10135"/>
                <a:gd name="connsiteX7" fmla="*/ 1485 w 9872"/>
                <a:gd name="connsiteY7" fmla="*/ 0 h 10135"/>
                <a:gd name="connsiteX8" fmla="*/ 1646 w 9872"/>
                <a:gd name="connsiteY8" fmla="*/ 175 h 10135"/>
                <a:gd name="connsiteX9" fmla="*/ 2453 w 9872"/>
                <a:gd name="connsiteY9" fmla="*/ 351 h 10135"/>
                <a:gd name="connsiteX10" fmla="*/ 3582 w 9872"/>
                <a:gd name="connsiteY10" fmla="*/ 877 h 10135"/>
                <a:gd name="connsiteX11" fmla="*/ 4066 w 9872"/>
                <a:gd name="connsiteY11" fmla="*/ 1404 h 10135"/>
                <a:gd name="connsiteX12" fmla="*/ 5195 w 9872"/>
                <a:gd name="connsiteY12" fmla="*/ 1754 h 10135"/>
                <a:gd name="connsiteX13" fmla="*/ 6001 w 9872"/>
                <a:gd name="connsiteY13" fmla="*/ 2281 h 10135"/>
                <a:gd name="connsiteX14" fmla="*/ 6646 w 9872"/>
                <a:gd name="connsiteY14" fmla="*/ 1754 h 10135"/>
                <a:gd name="connsiteX15" fmla="*/ 6646 w 9872"/>
                <a:gd name="connsiteY15" fmla="*/ 877 h 10135"/>
                <a:gd name="connsiteX16" fmla="*/ 7453 w 9872"/>
                <a:gd name="connsiteY16" fmla="*/ 351 h 10135"/>
                <a:gd name="connsiteX17" fmla="*/ 8420 w 9872"/>
                <a:gd name="connsiteY17" fmla="*/ 351 h 10135"/>
                <a:gd name="connsiteX18" fmla="*/ 8582 w 9872"/>
                <a:gd name="connsiteY18" fmla="*/ 877 h 10135"/>
                <a:gd name="connsiteX19" fmla="*/ 9549 w 9872"/>
                <a:gd name="connsiteY19" fmla="*/ 1053 h 10135"/>
                <a:gd name="connsiteX20" fmla="*/ 9872 w 9872"/>
                <a:gd name="connsiteY20" fmla="*/ 1404 h 10135"/>
                <a:gd name="connsiteX21" fmla="*/ 9872 w 9872"/>
                <a:gd name="connsiteY21" fmla="*/ 1404 h 10135"/>
                <a:gd name="connsiteX22" fmla="*/ 9872 w 9872"/>
                <a:gd name="connsiteY22" fmla="*/ 1930 h 10135"/>
                <a:gd name="connsiteX23" fmla="*/ 9549 w 9872"/>
                <a:gd name="connsiteY23" fmla="*/ 2456 h 10135"/>
                <a:gd name="connsiteX24" fmla="*/ 9711 w 9872"/>
                <a:gd name="connsiteY24" fmla="*/ 3158 h 10135"/>
                <a:gd name="connsiteX25" fmla="*/ 9711 w 9872"/>
                <a:gd name="connsiteY25" fmla="*/ 8246 h 10135"/>
                <a:gd name="connsiteX26" fmla="*/ 9711 w 9872"/>
                <a:gd name="connsiteY26" fmla="*/ 9649 h 10135"/>
                <a:gd name="connsiteX27" fmla="*/ 9066 w 9872"/>
                <a:gd name="connsiteY27" fmla="*/ 9649 h 10135"/>
                <a:gd name="connsiteX28" fmla="*/ 9066 w 9872"/>
                <a:gd name="connsiteY28" fmla="*/ 10000 h 10135"/>
                <a:gd name="connsiteX29" fmla="*/ 4444 w 9872"/>
                <a:gd name="connsiteY29" fmla="*/ 7678 h 10135"/>
                <a:gd name="connsiteX30" fmla="*/ 3582 w 9872"/>
                <a:gd name="connsiteY30" fmla="*/ 7544 h 10135"/>
                <a:gd name="connsiteX31" fmla="*/ 2937 w 9872"/>
                <a:gd name="connsiteY31" fmla="*/ 7895 h 10135"/>
                <a:gd name="connsiteX32" fmla="*/ 2291 w 9872"/>
                <a:gd name="connsiteY32" fmla="*/ 7368 h 10135"/>
                <a:gd name="connsiteX33" fmla="*/ 1646 w 9872"/>
                <a:gd name="connsiteY33" fmla="*/ 7193 h 10135"/>
                <a:gd name="connsiteX34" fmla="*/ 1485 w 9872"/>
                <a:gd name="connsiteY34" fmla="*/ 7193 h 10135"/>
                <a:gd name="connsiteX35" fmla="*/ 1324 w 9872"/>
                <a:gd name="connsiteY35" fmla="*/ 6491 h 10135"/>
                <a:gd name="connsiteX36" fmla="*/ 517 w 9872"/>
                <a:gd name="connsiteY36" fmla="*/ 6316 h 10135"/>
                <a:gd name="connsiteX37" fmla="*/ 33 w 9872"/>
                <a:gd name="connsiteY37" fmla="*/ 5439 h 10135"/>
                <a:gd name="connsiteX38" fmla="*/ 356 w 9872"/>
                <a:gd name="connsiteY38" fmla="*/ 4737 h 1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872" h="10135">
                  <a:moveTo>
                    <a:pt x="356" y="4737"/>
                  </a:moveTo>
                  <a:cubicBezTo>
                    <a:pt x="356" y="4561"/>
                    <a:pt x="356" y="3158"/>
                    <a:pt x="195" y="2632"/>
                  </a:cubicBezTo>
                  <a:lnTo>
                    <a:pt x="195" y="2281"/>
                  </a:lnTo>
                  <a:lnTo>
                    <a:pt x="678" y="2281"/>
                  </a:lnTo>
                  <a:cubicBezTo>
                    <a:pt x="840" y="2281"/>
                    <a:pt x="678" y="1579"/>
                    <a:pt x="840" y="1404"/>
                  </a:cubicBezTo>
                  <a:cubicBezTo>
                    <a:pt x="840" y="1404"/>
                    <a:pt x="1162" y="877"/>
                    <a:pt x="1324" y="877"/>
                  </a:cubicBezTo>
                  <a:cubicBezTo>
                    <a:pt x="1485" y="526"/>
                    <a:pt x="1324" y="175"/>
                    <a:pt x="1485" y="0"/>
                  </a:cubicBezTo>
                  <a:lnTo>
                    <a:pt x="1485" y="0"/>
                  </a:lnTo>
                  <a:cubicBezTo>
                    <a:pt x="1485" y="175"/>
                    <a:pt x="1485" y="175"/>
                    <a:pt x="1646" y="175"/>
                  </a:cubicBezTo>
                  <a:cubicBezTo>
                    <a:pt x="1807" y="351"/>
                    <a:pt x="2291" y="351"/>
                    <a:pt x="2453" y="351"/>
                  </a:cubicBezTo>
                  <a:cubicBezTo>
                    <a:pt x="2775" y="351"/>
                    <a:pt x="3582" y="526"/>
                    <a:pt x="3582" y="877"/>
                  </a:cubicBezTo>
                  <a:cubicBezTo>
                    <a:pt x="3743" y="877"/>
                    <a:pt x="3904" y="1404"/>
                    <a:pt x="4066" y="1404"/>
                  </a:cubicBezTo>
                  <a:cubicBezTo>
                    <a:pt x="4227" y="1579"/>
                    <a:pt x="4872" y="1579"/>
                    <a:pt x="5195" y="1754"/>
                  </a:cubicBezTo>
                  <a:cubicBezTo>
                    <a:pt x="5356" y="1930"/>
                    <a:pt x="5678" y="2281"/>
                    <a:pt x="6001" y="2281"/>
                  </a:cubicBezTo>
                  <a:cubicBezTo>
                    <a:pt x="6162" y="2281"/>
                    <a:pt x="6646" y="2105"/>
                    <a:pt x="6646" y="1754"/>
                  </a:cubicBezTo>
                  <a:cubicBezTo>
                    <a:pt x="6646" y="1404"/>
                    <a:pt x="6485" y="1228"/>
                    <a:pt x="6646" y="877"/>
                  </a:cubicBezTo>
                  <a:cubicBezTo>
                    <a:pt x="6807" y="702"/>
                    <a:pt x="7291" y="351"/>
                    <a:pt x="7453" y="351"/>
                  </a:cubicBezTo>
                  <a:lnTo>
                    <a:pt x="8420" y="351"/>
                  </a:lnTo>
                  <a:cubicBezTo>
                    <a:pt x="8582" y="526"/>
                    <a:pt x="8420" y="877"/>
                    <a:pt x="8582" y="877"/>
                  </a:cubicBezTo>
                  <a:cubicBezTo>
                    <a:pt x="8743" y="877"/>
                    <a:pt x="9549" y="1053"/>
                    <a:pt x="9549" y="1053"/>
                  </a:cubicBezTo>
                  <a:cubicBezTo>
                    <a:pt x="9711" y="1053"/>
                    <a:pt x="9711" y="1404"/>
                    <a:pt x="9872" y="1404"/>
                  </a:cubicBezTo>
                  <a:lnTo>
                    <a:pt x="9872" y="1404"/>
                  </a:lnTo>
                  <a:lnTo>
                    <a:pt x="9872" y="1930"/>
                  </a:lnTo>
                  <a:cubicBezTo>
                    <a:pt x="9872" y="2105"/>
                    <a:pt x="9549" y="2105"/>
                    <a:pt x="9549" y="2456"/>
                  </a:cubicBezTo>
                  <a:cubicBezTo>
                    <a:pt x="9549" y="2807"/>
                    <a:pt x="9711" y="3158"/>
                    <a:pt x="9711" y="3158"/>
                  </a:cubicBezTo>
                  <a:lnTo>
                    <a:pt x="9711" y="8246"/>
                  </a:lnTo>
                  <a:lnTo>
                    <a:pt x="9711" y="9649"/>
                  </a:lnTo>
                  <a:lnTo>
                    <a:pt x="9066" y="9649"/>
                  </a:lnTo>
                  <a:cubicBezTo>
                    <a:pt x="9066" y="10000"/>
                    <a:pt x="9836" y="10328"/>
                    <a:pt x="9066" y="10000"/>
                  </a:cubicBezTo>
                  <a:cubicBezTo>
                    <a:pt x="8296" y="9672"/>
                    <a:pt x="4444" y="7678"/>
                    <a:pt x="4444" y="7678"/>
                  </a:cubicBezTo>
                  <a:cubicBezTo>
                    <a:pt x="3960" y="8029"/>
                    <a:pt x="3833" y="7508"/>
                    <a:pt x="3582" y="7544"/>
                  </a:cubicBezTo>
                  <a:cubicBezTo>
                    <a:pt x="3331" y="7580"/>
                    <a:pt x="2937" y="7895"/>
                    <a:pt x="2937" y="7895"/>
                  </a:cubicBezTo>
                  <a:lnTo>
                    <a:pt x="2291" y="7368"/>
                  </a:lnTo>
                  <a:lnTo>
                    <a:pt x="1646" y="7193"/>
                  </a:lnTo>
                  <a:lnTo>
                    <a:pt x="1485" y="7193"/>
                  </a:lnTo>
                  <a:lnTo>
                    <a:pt x="1324" y="6491"/>
                  </a:lnTo>
                  <a:cubicBezTo>
                    <a:pt x="1162" y="6491"/>
                    <a:pt x="678" y="6316"/>
                    <a:pt x="517" y="6316"/>
                  </a:cubicBezTo>
                  <a:cubicBezTo>
                    <a:pt x="517" y="6316"/>
                    <a:pt x="356" y="5614"/>
                    <a:pt x="33" y="5439"/>
                  </a:cubicBezTo>
                  <a:cubicBezTo>
                    <a:pt x="-128" y="5263"/>
                    <a:pt x="356" y="4912"/>
                    <a:pt x="356" y="473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8" name="Freeform 6449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28770" y="3091898"/>
              <a:ext cx="482309" cy="502645"/>
            </a:xfrm>
            <a:custGeom>
              <a:avLst/>
              <a:gdLst>
                <a:gd name="T0" fmla="*/ 15 w 79"/>
                <a:gd name="T1" fmla="*/ 53 h 76"/>
                <a:gd name="T2" fmla="*/ 0 w 79"/>
                <a:gd name="T3" fmla="*/ 43 h 76"/>
                <a:gd name="T4" fmla="*/ 0 w 79"/>
                <a:gd name="T5" fmla="*/ 41 h 76"/>
                <a:gd name="T6" fmla="*/ 0 w 79"/>
                <a:gd name="T7" fmla="*/ 36 h 76"/>
                <a:gd name="T8" fmla="*/ 6 w 79"/>
                <a:gd name="T9" fmla="*/ 32 h 76"/>
                <a:gd name="T10" fmla="*/ 13 w 79"/>
                <a:gd name="T11" fmla="*/ 31 h 76"/>
                <a:gd name="T12" fmla="*/ 15 w 79"/>
                <a:gd name="T13" fmla="*/ 28 h 76"/>
                <a:gd name="T14" fmla="*/ 19 w 79"/>
                <a:gd name="T15" fmla="*/ 27 h 76"/>
                <a:gd name="T16" fmla="*/ 20 w 79"/>
                <a:gd name="T17" fmla="*/ 23 h 76"/>
                <a:gd name="T18" fmla="*/ 29 w 79"/>
                <a:gd name="T19" fmla="*/ 22 h 76"/>
                <a:gd name="T20" fmla="*/ 29 w 79"/>
                <a:gd name="T21" fmla="*/ 19 h 76"/>
                <a:gd name="T22" fmla="*/ 27 w 79"/>
                <a:gd name="T23" fmla="*/ 15 h 76"/>
                <a:gd name="T24" fmla="*/ 26 w 79"/>
                <a:gd name="T25" fmla="*/ 9 h 76"/>
                <a:gd name="T26" fmla="*/ 26 w 79"/>
                <a:gd name="T27" fmla="*/ 9 h 76"/>
                <a:gd name="T28" fmla="*/ 28 w 79"/>
                <a:gd name="T29" fmla="*/ 9 h 76"/>
                <a:gd name="T30" fmla="*/ 31 w 79"/>
                <a:gd name="T31" fmla="*/ 6 h 76"/>
                <a:gd name="T32" fmla="*/ 37 w 79"/>
                <a:gd name="T33" fmla="*/ 3 h 76"/>
                <a:gd name="T34" fmla="*/ 43 w 79"/>
                <a:gd name="T35" fmla="*/ 2 h 76"/>
                <a:gd name="T36" fmla="*/ 48 w 79"/>
                <a:gd name="T37" fmla="*/ 1 h 76"/>
                <a:gd name="T38" fmla="*/ 52 w 79"/>
                <a:gd name="T39" fmla="*/ 1 h 76"/>
                <a:gd name="T40" fmla="*/ 55 w 79"/>
                <a:gd name="T41" fmla="*/ 2 h 76"/>
                <a:gd name="T42" fmla="*/ 58 w 79"/>
                <a:gd name="T43" fmla="*/ 0 h 76"/>
                <a:gd name="T44" fmla="*/ 62 w 79"/>
                <a:gd name="T45" fmla="*/ 0 h 76"/>
                <a:gd name="T46" fmla="*/ 66 w 79"/>
                <a:gd name="T47" fmla="*/ 0 h 76"/>
                <a:gd name="T48" fmla="*/ 66 w 79"/>
                <a:gd name="T49" fmla="*/ 5 h 76"/>
                <a:gd name="T50" fmla="*/ 65 w 79"/>
                <a:gd name="T51" fmla="*/ 12 h 76"/>
                <a:gd name="T52" fmla="*/ 62 w 79"/>
                <a:gd name="T53" fmla="*/ 16 h 76"/>
                <a:gd name="T54" fmla="*/ 65 w 79"/>
                <a:gd name="T55" fmla="*/ 19 h 76"/>
                <a:gd name="T56" fmla="*/ 68 w 79"/>
                <a:gd name="T57" fmla="*/ 23 h 76"/>
                <a:gd name="T58" fmla="*/ 70 w 79"/>
                <a:gd name="T59" fmla="*/ 30 h 76"/>
                <a:gd name="T60" fmla="*/ 71 w 79"/>
                <a:gd name="T61" fmla="*/ 32 h 76"/>
                <a:gd name="T62" fmla="*/ 72 w 79"/>
                <a:gd name="T63" fmla="*/ 44 h 76"/>
                <a:gd name="T64" fmla="*/ 70 w 79"/>
                <a:gd name="T65" fmla="*/ 48 h 76"/>
                <a:gd name="T66" fmla="*/ 73 w 79"/>
                <a:gd name="T67" fmla="*/ 53 h 76"/>
                <a:gd name="T68" fmla="*/ 77 w 79"/>
                <a:gd name="T69" fmla="*/ 54 h 76"/>
                <a:gd name="T70" fmla="*/ 79 w 79"/>
                <a:gd name="T71" fmla="*/ 58 h 76"/>
                <a:gd name="T72" fmla="*/ 62 w 79"/>
                <a:gd name="T73" fmla="*/ 69 h 76"/>
                <a:gd name="T74" fmla="*/ 56 w 79"/>
                <a:gd name="T75" fmla="*/ 74 h 76"/>
                <a:gd name="T76" fmla="*/ 50 w 79"/>
                <a:gd name="T77" fmla="*/ 75 h 76"/>
                <a:gd name="T78" fmla="*/ 46 w 79"/>
                <a:gd name="T79" fmla="*/ 76 h 76"/>
                <a:gd name="T80" fmla="*/ 45 w 79"/>
                <a:gd name="T81" fmla="*/ 72 h 76"/>
                <a:gd name="T82" fmla="*/ 38 w 79"/>
                <a:gd name="T83" fmla="*/ 69 h 76"/>
                <a:gd name="T84" fmla="*/ 37 w 79"/>
                <a:gd name="T85" fmla="*/ 67 h 76"/>
                <a:gd name="T86" fmla="*/ 15 w 79"/>
                <a:gd name="T87" fmla="*/ 53 h 76"/>
                <a:gd name="connsiteX0" fmla="*/ 1899 w 10000"/>
                <a:gd name="connsiteY0" fmla="*/ 6974 h 10000"/>
                <a:gd name="connsiteX1" fmla="*/ 0 w 10000"/>
                <a:gd name="connsiteY1" fmla="*/ 5658 h 10000"/>
                <a:gd name="connsiteX2" fmla="*/ 0 w 10000"/>
                <a:gd name="connsiteY2" fmla="*/ 5395 h 10000"/>
                <a:gd name="connsiteX3" fmla="*/ 0 w 10000"/>
                <a:gd name="connsiteY3" fmla="*/ 4737 h 10000"/>
                <a:gd name="connsiteX4" fmla="*/ 759 w 10000"/>
                <a:gd name="connsiteY4" fmla="*/ 4211 h 10000"/>
                <a:gd name="connsiteX5" fmla="*/ 1646 w 10000"/>
                <a:gd name="connsiteY5" fmla="*/ 4079 h 10000"/>
                <a:gd name="connsiteX6" fmla="*/ 1899 w 10000"/>
                <a:gd name="connsiteY6" fmla="*/ 3684 h 10000"/>
                <a:gd name="connsiteX7" fmla="*/ 2405 w 10000"/>
                <a:gd name="connsiteY7" fmla="*/ 3553 h 10000"/>
                <a:gd name="connsiteX8" fmla="*/ 2532 w 10000"/>
                <a:gd name="connsiteY8" fmla="*/ 3026 h 10000"/>
                <a:gd name="connsiteX9" fmla="*/ 3671 w 10000"/>
                <a:gd name="connsiteY9" fmla="*/ 2895 h 10000"/>
                <a:gd name="connsiteX10" fmla="*/ 3671 w 10000"/>
                <a:gd name="connsiteY10" fmla="*/ 2500 h 10000"/>
                <a:gd name="connsiteX11" fmla="*/ 3418 w 10000"/>
                <a:gd name="connsiteY11" fmla="*/ 1974 h 10000"/>
                <a:gd name="connsiteX12" fmla="*/ 3291 w 10000"/>
                <a:gd name="connsiteY12" fmla="*/ 1184 h 10000"/>
                <a:gd name="connsiteX13" fmla="*/ 3291 w 10000"/>
                <a:gd name="connsiteY13" fmla="*/ 1184 h 10000"/>
                <a:gd name="connsiteX14" fmla="*/ 3544 w 10000"/>
                <a:gd name="connsiteY14" fmla="*/ 1184 h 10000"/>
                <a:gd name="connsiteX15" fmla="*/ 3924 w 10000"/>
                <a:gd name="connsiteY15" fmla="*/ 789 h 10000"/>
                <a:gd name="connsiteX16" fmla="*/ 4684 w 10000"/>
                <a:gd name="connsiteY16" fmla="*/ 395 h 10000"/>
                <a:gd name="connsiteX17" fmla="*/ 5443 w 10000"/>
                <a:gd name="connsiteY17" fmla="*/ 263 h 10000"/>
                <a:gd name="connsiteX18" fmla="*/ 6076 w 10000"/>
                <a:gd name="connsiteY18" fmla="*/ 132 h 10000"/>
                <a:gd name="connsiteX19" fmla="*/ 6582 w 10000"/>
                <a:gd name="connsiteY19" fmla="*/ 132 h 10000"/>
                <a:gd name="connsiteX20" fmla="*/ 6962 w 10000"/>
                <a:gd name="connsiteY20" fmla="*/ 263 h 10000"/>
                <a:gd name="connsiteX21" fmla="*/ 7342 w 10000"/>
                <a:gd name="connsiteY21" fmla="*/ 0 h 10000"/>
                <a:gd name="connsiteX22" fmla="*/ 7848 w 10000"/>
                <a:gd name="connsiteY22" fmla="*/ 0 h 10000"/>
                <a:gd name="connsiteX23" fmla="*/ 8354 w 10000"/>
                <a:gd name="connsiteY23" fmla="*/ 0 h 10000"/>
                <a:gd name="connsiteX24" fmla="*/ 8354 w 10000"/>
                <a:gd name="connsiteY24" fmla="*/ 658 h 10000"/>
                <a:gd name="connsiteX25" fmla="*/ 8228 w 10000"/>
                <a:gd name="connsiteY25" fmla="*/ 1579 h 10000"/>
                <a:gd name="connsiteX26" fmla="*/ 7848 w 10000"/>
                <a:gd name="connsiteY26" fmla="*/ 2105 h 10000"/>
                <a:gd name="connsiteX27" fmla="*/ 8228 w 10000"/>
                <a:gd name="connsiteY27" fmla="*/ 2500 h 10000"/>
                <a:gd name="connsiteX28" fmla="*/ 8608 w 10000"/>
                <a:gd name="connsiteY28" fmla="*/ 3026 h 10000"/>
                <a:gd name="connsiteX29" fmla="*/ 8861 w 10000"/>
                <a:gd name="connsiteY29" fmla="*/ 3947 h 10000"/>
                <a:gd name="connsiteX30" fmla="*/ 8987 w 10000"/>
                <a:gd name="connsiteY30" fmla="*/ 4211 h 10000"/>
                <a:gd name="connsiteX31" fmla="*/ 9114 w 10000"/>
                <a:gd name="connsiteY31" fmla="*/ 5789 h 10000"/>
                <a:gd name="connsiteX32" fmla="*/ 8861 w 10000"/>
                <a:gd name="connsiteY32" fmla="*/ 6316 h 10000"/>
                <a:gd name="connsiteX33" fmla="*/ 9241 w 10000"/>
                <a:gd name="connsiteY33" fmla="*/ 6974 h 10000"/>
                <a:gd name="connsiteX34" fmla="*/ 9747 w 10000"/>
                <a:gd name="connsiteY34" fmla="*/ 7105 h 10000"/>
                <a:gd name="connsiteX35" fmla="*/ 10000 w 10000"/>
                <a:gd name="connsiteY35" fmla="*/ 7632 h 10000"/>
                <a:gd name="connsiteX36" fmla="*/ 7848 w 10000"/>
                <a:gd name="connsiteY36" fmla="*/ 9079 h 10000"/>
                <a:gd name="connsiteX37" fmla="*/ 7089 w 10000"/>
                <a:gd name="connsiteY37" fmla="*/ 9737 h 10000"/>
                <a:gd name="connsiteX38" fmla="*/ 6329 w 10000"/>
                <a:gd name="connsiteY38" fmla="*/ 9868 h 10000"/>
                <a:gd name="connsiteX39" fmla="*/ 5823 w 10000"/>
                <a:gd name="connsiteY39" fmla="*/ 10000 h 10000"/>
                <a:gd name="connsiteX40" fmla="*/ 5696 w 10000"/>
                <a:gd name="connsiteY40" fmla="*/ 9474 h 10000"/>
                <a:gd name="connsiteX41" fmla="*/ 4684 w 10000"/>
                <a:gd name="connsiteY41" fmla="*/ 8816 h 10000"/>
                <a:gd name="connsiteX42" fmla="*/ 1899 w 10000"/>
                <a:gd name="connsiteY42" fmla="*/ 6974 h 10000"/>
                <a:gd name="connsiteX0" fmla="*/ 1899 w 10000"/>
                <a:gd name="connsiteY0" fmla="*/ 6974 h 10000"/>
                <a:gd name="connsiteX1" fmla="*/ 0 w 10000"/>
                <a:gd name="connsiteY1" fmla="*/ 5658 h 10000"/>
                <a:gd name="connsiteX2" fmla="*/ 0 w 10000"/>
                <a:gd name="connsiteY2" fmla="*/ 5395 h 10000"/>
                <a:gd name="connsiteX3" fmla="*/ 0 w 10000"/>
                <a:gd name="connsiteY3" fmla="*/ 4737 h 10000"/>
                <a:gd name="connsiteX4" fmla="*/ 759 w 10000"/>
                <a:gd name="connsiteY4" fmla="*/ 4211 h 10000"/>
                <a:gd name="connsiteX5" fmla="*/ 1646 w 10000"/>
                <a:gd name="connsiteY5" fmla="*/ 4079 h 10000"/>
                <a:gd name="connsiteX6" fmla="*/ 1899 w 10000"/>
                <a:gd name="connsiteY6" fmla="*/ 3684 h 10000"/>
                <a:gd name="connsiteX7" fmla="*/ 2405 w 10000"/>
                <a:gd name="connsiteY7" fmla="*/ 3553 h 10000"/>
                <a:gd name="connsiteX8" fmla="*/ 2532 w 10000"/>
                <a:gd name="connsiteY8" fmla="*/ 3026 h 10000"/>
                <a:gd name="connsiteX9" fmla="*/ 3671 w 10000"/>
                <a:gd name="connsiteY9" fmla="*/ 2895 h 10000"/>
                <a:gd name="connsiteX10" fmla="*/ 3671 w 10000"/>
                <a:gd name="connsiteY10" fmla="*/ 2500 h 10000"/>
                <a:gd name="connsiteX11" fmla="*/ 3418 w 10000"/>
                <a:gd name="connsiteY11" fmla="*/ 1974 h 10000"/>
                <a:gd name="connsiteX12" fmla="*/ 3291 w 10000"/>
                <a:gd name="connsiteY12" fmla="*/ 1184 h 10000"/>
                <a:gd name="connsiteX13" fmla="*/ 3291 w 10000"/>
                <a:gd name="connsiteY13" fmla="*/ 1184 h 10000"/>
                <a:gd name="connsiteX14" fmla="*/ 3544 w 10000"/>
                <a:gd name="connsiteY14" fmla="*/ 1184 h 10000"/>
                <a:gd name="connsiteX15" fmla="*/ 3924 w 10000"/>
                <a:gd name="connsiteY15" fmla="*/ 789 h 10000"/>
                <a:gd name="connsiteX16" fmla="*/ 4684 w 10000"/>
                <a:gd name="connsiteY16" fmla="*/ 395 h 10000"/>
                <a:gd name="connsiteX17" fmla="*/ 5443 w 10000"/>
                <a:gd name="connsiteY17" fmla="*/ 263 h 10000"/>
                <a:gd name="connsiteX18" fmla="*/ 6076 w 10000"/>
                <a:gd name="connsiteY18" fmla="*/ 132 h 10000"/>
                <a:gd name="connsiteX19" fmla="*/ 6582 w 10000"/>
                <a:gd name="connsiteY19" fmla="*/ 132 h 10000"/>
                <a:gd name="connsiteX20" fmla="*/ 6962 w 10000"/>
                <a:gd name="connsiteY20" fmla="*/ 263 h 10000"/>
                <a:gd name="connsiteX21" fmla="*/ 7342 w 10000"/>
                <a:gd name="connsiteY21" fmla="*/ 0 h 10000"/>
                <a:gd name="connsiteX22" fmla="*/ 7848 w 10000"/>
                <a:gd name="connsiteY22" fmla="*/ 0 h 10000"/>
                <a:gd name="connsiteX23" fmla="*/ 8354 w 10000"/>
                <a:gd name="connsiteY23" fmla="*/ 0 h 10000"/>
                <a:gd name="connsiteX24" fmla="*/ 8354 w 10000"/>
                <a:gd name="connsiteY24" fmla="*/ 658 h 10000"/>
                <a:gd name="connsiteX25" fmla="*/ 8228 w 10000"/>
                <a:gd name="connsiteY25" fmla="*/ 1579 h 10000"/>
                <a:gd name="connsiteX26" fmla="*/ 7848 w 10000"/>
                <a:gd name="connsiteY26" fmla="*/ 2105 h 10000"/>
                <a:gd name="connsiteX27" fmla="*/ 8228 w 10000"/>
                <a:gd name="connsiteY27" fmla="*/ 2500 h 10000"/>
                <a:gd name="connsiteX28" fmla="*/ 8608 w 10000"/>
                <a:gd name="connsiteY28" fmla="*/ 3026 h 10000"/>
                <a:gd name="connsiteX29" fmla="*/ 8861 w 10000"/>
                <a:gd name="connsiteY29" fmla="*/ 3947 h 10000"/>
                <a:gd name="connsiteX30" fmla="*/ 8987 w 10000"/>
                <a:gd name="connsiteY30" fmla="*/ 4211 h 10000"/>
                <a:gd name="connsiteX31" fmla="*/ 9114 w 10000"/>
                <a:gd name="connsiteY31" fmla="*/ 5789 h 10000"/>
                <a:gd name="connsiteX32" fmla="*/ 8861 w 10000"/>
                <a:gd name="connsiteY32" fmla="*/ 6316 h 10000"/>
                <a:gd name="connsiteX33" fmla="*/ 9241 w 10000"/>
                <a:gd name="connsiteY33" fmla="*/ 6974 h 10000"/>
                <a:gd name="connsiteX34" fmla="*/ 9747 w 10000"/>
                <a:gd name="connsiteY34" fmla="*/ 7105 h 10000"/>
                <a:gd name="connsiteX35" fmla="*/ 10000 w 10000"/>
                <a:gd name="connsiteY35" fmla="*/ 7632 h 10000"/>
                <a:gd name="connsiteX36" fmla="*/ 7848 w 10000"/>
                <a:gd name="connsiteY36" fmla="*/ 9079 h 10000"/>
                <a:gd name="connsiteX37" fmla="*/ 7089 w 10000"/>
                <a:gd name="connsiteY37" fmla="*/ 9737 h 10000"/>
                <a:gd name="connsiteX38" fmla="*/ 6329 w 10000"/>
                <a:gd name="connsiteY38" fmla="*/ 9868 h 10000"/>
                <a:gd name="connsiteX39" fmla="*/ 5823 w 10000"/>
                <a:gd name="connsiteY39" fmla="*/ 10000 h 10000"/>
                <a:gd name="connsiteX40" fmla="*/ 5696 w 10000"/>
                <a:gd name="connsiteY40" fmla="*/ 9474 h 10000"/>
                <a:gd name="connsiteX41" fmla="*/ 1899 w 10000"/>
                <a:gd name="connsiteY41" fmla="*/ 6974 h 10000"/>
                <a:gd name="connsiteX0" fmla="*/ 1899 w 10000"/>
                <a:gd name="connsiteY0" fmla="*/ 6974 h 10000"/>
                <a:gd name="connsiteX1" fmla="*/ 0 w 10000"/>
                <a:gd name="connsiteY1" fmla="*/ 5658 h 10000"/>
                <a:gd name="connsiteX2" fmla="*/ 0 w 10000"/>
                <a:gd name="connsiteY2" fmla="*/ 5395 h 10000"/>
                <a:gd name="connsiteX3" fmla="*/ 0 w 10000"/>
                <a:gd name="connsiteY3" fmla="*/ 4737 h 10000"/>
                <a:gd name="connsiteX4" fmla="*/ 759 w 10000"/>
                <a:gd name="connsiteY4" fmla="*/ 4211 h 10000"/>
                <a:gd name="connsiteX5" fmla="*/ 1646 w 10000"/>
                <a:gd name="connsiteY5" fmla="*/ 4079 h 10000"/>
                <a:gd name="connsiteX6" fmla="*/ 1899 w 10000"/>
                <a:gd name="connsiteY6" fmla="*/ 3684 h 10000"/>
                <a:gd name="connsiteX7" fmla="*/ 2405 w 10000"/>
                <a:gd name="connsiteY7" fmla="*/ 3553 h 10000"/>
                <a:gd name="connsiteX8" fmla="*/ 2532 w 10000"/>
                <a:gd name="connsiteY8" fmla="*/ 3026 h 10000"/>
                <a:gd name="connsiteX9" fmla="*/ 3671 w 10000"/>
                <a:gd name="connsiteY9" fmla="*/ 2895 h 10000"/>
                <a:gd name="connsiteX10" fmla="*/ 3671 w 10000"/>
                <a:gd name="connsiteY10" fmla="*/ 2500 h 10000"/>
                <a:gd name="connsiteX11" fmla="*/ 3418 w 10000"/>
                <a:gd name="connsiteY11" fmla="*/ 1974 h 10000"/>
                <a:gd name="connsiteX12" fmla="*/ 3291 w 10000"/>
                <a:gd name="connsiteY12" fmla="*/ 1184 h 10000"/>
                <a:gd name="connsiteX13" fmla="*/ 3291 w 10000"/>
                <a:gd name="connsiteY13" fmla="*/ 1184 h 10000"/>
                <a:gd name="connsiteX14" fmla="*/ 3544 w 10000"/>
                <a:gd name="connsiteY14" fmla="*/ 1184 h 10000"/>
                <a:gd name="connsiteX15" fmla="*/ 3924 w 10000"/>
                <a:gd name="connsiteY15" fmla="*/ 789 h 10000"/>
                <a:gd name="connsiteX16" fmla="*/ 4684 w 10000"/>
                <a:gd name="connsiteY16" fmla="*/ 395 h 10000"/>
                <a:gd name="connsiteX17" fmla="*/ 5443 w 10000"/>
                <a:gd name="connsiteY17" fmla="*/ 263 h 10000"/>
                <a:gd name="connsiteX18" fmla="*/ 6076 w 10000"/>
                <a:gd name="connsiteY18" fmla="*/ 132 h 10000"/>
                <a:gd name="connsiteX19" fmla="*/ 6582 w 10000"/>
                <a:gd name="connsiteY19" fmla="*/ 132 h 10000"/>
                <a:gd name="connsiteX20" fmla="*/ 6962 w 10000"/>
                <a:gd name="connsiteY20" fmla="*/ 263 h 10000"/>
                <a:gd name="connsiteX21" fmla="*/ 7342 w 10000"/>
                <a:gd name="connsiteY21" fmla="*/ 0 h 10000"/>
                <a:gd name="connsiteX22" fmla="*/ 7848 w 10000"/>
                <a:gd name="connsiteY22" fmla="*/ 0 h 10000"/>
                <a:gd name="connsiteX23" fmla="*/ 8354 w 10000"/>
                <a:gd name="connsiteY23" fmla="*/ 0 h 10000"/>
                <a:gd name="connsiteX24" fmla="*/ 8354 w 10000"/>
                <a:gd name="connsiteY24" fmla="*/ 658 h 10000"/>
                <a:gd name="connsiteX25" fmla="*/ 8228 w 10000"/>
                <a:gd name="connsiteY25" fmla="*/ 1579 h 10000"/>
                <a:gd name="connsiteX26" fmla="*/ 7848 w 10000"/>
                <a:gd name="connsiteY26" fmla="*/ 2105 h 10000"/>
                <a:gd name="connsiteX27" fmla="*/ 8228 w 10000"/>
                <a:gd name="connsiteY27" fmla="*/ 2500 h 10000"/>
                <a:gd name="connsiteX28" fmla="*/ 8608 w 10000"/>
                <a:gd name="connsiteY28" fmla="*/ 3026 h 10000"/>
                <a:gd name="connsiteX29" fmla="*/ 8861 w 10000"/>
                <a:gd name="connsiteY29" fmla="*/ 3947 h 10000"/>
                <a:gd name="connsiteX30" fmla="*/ 8987 w 10000"/>
                <a:gd name="connsiteY30" fmla="*/ 4211 h 10000"/>
                <a:gd name="connsiteX31" fmla="*/ 9114 w 10000"/>
                <a:gd name="connsiteY31" fmla="*/ 5789 h 10000"/>
                <a:gd name="connsiteX32" fmla="*/ 8861 w 10000"/>
                <a:gd name="connsiteY32" fmla="*/ 6316 h 10000"/>
                <a:gd name="connsiteX33" fmla="*/ 9241 w 10000"/>
                <a:gd name="connsiteY33" fmla="*/ 6974 h 10000"/>
                <a:gd name="connsiteX34" fmla="*/ 9747 w 10000"/>
                <a:gd name="connsiteY34" fmla="*/ 7105 h 10000"/>
                <a:gd name="connsiteX35" fmla="*/ 10000 w 10000"/>
                <a:gd name="connsiteY35" fmla="*/ 7632 h 10000"/>
                <a:gd name="connsiteX36" fmla="*/ 7848 w 10000"/>
                <a:gd name="connsiteY36" fmla="*/ 9079 h 10000"/>
                <a:gd name="connsiteX37" fmla="*/ 7089 w 10000"/>
                <a:gd name="connsiteY37" fmla="*/ 9737 h 10000"/>
                <a:gd name="connsiteX38" fmla="*/ 6329 w 10000"/>
                <a:gd name="connsiteY38" fmla="*/ 9868 h 10000"/>
                <a:gd name="connsiteX39" fmla="*/ 5823 w 10000"/>
                <a:gd name="connsiteY39" fmla="*/ 10000 h 10000"/>
                <a:gd name="connsiteX40" fmla="*/ 1899 w 10000"/>
                <a:gd name="connsiteY40" fmla="*/ 6974 h 10000"/>
                <a:gd name="connsiteX0" fmla="*/ 1899 w 10000"/>
                <a:gd name="connsiteY0" fmla="*/ 6974 h 10313"/>
                <a:gd name="connsiteX1" fmla="*/ 0 w 10000"/>
                <a:gd name="connsiteY1" fmla="*/ 5658 h 10313"/>
                <a:gd name="connsiteX2" fmla="*/ 0 w 10000"/>
                <a:gd name="connsiteY2" fmla="*/ 5395 h 10313"/>
                <a:gd name="connsiteX3" fmla="*/ 0 w 10000"/>
                <a:gd name="connsiteY3" fmla="*/ 4737 h 10313"/>
                <a:gd name="connsiteX4" fmla="*/ 759 w 10000"/>
                <a:gd name="connsiteY4" fmla="*/ 4211 h 10313"/>
                <a:gd name="connsiteX5" fmla="*/ 1646 w 10000"/>
                <a:gd name="connsiteY5" fmla="*/ 4079 h 10313"/>
                <a:gd name="connsiteX6" fmla="*/ 1899 w 10000"/>
                <a:gd name="connsiteY6" fmla="*/ 3684 h 10313"/>
                <a:gd name="connsiteX7" fmla="*/ 2405 w 10000"/>
                <a:gd name="connsiteY7" fmla="*/ 3553 h 10313"/>
                <a:gd name="connsiteX8" fmla="*/ 2532 w 10000"/>
                <a:gd name="connsiteY8" fmla="*/ 3026 h 10313"/>
                <a:gd name="connsiteX9" fmla="*/ 3671 w 10000"/>
                <a:gd name="connsiteY9" fmla="*/ 2895 h 10313"/>
                <a:gd name="connsiteX10" fmla="*/ 3671 w 10000"/>
                <a:gd name="connsiteY10" fmla="*/ 2500 h 10313"/>
                <a:gd name="connsiteX11" fmla="*/ 3418 w 10000"/>
                <a:gd name="connsiteY11" fmla="*/ 1974 h 10313"/>
                <a:gd name="connsiteX12" fmla="*/ 3291 w 10000"/>
                <a:gd name="connsiteY12" fmla="*/ 1184 h 10313"/>
                <a:gd name="connsiteX13" fmla="*/ 3291 w 10000"/>
                <a:gd name="connsiteY13" fmla="*/ 1184 h 10313"/>
                <a:gd name="connsiteX14" fmla="*/ 3544 w 10000"/>
                <a:gd name="connsiteY14" fmla="*/ 1184 h 10313"/>
                <a:gd name="connsiteX15" fmla="*/ 3924 w 10000"/>
                <a:gd name="connsiteY15" fmla="*/ 789 h 10313"/>
                <a:gd name="connsiteX16" fmla="*/ 4684 w 10000"/>
                <a:gd name="connsiteY16" fmla="*/ 395 h 10313"/>
                <a:gd name="connsiteX17" fmla="*/ 5443 w 10000"/>
                <a:gd name="connsiteY17" fmla="*/ 263 h 10313"/>
                <a:gd name="connsiteX18" fmla="*/ 6076 w 10000"/>
                <a:gd name="connsiteY18" fmla="*/ 132 h 10313"/>
                <a:gd name="connsiteX19" fmla="*/ 6582 w 10000"/>
                <a:gd name="connsiteY19" fmla="*/ 132 h 10313"/>
                <a:gd name="connsiteX20" fmla="*/ 6962 w 10000"/>
                <a:gd name="connsiteY20" fmla="*/ 263 h 10313"/>
                <a:gd name="connsiteX21" fmla="*/ 7342 w 10000"/>
                <a:gd name="connsiteY21" fmla="*/ 0 h 10313"/>
                <a:gd name="connsiteX22" fmla="*/ 7848 w 10000"/>
                <a:gd name="connsiteY22" fmla="*/ 0 h 10313"/>
                <a:gd name="connsiteX23" fmla="*/ 8354 w 10000"/>
                <a:gd name="connsiteY23" fmla="*/ 0 h 10313"/>
                <a:gd name="connsiteX24" fmla="*/ 8354 w 10000"/>
                <a:gd name="connsiteY24" fmla="*/ 658 h 10313"/>
                <a:gd name="connsiteX25" fmla="*/ 8228 w 10000"/>
                <a:gd name="connsiteY25" fmla="*/ 1579 h 10313"/>
                <a:gd name="connsiteX26" fmla="*/ 7848 w 10000"/>
                <a:gd name="connsiteY26" fmla="*/ 2105 h 10313"/>
                <a:gd name="connsiteX27" fmla="*/ 8228 w 10000"/>
                <a:gd name="connsiteY27" fmla="*/ 2500 h 10313"/>
                <a:gd name="connsiteX28" fmla="*/ 8608 w 10000"/>
                <a:gd name="connsiteY28" fmla="*/ 3026 h 10313"/>
                <a:gd name="connsiteX29" fmla="*/ 8861 w 10000"/>
                <a:gd name="connsiteY29" fmla="*/ 3947 h 10313"/>
                <a:gd name="connsiteX30" fmla="*/ 8987 w 10000"/>
                <a:gd name="connsiteY30" fmla="*/ 4211 h 10313"/>
                <a:gd name="connsiteX31" fmla="*/ 9114 w 10000"/>
                <a:gd name="connsiteY31" fmla="*/ 5789 h 10313"/>
                <a:gd name="connsiteX32" fmla="*/ 8861 w 10000"/>
                <a:gd name="connsiteY32" fmla="*/ 6316 h 10313"/>
                <a:gd name="connsiteX33" fmla="*/ 9241 w 10000"/>
                <a:gd name="connsiteY33" fmla="*/ 6974 h 10313"/>
                <a:gd name="connsiteX34" fmla="*/ 9747 w 10000"/>
                <a:gd name="connsiteY34" fmla="*/ 7105 h 10313"/>
                <a:gd name="connsiteX35" fmla="*/ 10000 w 10000"/>
                <a:gd name="connsiteY35" fmla="*/ 7632 h 10313"/>
                <a:gd name="connsiteX36" fmla="*/ 7848 w 10000"/>
                <a:gd name="connsiteY36" fmla="*/ 9079 h 10313"/>
                <a:gd name="connsiteX37" fmla="*/ 7089 w 10000"/>
                <a:gd name="connsiteY37" fmla="*/ 9737 h 10313"/>
                <a:gd name="connsiteX38" fmla="*/ 6329 w 10000"/>
                <a:gd name="connsiteY38" fmla="*/ 9868 h 10313"/>
                <a:gd name="connsiteX39" fmla="*/ 3831 w 10000"/>
                <a:gd name="connsiteY39" fmla="*/ 10313 h 10313"/>
                <a:gd name="connsiteX40" fmla="*/ 1899 w 10000"/>
                <a:gd name="connsiteY40" fmla="*/ 6974 h 10313"/>
                <a:gd name="connsiteX0" fmla="*/ 1899 w 10000"/>
                <a:gd name="connsiteY0" fmla="*/ 6974 h 10449"/>
                <a:gd name="connsiteX1" fmla="*/ 0 w 10000"/>
                <a:gd name="connsiteY1" fmla="*/ 5658 h 10449"/>
                <a:gd name="connsiteX2" fmla="*/ 0 w 10000"/>
                <a:gd name="connsiteY2" fmla="*/ 5395 h 10449"/>
                <a:gd name="connsiteX3" fmla="*/ 0 w 10000"/>
                <a:gd name="connsiteY3" fmla="*/ 4737 h 10449"/>
                <a:gd name="connsiteX4" fmla="*/ 759 w 10000"/>
                <a:gd name="connsiteY4" fmla="*/ 4211 h 10449"/>
                <a:gd name="connsiteX5" fmla="*/ 1646 w 10000"/>
                <a:gd name="connsiteY5" fmla="*/ 4079 h 10449"/>
                <a:gd name="connsiteX6" fmla="*/ 1899 w 10000"/>
                <a:gd name="connsiteY6" fmla="*/ 3684 h 10449"/>
                <a:gd name="connsiteX7" fmla="*/ 2405 w 10000"/>
                <a:gd name="connsiteY7" fmla="*/ 3553 h 10449"/>
                <a:gd name="connsiteX8" fmla="*/ 2532 w 10000"/>
                <a:gd name="connsiteY8" fmla="*/ 3026 h 10449"/>
                <a:gd name="connsiteX9" fmla="*/ 3671 w 10000"/>
                <a:gd name="connsiteY9" fmla="*/ 2895 h 10449"/>
                <a:gd name="connsiteX10" fmla="*/ 3671 w 10000"/>
                <a:gd name="connsiteY10" fmla="*/ 2500 h 10449"/>
                <a:gd name="connsiteX11" fmla="*/ 3418 w 10000"/>
                <a:gd name="connsiteY11" fmla="*/ 1974 h 10449"/>
                <a:gd name="connsiteX12" fmla="*/ 3291 w 10000"/>
                <a:gd name="connsiteY12" fmla="*/ 1184 h 10449"/>
                <a:gd name="connsiteX13" fmla="*/ 3291 w 10000"/>
                <a:gd name="connsiteY13" fmla="*/ 1184 h 10449"/>
                <a:gd name="connsiteX14" fmla="*/ 3544 w 10000"/>
                <a:gd name="connsiteY14" fmla="*/ 1184 h 10449"/>
                <a:gd name="connsiteX15" fmla="*/ 3924 w 10000"/>
                <a:gd name="connsiteY15" fmla="*/ 789 h 10449"/>
                <a:gd name="connsiteX16" fmla="*/ 4684 w 10000"/>
                <a:gd name="connsiteY16" fmla="*/ 395 h 10449"/>
                <a:gd name="connsiteX17" fmla="*/ 5443 w 10000"/>
                <a:gd name="connsiteY17" fmla="*/ 263 h 10449"/>
                <a:gd name="connsiteX18" fmla="*/ 6076 w 10000"/>
                <a:gd name="connsiteY18" fmla="*/ 132 h 10449"/>
                <a:gd name="connsiteX19" fmla="*/ 6582 w 10000"/>
                <a:gd name="connsiteY19" fmla="*/ 132 h 10449"/>
                <a:gd name="connsiteX20" fmla="*/ 6962 w 10000"/>
                <a:gd name="connsiteY20" fmla="*/ 263 h 10449"/>
                <a:gd name="connsiteX21" fmla="*/ 7342 w 10000"/>
                <a:gd name="connsiteY21" fmla="*/ 0 h 10449"/>
                <a:gd name="connsiteX22" fmla="*/ 7848 w 10000"/>
                <a:gd name="connsiteY22" fmla="*/ 0 h 10449"/>
                <a:gd name="connsiteX23" fmla="*/ 8354 w 10000"/>
                <a:gd name="connsiteY23" fmla="*/ 0 h 10449"/>
                <a:gd name="connsiteX24" fmla="*/ 8354 w 10000"/>
                <a:gd name="connsiteY24" fmla="*/ 658 h 10449"/>
                <a:gd name="connsiteX25" fmla="*/ 8228 w 10000"/>
                <a:gd name="connsiteY25" fmla="*/ 1579 h 10449"/>
                <a:gd name="connsiteX26" fmla="*/ 7848 w 10000"/>
                <a:gd name="connsiteY26" fmla="*/ 2105 h 10449"/>
                <a:gd name="connsiteX27" fmla="*/ 8228 w 10000"/>
                <a:gd name="connsiteY27" fmla="*/ 2500 h 10449"/>
                <a:gd name="connsiteX28" fmla="*/ 8608 w 10000"/>
                <a:gd name="connsiteY28" fmla="*/ 3026 h 10449"/>
                <a:gd name="connsiteX29" fmla="*/ 8861 w 10000"/>
                <a:gd name="connsiteY29" fmla="*/ 3947 h 10449"/>
                <a:gd name="connsiteX30" fmla="*/ 8987 w 10000"/>
                <a:gd name="connsiteY30" fmla="*/ 4211 h 10449"/>
                <a:gd name="connsiteX31" fmla="*/ 9114 w 10000"/>
                <a:gd name="connsiteY31" fmla="*/ 5789 h 10449"/>
                <a:gd name="connsiteX32" fmla="*/ 8861 w 10000"/>
                <a:gd name="connsiteY32" fmla="*/ 6316 h 10449"/>
                <a:gd name="connsiteX33" fmla="*/ 9241 w 10000"/>
                <a:gd name="connsiteY33" fmla="*/ 6974 h 10449"/>
                <a:gd name="connsiteX34" fmla="*/ 9747 w 10000"/>
                <a:gd name="connsiteY34" fmla="*/ 7105 h 10449"/>
                <a:gd name="connsiteX35" fmla="*/ 10000 w 10000"/>
                <a:gd name="connsiteY35" fmla="*/ 7632 h 10449"/>
                <a:gd name="connsiteX36" fmla="*/ 7848 w 10000"/>
                <a:gd name="connsiteY36" fmla="*/ 9079 h 10449"/>
                <a:gd name="connsiteX37" fmla="*/ 7089 w 10000"/>
                <a:gd name="connsiteY37" fmla="*/ 9737 h 10449"/>
                <a:gd name="connsiteX38" fmla="*/ 3831 w 10000"/>
                <a:gd name="connsiteY38" fmla="*/ 10313 h 10449"/>
                <a:gd name="connsiteX39" fmla="*/ 1899 w 10000"/>
                <a:gd name="connsiteY39" fmla="*/ 6974 h 10449"/>
                <a:gd name="connsiteX0" fmla="*/ 1899 w 10000"/>
                <a:gd name="connsiteY0" fmla="*/ 6974 h 10379"/>
                <a:gd name="connsiteX1" fmla="*/ 0 w 10000"/>
                <a:gd name="connsiteY1" fmla="*/ 5658 h 10379"/>
                <a:gd name="connsiteX2" fmla="*/ 0 w 10000"/>
                <a:gd name="connsiteY2" fmla="*/ 5395 h 10379"/>
                <a:gd name="connsiteX3" fmla="*/ 0 w 10000"/>
                <a:gd name="connsiteY3" fmla="*/ 4737 h 10379"/>
                <a:gd name="connsiteX4" fmla="*/ 759 w 10000"/>
                <a:gd name="connsiteY4" fmla="*/ 4211 h 10379"/>
                <a:gd name="connsiteX5" fmla="*/ 1646 w 10000"/>
                <a:gd name="connsiteY5" fmla="*/ 4079 h 10379"/>
                <a:gd name="connsiteX6" fmla="*/ 1899 w 10000"/>
                <a:gd name="connsiteY6" fmla="*/ 3684 h 10379"/>
                <a:gd name="connsiteX7" fmla="*/ 2405 w 10000"/>
                <a:gd name="connsiteY7" fmla="*/ 3553 h 10379"/>
                <a:gd name="connsiteX8" fmla="*/ 2532 w 10000"/>
                <a:gd name="connsiteY8" fmla="*/ 3026 h 10379"/>
                <a:gd name="connsiteX9" fmla="*/ 3671 w 10000"/>
                <a:gd name="connsiteY9" fmla="*/ 2895 h 10379"/>
                <a:gd name="connsiteX10" fmla="*/ 3671 w 10000"/>
                <a:gd name="connsiteY10" fmla="*/ 2500 h 10379"/>
                <a:gd name="connsiteX11" fmla="*/ 3418 w 10000"/>
                <a:gd name="connsiteY11" fmla="*/ 1974 h 10379"/>
                <a:gd name="connsiteX12" fmla="*/ 3291 w 10000"/>
                <a:gd name="connsiteY12" fmla="*/ 1184 h 10379"/>
                <a:gd name="connsiteX13" fmla="*/ 3291 w 10000"/>
                <a:gd name="connsiteY13" fmla="*/ 1184 h 10379"/>
                <a:gd name="connsiteX14" fmla="*/ 3544 w 10000"/>
                <a:gd name="connsiteY14" fmla="*/ 1184 h 10379"/>
                <a:gd name="connsiteX15" fmla="*/ 3924 w 10000"/>
                <a:gd name="connsiteY15" fmla="*/ 789 h 10379"/>
                <a:gd name="connsiteX16" fmla="*/ 4684 w 10000"/>
                <a:gd name="connsiteY16" fmla="*/ 395 h 10379"/>
                <a:gd name="connsiteX17" fmla="*/ 5443 w 10000"/>
                <a:gd name="connsiteY17" fmla="*/ 263 h 10379"/>
                <a:gd name="connsiteX18" fmla="*/ 6076 w 10000"/>
                <a:gd name="connsiteY18" fmla="*/ 132 h 10379"/>
                <a:gd name="connsiteX19" fmla="*/ 6582 w 10000"/>
                <a:gd name="connsiteY19" fmla="*/ 132 h 10379"/>
                <a:gd name="connsiteX20" fmla="*/ 6962 w 10000"/>
                <a:gd name="connsiteY20" fmla="*/ 263 h 10379"/>
                <a:gd name="connsiteX21" fmla="*/ 7342 w 10000"/>
                <a:gd name="connsiteY21" fmla="*/ 0 h 10379"/>
                <a:gd name="connsiteX22" fmla="*/ 7848 w 10000"/>
                <a:gd name="connsiteY22" fmla="*/ 0 h 10379"/>
                <a:gd name="connsiteX23" fmla="*/ 8354 w 10000"/>
                <a:gd name="connsiteY23" fmla="*/ 0 h 10379"/>
                <a:gd name="connsiteX24" fmla="*/ 8354 w 10000"/>
                <a:gd name="connsiteY24" fmla="*/ 658 h 10379"/>
                <a:gd name="connsiteX25" fmla="*/ 8228 w 10000"/>
                <a:gd name="connsiteY25" fmla="*/ 1579 h 10379"/>
                <a:gd name="connsiteX26" fmla="*/ 7848 w 10000"/>
                <a:gd name="connsiteY26" fmla="*/ 2105 h 10379"/>
                <a:gd name="connsiteX27" fmla="*/ 8228 w 10000"/>
                <a:gd name="connsiteY27" fmla="*/ 2500 h 10379"/>
                <a:gd name="connsiteX28" fmla="*/ 8608 w 10000"/>
                <a:gd name="connsiteY28" fmla="*/ 3026 h 10379"/>
                <a:gd name="connsiteX29" fmla="*/ 8861 w 10000"/>
                <a:gd name="connsiteY29" fmla="*/ 3947 h 10379"/>
                <a:gd name="connsiteX30" fmla="*/ 8987 w 10000"/>
                <a:gd name="connsiteY30" fmla="*/ 4211 h 10379"/>
                <a:gd name="connsiteX31" fmla="*/ 9114 w 10000"/>
                <a:gd name="connsiteY31" fmla="*/ 5789 h 10379"/>
                <a:gd name="connsiteX32" fmla="*/ 8861 w 10000"/>
                <a:gd name="connsiteY32" fmla="*/ 6316 h 10379"/>
                <a:gd name="connsiteX33" fmla="*/ 9241 w 10000"/>
                <a:gd name="connsiteY33" fmla="*/ 6974 h 10379"/>
                <a:gd name="connsiteX34" fmla="*/ 9747 w 10000"/>
                <a:gd name="connsiteY34" fmla="*/ 7105 h 10379"/>
                <a:gd name="connsiteX35" fmla="*/ 10000 w 10000"/>
                <a:gd name="connsiteY35" fmla="*/ 7632 h 10379"/>
                <a:gd name="connsiteX36" fmla="*/ 7848 w 10000"/>
                <a:gd name="connsiteY36" fmla="*/ 9079 h 10379"/>
                <a:gd name="connsiteX37" fmla="*/ 3831 w 10000"/>
                <a:gd name="connsiteY37" fmla="*/ 10313 h 10379"/>
                <a:gd name="connsiteX38" fmla="*/ 1899 w 10000"/>
                <a:gd name="connsiteY38" fmla="*/ 6974 h 10379"/>
                <a:gd name="connsiteX0" fmla="*/ 1899 w 10088"/>
                <a:gd name="connsiteY0" fmla="*/ 6974 h 10485"/>
                <a:gd name="connsiteX1" fmla="*/ 0 w 10088"/>
                <a:gd name="connsiteY1" fmla="*/ 5658 h 10485"/>
                <a:gd name="connsiteX2" fmla="*/ 0 w 10088"/>
                <a:gd name="connsiteY2" fmla="*/ 5395 h 10485"/>
                <a:gd name="connsiteX3" fmla="*/ 0 w 10088"/>
                <a:gd name="connsiteY3" fmla="*/ 4737 h 10485"/>
                <a:gd name="connsiteX4" fmla="*/ 759 w 10088"/>
                <a:gd name="connsiteY4" fmla="*/ 4211 h 10485"/>
                <a:gd name="connsiteX5" fmla="*/ 1646 w 10088"/>
                <a:gd name="connsiteY5" fmla="*/ 4079 h 10485"/>
                <a:gd name="connsiteX6" fmla="*/ 1899 w 10088"/>
                <a:gd name="connsiteY6" fmla="*/ 3684 h 10485"/>
                <a:gd name="connsiteX7" fmla="*/ 2405 w 10088"/>
                <a:gd name="connsiteY7" fmla="*/ 3553 h 10485"/>
                <a:gd name="connsiteX8" fmla="*/ 2532 w 10088"/>
                <a:gd name="connsiteY8" fmla="*/ 3026 h 10485"/>
                <a:gd name="connsiteX9" fmla="*/ 3671 w 10088"/>
                <a:gd name="connsiteY9" fmla="*/ 2895 h 10485"/>
                <a:gd name="connsiteX10" fmla="*/ 3671 w 10088"/>
                <a:gd name="connsiteY10" fmla="*/ 2500 h 10485"/>
                <a:gd name="connsiteX11" fmla="*/ 3418 w 10088"/>
                <a:gd name="connsiteY11" fmla="*/ 1974 h 10485"/>
                <a:gd name="connsiteX12" fmla="*/ 3291 w 10088"/>
                <a:gd name="connsiteY12" fmla="*/ 1184 h 10485"/>
                <a:gd name="connsiteX13" fmla="*/ 3291 w 10088"/>
                <a:gd name="connsiteY13" fmla="*/ 1184 h 10485"/>
                <a:gd name="connsiteX14" fmla="*/ 3544 w 10088"/>
                <a:gd name="connsiteY14" fmla="*/ 1184 h 10485"/>
                <a:gd name="connsiteX15" fmla="*/ 3924 w 10088"/>
                <a:gd name="connsiteY15" fmla="*/ 789 h 10485"/>
                <a:gd name="connsiteX16" fmla="*/ 4684 w 10088"/>
                <a:gd name="connsiteY16" fmla="*/ 395 h 10485"/>
                <a:gd name="connsiteX17" fmla="*/ 5443 w 10088"/>
                <a:gd name="connsiteY17" fmla="*/ 263 h 10485"/>
                <a:gd name="connsiteX18" fmla="*/ 6076 w 10088"/>
                <a:gd name="connsiteY18" fmla="*/ 132 h 10485"/>
                <a:gd name="connsiteX19" fmla="*/ 6582 w 10088"/>
                <a:gd name="connsiteY19" fmla="*/ 132 h 10485"/>
                <a:gd name="connsiteX20" fmla="*/ 6962 w 10088"/>
                <a:gd name="connsiteY20" fmla="*/ 263 h 10485"/>
                <a:gd name="connsiteX21" fmla="*/ 7342 w 10088"/>
                <a:gd name="connsiteY21" fmla="*/ 0 h 10485"/>
                <a:gd name="connsiteX22" fmla="*/ 7848 w 10088"/>
                <a:gd name="connsiteY22" fmla="*/ 0 h 10485"/>
                <a:gd name="connsiteX23" fmla="*/ 8354 w 10088"/>
                <a:gd name="connsiteY23" fmla="*/ 0 h 10485"/>
                <a:gd name="connsiteX24" fmla="*/ 8354 w 10088"/>
                <a:gd name="connsiteY24" fmla="*/ 658 h 10485"/>
                <a:gd name="connsiteX25" fmla="*/ 8228 w 10088"/>
                <a:gd name="connsiteY25" fmla="*/ 1579 h 10485"/>
                <a:gd name="connsiteX26" fmla="*/ 7848 w 10088"/>
                <a:gd name="connsiteY26" fmla="*/ 2105 h 10485"/>
                <a:gd name="connsiteX27" fmla="*/ 8228 w 10088"/>
                <a:gd name="connsiteY27" fmla="*/ 2500 h 10485"/>
                <a:gd name="connsiteX28" fmla="*/ 8608 w 10088"/>
                <a:gd name="connsiteY28" fmla="*/ 3026 h 10485"/>
                <a:gd name="connsiteX29" fmla="*/ 8861 w 10088"/>
                <a:gd name="connsiteY29" fmla="*/ 3947 h 10485"/>
                <a:gd name="connsiteX30" fmla="*/ 8987 w 10088"/>
                <a:gd name="connsiteY30" fmla="*/ 4211 h 10485"/>
                <a:gd name="connsiteX31" fmla="*/ 9114 w 10088"/>
                <a:gd name="connsiteY31" fmla="*/ 5789 h 10485"/>
                <a:gd name="connsiteX32" fmla="*/ 8861 w 10088"/>
                <a:gd name="connsiteY32" fmla="*/ 6316 h 10485"/>
                <a:gd name="connsiteX33" fmla="*/ 9241 w 10088"/>
                <a:gd name="connsiteY33" fmla="*/ 6974 h 10485"/>
                <a:gd name="connsiteX34" fmla="*/ 9747 w 10088"/>
                <a:gd name="connsiteY34" fmla="*/ 7105 h 10485"/>
                <a:gd name="connsiteX35" fmla="*/ 10000 w 10088"/>
                <a:gd name="connsiteY35" fmla="*/ 7632 h 10485"/>
                <a:gd name="connsiteX36" fmla="*/ 8097 w 10088"/>
                <a:gd name="connsiteY36" fmla="*/ 9758 h 10485"/>
                <a:gd name="connsiteX37" fmla="*/ 3831 w 10088"/>
                <a:gd name="connsiteY37" fmla="*/ 10313 h 10485"/>
                <a:gd name="connsiteX38" fmla="*/ 1899 w 10088"/>
                <a:gd name="connsiteY38" fmla="*/ 6974 h 10485"/>
                <a:gd name="connsiteX0" fmla="*/ 1899 w 10088"/>
                <a:gd name="connsiteY0" fmla="*/ 6974 h 10281"/>
                <a:gd name="connsiteX1" fmla="*/ 0 w 10088"/>
                <a:gd name="connsiteY1" fmla="*/ 5658 h 10281"/>
                <a:gd name="connsiteX2" fmla="*/ 0 w 10088"/>
                <a:gd name="connsiteY2" fmla="*/ 5395 h 10281"/>
                <a:gd name="connsiteX3" fmla="*/ 0 w 10088"/>
                <a:gd name="connsiteY3" fmla="*/ 4737 h 10281"/>
                <a:gd name="connsiteX4" fmla="*/ 759 w 10088"/>
                <a:gd name="connsiteY4" fmla="*/ 4211 h 10281"/>
                <a:gd name="connsiteX5" fmla="*/ 1646 w 10088"/>
                <a:gd name="connsiteY5" fmla="*/ 4079 h 10281"/>
                <a:gd name="connsiteX6" fmla="*/ 1899 w 10088"/>
                <a:gd name="connsiteY6" fmla="*/ 3684 h 10281"/>
                <a:gd name="connsiteX7" fmla="*/ 2405 w 10088"/>
                <a:gd name="connsiteY7" fmla="*/ 3553 h 10281"/>
                <a:gd name="connsiteX8" fmla="*/ 2532 w 10088"/>
                <a:gd name="connsiteY8" fmla="*/ 3026 h 10281"/>
                <a:gd name="connsiteX9" fmla="*/ 3671 w 10088"/>
                <a:gd name="connsiteY9" fmla="*/ 2895 h 10281"/>
                <a:gd name="connsiteX10" fmla="*/ 3671 w 10088"/>
                <a:gd name="connsiteY10" fmla="*/ 2500 h 10281"/>
                <a:gd name="connsiteX11" fmla="*/ 3418 w 10088"/>
                <a:gd name="connsiteY11" fmla="*/ 1974 h 10281"/>
                <a:gd name="connsiteX12" fmla="*/ 3291 w 10088"/>
                <a:gd name="connsiteY12" fmla="*/ 1184 h 10281"/>
                <a:gd name="connsiteX13" fmla="*/ 3291 w 10088"/>
                <a:gd name="connsiteY13" fmla="*/ 1184 h 10281"/>
                <a:gd name="connsiteX14" fmla="*/ 3544 w 10088"/>
                <a:gd name="connsiteY14" fmla="*/ 1184 h 10281"/>
                <a:gd name="connsiteX15" fmla="*/ 3924 w 10088"/>
                <a:gd name="connsiteY15" fmla="*/ 789 h 10281"/>
                <a:gd name="connsiteX16" fmla="*/ 4684 w 10088"/>
                <a:gd name="connsiteY16" fmla="*/ 395 h 10281"/>
                <a:gd name="connsiteX17" fmla="*/ 5443 w 10088"/>
                <a:gd name="connsiteY17" fmla="*/ 263 h 10281"/>
                <a:gd name="connsiteX18" fmla="*/ 6076 w 10088"/>
                <a:gd name="connsiteY18" fmla="*/ 132 h 10281"/>
                <a:gd name="connsiteX19" fmla="*/ 6582 w 10088"/>
                <a:gd name="connsiteY19" fmla="*/ 132 h 10281"/>
                <a:gd name="connsiteX20" fmla="*/ 6962 w 10088"/>
                <a:gd name="connsiteY20" fmla="*/ 263 h 10281"/>
                <a:gd name="connsiteX21" fmla="*/ 7342 w 10088"/>
                <a:gd name="connsiteY21" fmla="*/ 0 h 10281"/>
                <a:gd name="connsiteX22" fmla="*/ 7848 w 10088"/>
                <a:gd name="connsiteY22" fmla="*/ 0 h 10281"/>
                <a:gd name="connsiteX23" fmla="*/ 8354 w 10088"/>
                <a:gd name="connsiteY23" fmla="*/ 0 h 10281"/>
                <a:gd name="connsiteX24" fmla="*/ 8354 w 10088"/>
                <a:gd name="connsiteY24" fmla="*/ 658 h 10281"/>
                <a:gd name="connsiteX25" fmla="*/ 8228 w 10088"/>
                <a:gd name="connsiteY25" fmla="*/ 1579 h 10281"/>
                <a:gd name="connsiteX26" fmla="*/ 7848 w 10088"/>
                <a:gd name="connsiteY26" fmla="*/ 2105 h 10281"/>
                <a:gd name="connsiteX27" fmla="*/ 8228 w 10088"/>
                <a:gd name="connsiteY27" fmla="*/ 2500 h 10281"/>
                <a:gd name="connsiteX28" fmla="*/ 8608 w 10088"/>
                <a:gd name="connsiteY28" fmla="*/ 3026 h 10281"/>
                <a:gd name="connsiteX29" fmla="*/ 8861 w 10088"/>
                <a:gd name="connsiteY29" fmla="*/ 3947 h 10281"/>
                <a:gd name="connsiteX30" fmla="*/ 8987 w 10088"/>
                <a:gd name="connsiteY30" fmla="*/ 4211 h 10281"/>
                <a:gd name="connsiteX31" fmla="*/ 9114 w 10088"/>
                <a:gd name="connsiteY31" fmla="*/ 5789 h 10281"/>
                <a:gd name="connsiteX32" fmla="*/ 8861 w 10088"/>
                <a:gd name="connsiteY32" fmla="*/ 6316 h 10281"/>
                <a:gd name="connsiteX33" fmla="*/ 9241 w 10088"/>
                <a:gd name="connsiteY33" fmla="*/ 6974 h 10281"/>
                <a:gd name="connsiteX34" fmla="*/ 9747 w 10088"/>
                <a:gd name="connsiteY34" fmla="*/ 7105 h 10281"/>
                <a:gd name="connsiteX35" fmla="*/ 10000 w 10088"/>
                <a:gd name="connsiteY35" fmla="*/ 7632 h 10281"/>
                <a:gd name="connsiteX36" fmla="*/ 8097 w 10088"/>
                <a:gd name="connsiteY36" fmla="*/ 9758 h 10281"/>
                <a:gd name="connsiteX37" fmla="*/ 5425 w 10088"/>
                <a:gd name="connsiteY37" fmla="*/ 10052 h 10281"/>
                <a:gd name="connsiteX38" fmla="*/ 1899 w 10088"/>
                <a:gd name="connsiteY38" fmla="*/ 6974 h 10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0088" h="10281">
                  <a:moveTo>
                    <a:pt x="1899" y="6974"/>
                  </a:moveTo>
                  <a:lnTo>
                    <a:pt x="0" y="5658"/>
                  </a:lnTo>
                  <a:lnTo>
                    <a:pt x="0" y="5395"/>
                  </a:lnTo>
                  <a:lnTo>
                    <a:pt x="0" y="4737"/>
                  </a:lnTo>
                  <a:cubicBezTo>
                    <a:pt x="0" y="4737"/>
                    <a:pt x="633" y="4342"/>
                    <a:pt x="759" y="4211"/>
                  </a:cubicBezTo>
                  <a:cubicBezTo>
                    <a:pt x="1013" y="4211"/>
                    <a:pt x="1646" y="4211"/>
                    <a:pt x="1646" y="4079"/>
                  </a:cubicBezTo>
                  <a:cubicBezTo>
                    <a:pt x="1772" y="4079"/>
                    <a:pt x="1772" y="3684"/>
                    <a:pt x="1899" y="3684"/>
                  </a:cubicBezTo>
                  <a:cubicBezTo>
                    <a:pt x="2025" y="3684"/>
                    <a:pt x="2278" y="3553"/>
                    <a:pt x="2405" y="3553"/>
                  </a:cubicBezTo>
                  <a:cubicBezTo>
                    <a:pt x="2532" y="3553"/>
                    <a:pt x="2405" y="3158"/>
                    <a:pt x="2532" y="3026"/>
                  </a:cubicBezTo>
                  <a:cubicBezTo>
                    <a:pt x="2658" y="3026"/>
                    <a:pt x="3671" y="2895"/>
                    <a:pt x="3671" y="2895"/>
                  </a:cubicBezTo>
                  <a:lnTo>
                    <a:pt x="3671" y="2500"/>
                  </a:lnTo>
                  <a:cubicBezTo>
                    <a:pt x="3671" y="2368"/>
                    <a:pt x="3418" y="2237"/>
                    <a:pt x="3418" y="1974"/>
                  </a:cubicBezTo>
                  <a:cubicBezTo>
                    <a:pt x="3418" y="1711"/>
                    <a:pt x="3291" y="1184"/>
                    <a:pt x="3291" y="1184"/>
                  </a:cubicBezTo>
                  <a:lnTo>
                    <a:pt x="3291" y="1184"/>
                  </a:lnTo>
                  <a:lnTo>
                    <a:pt x="3544" y="1184"/>
                  </a:lnTo>
                  <a:cubicBezTo>
                    <a:pt x="3671" y="1184"/>
                    <a:pt x="3797" y="921"/>
                    <a:pt x="3924" y="789"/>
                  </a:cubicBezTo>
                  <a:lnTo>
                    <a:pt x="4684" y="395"/>
                  </a:lnTo>
                  <a:cubicBezTo>
                    <a:pt x="4937" y="395"/>
                    <a:pt x="5316" y="263"/>
                    <a:pt x="5443" y="263"/>
                  </a:cubicBezTo>
                  <a:cubicBezTo>
                    <a:pt x="5696" y="263"/>
                    <a:pt x="5949" y="132"/>
                    <a:pt x="6076" y="132"/>
                  </a:cubicBezTo>
                  <a:lnTo>
                    <a:pt x="6582" y="132"/>
                  </a:lnTo>
                  <a:cubicBezTo>
                    <a:pt x="6582" y="132"/>
                    <a:pt x="6582" y="263"/>
                    <a:pt x="6962" y="263"/>
                  </a:cubicBezTo>
                  <a:cubicBezTo>
                    <a:pt x="7215" y="263"/>
                    <a:pt x="7215" y="132"/>
                    <a:pt x="7342" y="0"/>
                  </a:cubicBezTo>
                  <a:lnTo>
                    <a:pt x="7848" y="0"/>
                  </a:lnTo>
                  <a:cubicBezTo>
                    <a:pt x="7975" y="132"/>
                    <a:pt x="8354" y="132"/>
                    <a:pt x="8354" y="0"/>
                  </a:cubicBezTo>
                  <a:lnTo>
                    <a:pt x="8354" y="658"/>
                  </a:lnTo>
                  <a:cubicBezTo>
                    <a:pt x="8354" y="789"/>
                    <a:pt x="8228" y="1447"/>
                    <a:pt x="8228" y="1579"/>
                  </a:cubicBezTo>
                  <a:cubicBezTo>
                    <a:pt x="8101" y="1711"/>
                    <a:pt x="7722" y="1974"/>
                    <a:pt x="7848" y="2105"/>
                  </a:cubicBezTo>
                  <a:lnTo>
                    <a:pt x="8228" y="2500"/>
                  </a:lnTo>
                  <a:cubicBezTo>
                    <a:pt x="8228" y="2632"/>
                    <a:pt x="8608" y="2895"/>
                    <a:pt x="8608" y="3026"/>
                  </a:cubicBezTo>
                  <a:cubicBezTo>
                    <a:pt x="8608" y="3026"/>
                    <a:pt x="8734" y="3553"/>
                    <a:pt x="8861" y="3947"/>
                  </a:cubicBezTo>
                  <a:cubicBezTo>
                    <a:pt x="8861" y="4079"/>
                    <a:pt x="8987" y="4079"/>
                    <a:pt x="8987" y="4211"/>
                  </a:cubicBezTo>
                  <a:cubicBezTo>
                    <a:pt x="8987" y="4474"/>
                    <a:pt x="9114" y="5658"/>
                    <a:pt x="9114" y="5789"/>
                  </a:cubicBezTo>
                  <a:cubicBezTo>
                    <a:pt x="9114" y="5921"/>
                    <a:pt x="8734" y="6184"/>
                    <a:pt x="8861" y="6316"/>
                  </a:cubicBezTo>
                  <a:cubicBezTo>
                    <a:pt x="8987" y="6447"/>
                    <a:pt x="9114" y="6974"/>
                    <a:pt x="9241" y="6974"/>
                  </a:cubicBezTo>
                  <a:cubicBezTo>
                    <a:pt x="9367" y="6974"/>
                    <a:pt x="9747" y="7105"/>
                    <a:pt x="9747" y="7105"/>
                  </a:cubicBezTo>
                  <a:cubicBezTo>
                    <a:pt x="9831" y="7281"/>
                    <a:pt x="10275" y="7190"/>
                    <a:pt x="10000" y="7632"/>
                  </a:cubicBezTo>
                  <a:cubicBezTo>
                    <a:pt x="9725" y="8074"/>
                    <a:pt x="8097" y="9626"/>
                    <a:pt x="8097" y="9758"/>
                  </a:cubicBezTo>
                  <a:cubicBezTo>
                    <a:pt x="7069" y="10205"/>
                    <a:pt x="6458" y="10516"/>
                    <a:pt x="5425" y="10052"/>
                  </a:cubicBezTo>
                  <a:cubicBezTo>
                    <a:pt x="4392" y="9588"/>
                    <a:pt x="2716" y="7604"/>
                    <a:pt x="1899" y="697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39" name="Freeform 732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909982" y="3785074"/>
              <a:ext cx="259363" cy="190874"/>
            </a:xfrm>
            <a:custGeom>
              <a:avLst/>
              <a:gdLst>
                <a:gd name="T0" fmla="*/ 106 w 144"/>
                <a:gd name="T1" fmla="*/ 22 h 106"/>
                <a:gd name="T2" fmla="*/ 112 w 144"/>
                <a:gd name="T3" fmla="*/ 0 h 106"/>
                <a:gd name="T4" fmla="*/ 120 w 144"/>
                <a:gd name="T5" fmla="*/ 38 h 106"/>
                <a:gd name="T6" fmla="*/ 108 w 144"/>
                <a:gd name="T7" fmla="*/ 38 h 106"/>
                <a:gd name="T8" fmla="*/ 108 w 144"/>
                <a:gd name="T9" fmla="*/ 51 h 106"/>
                <a:gd name="T10" fmla="*/ 121 w 144"/>
                <a:gd name="T11" fmla="*/ 56 h 106"/>
                <a:gd name="T12" fmla="*/ 137 w 144"/>
                <a:gd name="T13" fmla="*/ 65 h 106"/>
                <a:gd name="T14" fmla="*/ 142 w 144"/>
                <a:gd name="T15" fmla="*/ 75 h 106"/>
                <a:gd name="T16" fmla="*/ 144 w 144"/>
                <a:gd name="T17" fmla="*/ 91 h 106"/>
                <a:gd name="T18" fmla="*/ 144 w 144"/>
                <a:gd name="T19" fmla="*/ 91 h 106"/>
                <a:gd name="T20" fmla="*/ 125 w 144"/>
                <a:gd name="T21" fmla="*/ 91 h 106"/>
                <a:gd name="T22" fmla="*/ 121 w 144"/>
                <a:gd name="T23" fmla="*/ 97 h 106"/>
                <a:gd name="T24" fmla="*/ 118 w 144"/>
                <a:gd name="T25" fmla="*/ 104 h 106"/>
                <a:gd name="T26" fmla="*/ 101 w 144"/>
                <a:gd name="T27" fmla="*/ 104 h 106"/>
                <a:gd name="T28" fmla="*/ 82 w 144"/>
                <a:gd name="T29" fmla="*/ 106 h 106"/>
                <a:gd name="T30" fmla="*/ 70 w 144"/>
                <a:gd name="T31" fmla="*/ 99 h 106"/>
                <a:gd name="T32" fmla="*/ 63 w 144"/>
                <a:gd name="T33" fmla="*/ 91 h 106"/>
                <a:gd name="T34" fmla="*/ 53 w 144"/>
                <a:gd name="T35" fmla="*/ 97 h 106"/>
                <a:gd name="T36" fmla="*/ 39 w 144"/>
                <a:gd name="T37" fmla="*/ 89 h 106"/>
                <a:gd name="T38" fmla="*/ 32 w 144"/>
                <a:gd name="T39" fmla="*/ 84 h 106"/>
                <a:gd name="T40" fmla="*/ 34 w 144"/>
                <a:gd name="T41" fmla="*/ 75 h 106"/>
                <a:gd name="T42" fmla="*/ 22 w 144"/>
                <a:gd name="T43" fmla="*/ 64 h 106"/>
                <a:gd name="T44" fmla="*/ 8 w 144"/>
                <a:gd name="T45" fmla="*/ 53 h 106"/>
                <a:gd name="T46" fmla="*/ 0 w 144"/>
                <a:gd name="T47" fmla="*/ 42 h 106"/>
                <a:gd name="T48" fmla="*/ 18 w 144"/>
                <a:gd name="T49" fmla="*/ 27 h 106"/>
                <a:gd name="T50" fmla="*/ 37 w 144"/>
                <a:gd name="T51" fmla="*/ 36 h 106"/>
                <a:gd name="T52" fmla="*/ 52 w 144"/>
                <a:gd name="T53" fmla="*/ 40 h 106"/>
                <a:gd name="T54" fmla="*/ 106 w 144"/>
                <a:gd name="T55" fmla="*/ 2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4" h="106">
                  <a:moveTo>
                    <a:pt x="106" y="22"/>
                  </a:moveTo>
                  <a:cubicBezTo>
                    <a:pt x="104" y="26"/>
                    <a:pt x="113" y="0"/>
                    <a:pt x="112" y="0"/>
                  </a:cubicBezTo>
                  <a:cubicBezTo>
                    <a:pt x="118" y="2"/>
                    <a:pt x="121" y="32"/>
                    <a:pt x="120" y="38"/>
                  </a:cubicBezTo>
                  <a:cubicBezTo>
                    <a:pt x="118" y="40"/>
                    <a:pt x="109" y="34"/>
                    <a:pt x="108" y="38"/>
                  </a:cubicBezTo>
                  <a:cubicBezTo>
                    <a:pt x="106" y="43"/>
                    <a:pt x="104" y="51"/>
                    <a:pt x="108" y="51"/>
                  </a:cubicBezTo>
                  <a:cubicBezTo>
                    <a:pt x="111" y="53"/>
                    <a:pt x="118" y="51"/>
                    <a:pt x="121" y="56"/>
                  </a:cubicBezTo>
                  <a:cubicBezTo>
                    <a:pt x="126" y="60"/>
                    <a:pt x="137" y="62"/>
                    <a:pt x="137" y="65"/>
                  </a:cubicBezTo>
                  <a:cubicBezTo>
                    <a:pt x="137" y="69"/>
                    <a:pt x="138" y="75"/>
                    <a:pt x="142" y="75"/>
                  </a:cubicBezTo>
                  <a:cubicBezTo>
                    <a:pt x="144" y="91"/>
                    <a:pt x="144" y="91"/>
                    <a:pt x="144" y="91"/>
                  </a:cubicBezTo>
                  <a:cubicBezTo>
                    <a:pt x="144" y="91"/>
                    <a:pt x="144" y="91"/>
                    <a:pt x="144" y="91"/>
                  </a:cubicBezTo>
                  <a:cubicBezTo>
                    <a:pt x="125" y="91"/>
                    <a:pt x="125" y="91"/>
                    <a:pt x="125" y="91"/>
                  </a:cubicBezTo>
                  <a:cubicBezTo>
                    <a:pt x="121" y="97"/>
                    <a:pt x="121" y="97"/>
                    <a:pt x="121" y="97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4"/>
                    <a:pt x="106" y="104"/>
                    <a:pt x="101" y="104"/>
                  </a:cubicBezTo>
                  <a:cubicBezTo>
                    <a:pt x="96" y="104"/>
                    <a:pt x="84" y="104"/>
                    <a:pt x="82" y="106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67" y="93"/>
                    <a:pt x="63" y="91"/>
                  </a:cubicBezTo>
                  <a:cubicBezTo>
                    <a:pt x="60" y="89"/>
                    <a:pt x="61" y="97"/>
                    <a:pt x="53" y="97"/>
                  </a:cubicBezTo>
                  <a:cubicBezTo>
                    <a:pt x="44" y="97"/>
                    <a:pt x="43" y="93"/>
                    <a:pt x="39" y="89"/>
                  </a:cubicBezTo>
                  <a:cubicBezTo>
                    <a:pt x="37" y="88"/>
                    <a:pt x="36" y="86"/>
                    <a:pt x="32" y="84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5"/>
                    <a:pt x="24" y="65"/>
                    <a:pt x="22" y="64"/>
                  </a:cubicBezTo>
                  <a:cubicBezTo>
                    <a:pt x="20" y="62"/>
                    <a:pt x="12" y="54"/>
                    <a:pt x="8" y="53"/>
                  </a:cubicBezTo>
                  <a:cubicBezTo>
                    <a:pt x="5" y="51"/>
                    <a:pt x="1" y="45"/>
                    <a:pt x="0" y="42"/>
                  </a:cubicBezTo>
                  <a:cubicBezTo>
                    <a:pt x="0" y="38"/>
                    <a:pt x="18" y="27"/>
                    <a:pt x="18" y="27"/>
                  </a:cubicBezTo>
                  <a:cubicBezTo>
                    <a:pt x="18" y="27"/>
                    <a:pt x="37" y="42"/>
                    <a:pt x="37" y="36"/>
                  </a:cubicBezTo>
                  <a:cubicBezTo>
                    <a:pt x="37" y="31"/>
                    <a:pt x="53" y="44"/>
                    <a:pt x="52" y="40"/>
                  </a:cubicBezTo>
                  <a:cubicBezTo>
                    <a:pt x="72" y="27"/>
                    <a:pt x="90" y="33"/>
                    <a:pt x="106" y="22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0" name="Freeform 732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841236" y="3476996"/>
              <a:ext cx="399981" cy="388447"/>
            </a:xfrm>
            <a:custGeom>
              <a:avLst/>
              <a:gdLst>
                <a:gd name="T0" fmla="*/ 74 w 607"/>
                <a:gd name="T1" fmla="*/ 137 h 596"/>
                <a:gd name="T2" fmla="*/ 74 w 607"/>
                <a:gd name="T3" fmla="*/ 121 h 596"/>
                <a:gd name="T4" fmla="*/ 113 w 607"/>
                <a:gd name="T5" fmla="*/ 121 h 596"/>
                <a:gd name="T6" fmla="*/ 113 w 607"/>
                <a:gd name="T7" fmla="*/ 36 h 596"/>
                <a:gd name="T8" fmla="*/ 409 w 607"/>
                <a:gd name="T9" fmla="*/ 36 h 596"/>
                <a:gd name="T10" fmla="*/ 434 w 607"/>
                <a:gd name="T11" fmla="*/ 49 h 596"/>
                <a:gd name="T12" fmla="*/ 461 w 607"/>
                <a:gd name="T13" fmla="*/ 30 h 596"/>
                <a:gd name="T14" fmla="*/ 470 w 607"/>
                <a:gd name="T15" fmla="*/ 5 h 596"/>
                <a:gd name="T16" fmla="*/ 494 w 607"/>
                <a:gd name="T17" fmla="*/ 0 h 596"/>
                <a:gd name="T18" fmla="*/ 500 w 607"/>
                <a:gd name="T19" fmla="*/ 5 h 596"/>
                <a:gd name="T20" fmla="*/ 522 w 607"/>
                <a:gd name="T21" fmla="*/ 16 h 596"/>
                <a:gd name="T22" fmla="*/ 541 w 607"/>
                <a:gd name="T23" fmla="*/ 36 h 596"/>
                <a:gd name="T24" fmla="*/ 560 w 607"/>
                <a:gd name="T25" fmla="*/ 162 h 596"/>
                <a:gd name="T26" fmla="*/ 602 w 607"/>
                <a:gd name="T27" fmla="*/ 192 h 596"/>
                <a:gd name="T28" fmla="*/ 607 w 607"/>
                <a:gd name="T29" fmla="*/ 206 h 596"/>
                <a:gd name="T30" fmla="*/ 582 w 607"/>
                <a:gd name="T31" fmla="*/ 217 h 596"/>
                <a:gd name="T32" fmla="*/ 547 w 607"/>
                <a:gd name="T33" fmla="*/ 264 h 596"/>
                <a:gd name="T34" fmla="*/ 527 w 607"/>
                <a:gd name="T35" fmla="*/ 354 h 596"/>
                <a:gd name="T36" fmla="*/ 514 w 607"/>
                <a:gd name="T37" fmla="*/ 404 h 596"/>
                <a:gd name="T38" fmla="*/ 481 w 607"/>
                <a:gd name="T39" fmla="*/ 434 h 596"/>
                <a:gd name="T40" fmla="*/ 470 w 607"/>
                <a:gd name="T41" fmla="*/ 481 h 596"/>
                <a:gd name="T42" fmla="*/ 450 w 607"/>
                <a:gd name="T43" fmla="*/ 494 h 596"/>
                <a:gd name="T44" fmla="*/ 434 w 607"/>
                <a:gd name="T45" fmla="*/ 577 h 596"/>
                <a:gd name="T46" fmla="*/ 417 w 607"/>
                <a:gd name="T47" fmla="*/ 475 h 596"/>
                <a:gd name="T48" fmla="*/ 393 w 607"/>
                <a:gd name="T49" fmla="*/ 538 h 596"/>
                <a:gd name="T50" fmla="*/ 246 w 607"/>
                <a:gd name="T51" fmla="*/ 582 h 596"/>
                <a:gd name="T52" fmla="*/ 198 w 607"/>
                <a:gd name="T53" fmla="*/ 574 h 596"/>
                <a:gd name="T54" fmla="*/ 154 w 607"/>
                <a:gd name="T55" fmla="*/ 547 h 596"/>
                <a:gd name="T56" fmla="*/ 104 w 607"/>
                <a:gd name="T57" fmla="*/ 588 h 596"/>
                <a:gd name="T58" fmla="*/ 60 w 607"/>
                <a:gd name="T59" fmla="*/ 566 h 596"/>
                <a:gd name="T60" fmla="*/ 66 w 607"/>
                <a:gd name="T61" fmla="*/ 525 h 596"/>
                <a:gd name="T62" fmla="*/ 38 w 607"/>
                <a:gd name="T63" fmla="*/ 481 h 596"/>
                <a:gd name="T64" fmla="*/ 41 w 607"/>
                <a:gd name="T65" fmla="*/ 445 h 596"/>
                <a:gd name="T66" fmla="*/ 19 w 607"/>
                <a:gd name="T67" fmla="*/ 415 h 596"/>
                <a:gd name="T68" fmla="*/ 0 w 607"/>
                <a:gd name="T69" fmla="*/ 398 h 596"/>
                <a:gd name="T70" fmla="*/ 19 w 607"/>
                <a:gd name="T71" fmla="*/ 360 h 596"/>
                <a:gd name="T72" fmla="*/ 38 w 607"/>
                <a:gd name="T73" fmla="*/ 299 h 596"/>
                <a:gd name="T74" fmla="*/ 74 w 607"/>
                <a:gd name="T75" fmla="*/ 288 h 596"/>
                <a:gd name="T76" fmla="*/ 74 w 607"/>
                <a:gd name="T77" fmla="*/ 137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7" h="596">
                  <a:moveTo>
                    <a:pt x="74" y="137"/>
                  </a:moveTo>
                  <a:cubicBezTo>
                    <a:pt x="74" y="121"/>
                    <a:pt x="74" y="121"/>
                    <a:pt x="74" y="121"/>
                  </a:cubicBezTo>
                  <a:cubicBezTo>
                    <a:pt x="113" y="121"/>
                    <a:pt x="113" y="121"/>
                    <a:pt x="113" y="121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409" y="36"/>
                    <a:pt x="409" y="36"/>
                    <a:pt x="409" y="36"/>
                  </a:cubicBezTo>
                  <a:cubicBezTo>
                    <a:pt x="417" y="41"/>
                    <a:pt x="423" y="55"/>
                    <a:pt x="434" y="49"/>
                  </a:cubicBezTo>
                  <a:cubicBezTo>
                    <a:pt x="442" y="47"/>
                    <a:pt x="461" y="30"/>
                    <a:pt x="461" y="30"/>
                  </a:cubicBezTo>
                  <a:cubicBezTo>
                    <a:pt x="461" y="30"/>
                    <a:pt x="467" y="5"/>
                    <a:pt x="470" y="5"/>
                  </a:cubicBezTo>
                  <a:cubicBezTo>
                    <a:pt x="481" y="5"/>
                    <a:pt x="494" y="0"/>
                    <a:pt x="494" y="0"/>
                  </a:cubicBezTo>
                  <a:cubicBezTo>
                    <a:pt x="494" y="0"/>
                    <a:pt x="494" y="5"/>
                    <a:pt x="500" y="5"/>
                  </a:cubicBezTo>
                  <a:cubicBezTo>
                    <a:pt x="516" y="16"/>
                    <a:pt x="516" y="11"/>
                    <a:pt x="522" y="16"/>
                  </a:cubicBezTo>
                  <a:cubicBezTo>
                    <a:pt x="527" y="16"/>
                    <a:pt x="541" y="30"/>
                    <a:pt x="541" y="36"/>
                  </a:cubicBezTo>
                  <a:cubicBezTo>
                    <a:pt x="547" y="41"/>
                    <a:pt x="549" y="151"/>
                    <a:pt x="560" y="162"/>
                  </a:cubicBezTo>
                  <a:cubicBezTo>
                    <a:pt x="569" y="173"/>
                    <a:pt x="599" y="181"/>
                    <a:pt x="602" y="192"/>
                  </a:cubicBezTo>
                  <a:cubicBezTo>
                    <a:pt x="602" y="198"/>
                    <a:pt x="602" y="203"/>
                    <a:pt x="607" y="206"/>
                  </a:cubicBezTo>
                  <a:cubicBezTo>
                    <a:pt x="607" y="206"/>
                    <a:pt x="599" y="211"/>
                    <a:pt x="582" y="217"/>
                  </a:cubicBezTo>
                  <a:cubicBezTo>
                    <a:pt x="574" y="222"/>
                    <a:pt x="549" y="228"/>
                    <a:pt x="547" y="264"/>
                  </a:cubicBezTo>
                  <a:cubicBezTo>
                    <a:pt x="536" y="299"/>
                    <a:pt x="533" y="338"/>
                    <a:pt x="527" y="354"/>
                  </a:cubicBezTo>
                  <a:cubicBezTo>
                    <a:pt x="522" y="365"/>
                    <a:pt x="516" y="404"/>
                    <a:pt x="514" y="404"/>
                  </a:cubicBezTo>
                  <a:cubicBezTo>
                    <a:pt x="508" y="409"/>
                    <a:pt x="489" y="415"/>
                    <a:pt x="481" y="434"/>
                  </a:cubicBezTo>
                  <a:cubicBezTo>
                    <a:pt x="475" y="450"/>
                    <a:pt x="470" y="481"/>
                    <a:pt x="470" y="481"/>
                  </a:cubicBezTo>
                  <a:cubicBezTo>
                    <a:pt x="470" y="481"/>
                    <a:pt x="450" y="475"/>
                    <a:pt x="450" y="494"/>
                  </a:cubicBezTo>
                  <a:cubicBezTo>
                    <a:pt x="450" y="511"/>
                    <a:pt x="442" y="566"/>
                    <a:pt x="434" y="577"/>
                  </a:cubicBezTo>
                  <a:cubicBezTo>
                    <a:pt x="428" y="574"/>
                    <a:pt x="423" y="481"/>
                    <a:pt x="417" y="475"/>
                  </a:cubicBezTo>
                  <a:cubicBezTo>
                    <a:pt x="400" y="502"/>
                    <a:pt x="403" y="511"/>
                    <a:pt x="393" y="538"/>
                  </a:cubicBezTo>
                  <a:cubicBezTo>
                    <a:pt x="231" y="573"/>
                    <a:pt x="278" y="576"/>
                    <a:pt x="246" y="582"/>
                  </a:cubicBezTo>
                  <a:cubicBezTo>
                    <a:pt x="246" y="582"/>
                    <a:pt x="202" y="552"/>
                    <a:pt x="198" y="574"/>
                  </a:cubicBezTo>
                  <a:cubicBezTo>
                    <a:pt x="193" y="569"/>
                    <a:pt x="165" y="550"/>
                    <a:pt x="154" y="547"/>
                  </a:cubicBezTo>
                  <a:cubicBezTo>
                    <a:pt x="146" y="542"/>
                    <a:pt x="107" y="596"/>
                    <a:pt x="104" y="588"/>
                  </a:cubicBezTo>
                  <a:cubicBezTo>
                    <a:pt x="104" y="577"/>
                    <a:pt x="60" y="566"/>
                    <a:pt x="60" y="566"/>
                  </a:cubicBezTo>
                  <a:cubicBezTo>
                    <a:pt x="60" y="566"/>
                    <a:pt x="66" y="541"/>
                    <a:pt x="66" y="525"/>
                  </a:cubicBezTo>
                  <a:cubicBezTo>
                    <a:pt x="66" y="511"/>
                    <a:pt x="41" y="492"/>
                    <a:pt x="38" y="481"/>
                  </a:cubicBezTo>
                  <a:cubicBezTo>
                    <a:pt x="41" y="445"/>
                    <a:pt x="41" y="445"/>
                    <a:pt x="41" y="445"/>
                  </a:cubicBezTo>
                  <a:cubicBezTo>
                    <a:pt x="33" y="434"/>
                    <a:pt x="19" y="426"/>
                    <a:pt x="19" y="415"/>
                  </a:cubicBezTo>
                  <a:cubicBezTo>
                    <a:pt x="19" y="409"/>
                    <a:pt x="0" y="420"/>
                    <a:pt x="0" y="398"/>
                  </a:cubicBezTo>
                  <a:cubicBezTo>
                    <a:pt x="5" y="385"/>
                    <a:pt x="19" y="374"/>
                    <a:pt x="19" y="360"/>
                  </a:cubicBezTo>
                  <a:cubicBezTo>
                    <a:pt x="25" y="343"/>
                    <a:pt x="27" y="308"/>
                    <a:pt x="38" y="299"/>
                  </a:cubicBezTo>
                  <a:cubicBezTo>
                    <a:pt x="41" y="294"/>
                    <a:pt x="74" y="288"/>
                    <a:pt x="74" y="288"/>
                  </a:cubicBezTo>
                  <a:lnTo>
                    <a:pt x="74" y="137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1" name="Freeform 731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681772" y="3490390"/>
              <a:ext cx="168742" cy="234408"/>
            </a:xfrm>
            <a:custGeom>
              <a:avLst/>
              <a:gdLst>
                <a:gd name="T0" fmla="*/ 3 w 95"/>
                <a:gd name="T1" fmla="*/ 33 h 131"/>
                <a:gd name="T2" fmla="*/ 0 w 95"/>
                <a:gd name="T3" fmla="*/ 31 h 131"/>
                <a:gd name="T4" fmla="*/ 0 w 95"/>
                <a:gd name="T5" fmla="*/ 31 h 131"/>
                <a:gd name="T6" fmla="*/ 3 w 95"/>
                <a:gd name="T7" fmla="*/ 22 h 131"/>
                <a:gd name="T8" fmla="*/ 10 w 95"/>
                <a:gd name="T9" fmla="*/ 17 h 131"/>
                <a:gd name="T10" fmla="*/ 14 w 95"/>
                <a:gd name="T11" fmla="*/ 15 h 131"/>
                <a:gd name="T12" fmla="*/ 19 w 95"/>
                <a:gd name="T13" fmla="*/ 18 h 131"/>
                <a:gd name="T14" fmla="*/ 20 w 95"/>
                <a:gd name="T15" fmla="*/ 2 h 131"/>
                <a:gd name="T16" fmla="*/ 29 w 95"/>
                <a:gd name="T17" fmla="*/ 0 h 131"/>
                <a:gd name="T18" fmla="*/ 32 w 95"/>
                <a:gd name="T19" fmla="*/ 7 h 131"/>
                <a:gd name="T20" fmla="*/ 34 w 95"/>
                <a:gd name="T21" fmla="*/ 20 h 131"/>
                <a:gd name="T22" fmla="*/ 46 w 95"/>
                <a:gd name="T23" fmla="*/ 26 h 131"/>
                <a:gd name="T24" fmla="*/ 53 w 95"/>
                <a:gd name="T25" fmla="*/ 22 h 131"/>
                <a:gd name="T26" fmla="*/ 63 w 95"/>
                <a:gd name="T27" fmla="*/ 31 h 131"/>
                <a:gd name="T28" fmla="*/ 60 w 95"/>
                <a:gd name="T29" fmla="*/ 39 h 131"/>
                <a:gd name="T30" fmla="*/ 51 w 95"/>
                <a:gd name="T31" fmla="*/ 41 h 131"/>
                <a:gd name="T32" fmla="*/ 48 w 95"/>
                <a:gd name="T33" fmla="*/ 50 h 131"/>
                <a:gd name="T34" fmla="*/ 60 w 95"/>
                <a:gd name="T35" fmla="*/ 57 h 131"/>
                <a:gd name="T36" fmla="*/ 73 w 95"/>
                <a:gd name="T37" fmla="*/ 74 h 131"/>
                <a:gd name="T38" fmla="*/ 83 w 95"/>
                <a:gd name="T39" fmla="*/ 89 h 131"/>
                <a:gd name="T40" fmla="*/ 94 w 95"/>
                <a:gd name="T41" fmla="*/ 103 h 131"/>
                <a:gd name="T42" fmla="*/ 94 w 95"/>
                <a:gd name="T43" fmla="*/ 125 h 131"/>
                <a:gd name="T44" fmla="*/ 76 w 95"/>
                <a:gd name="T45" fmla="*/ 129 h 131"/>
                <a:gd name="T46" fmla="*/ 65 w 95"/>
                <a:gd name="T47" fmla="*/ 120 h 131"/>
                <a:gd name="T48" fmla="*/ 68 w 95"/>
                <a:gd name="T49" fmla="*/ 101 h 131"/>
                <a:gd name="T50" fmla="*/ 60 w 95"/>
                <a:gd name="T51" fmla="*/ 90 h 131"/>
                <a:gd name="T52" fmla="*/ 58 w 95"/>
                <a:gd name="T53" fmla="*/ 74 h 131"/>
                <a:gd name="T54" fmla="*/ 43 w 95"/>
                <a:gd name="T55" fmla="*/ 61 h 131"/>
                <a:gd name="T56" fmla="*/ 34 w 95"/>
                <a:gd name="T57" fmla="*/ 68 h 131"/>
                <a:gd name="T58" fmla="*/ 20 w 95"/>
                <a:gd name="T59" fmla="*/ 68 h 131"/>
                <a:gd name="T60" fmla="*/ 10 w 95"/>
                <a:gd name="T61" fmla="*/ 76 h 131"/>
                <a:gd name="T62" fmla="*/ 14 w 95"/>
                <a:gd name="T63" fmla="*/ 52 h 131"/>
                <a:gd name="T64" fmla="*/ 9 w 95"/>
                <a:gd name="T65" fmla="*/ 44 h 131"/>
                <a:gd name="T66" fmla="*/ 2 w 95"/>
                <a:gd name="T67" fmla="*/ 44 h 131"/>
                <a:gd name="T68" fmla="*/ 3 w 95"/>
                <a:gd name="T69" fmla="*/ 3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" h="131">
                  <a:moveTo>
                    <a:pt x="3" y="33"/>
                  </a:moveTo>
                  <a:cubicBezTo>
                    <a:pt x="2" y="33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5" y="20"/>
                    <a:pt x="9" y="18"/>
                    <a:pt x="10" y="17"/>
                  </a:cubicBezTo>
                  <a:cubicBezTo>
                    <a:pt x="12" y="15"/>
                    <a:pt x="12" y="15"/>
                    <a:pt x="14" y="15"/>
                  </a:cubicBezTo>
                  <a:cubicBezTo>
                    <a:pt x="15" y="15"/>
                    <a:pt x="17" y="18"/>
                    <a:pt x="19" y="18"/>
                  </a:cubicBezTo>
                  <a:cubicBezTo>
                    <a:pt x="20" y="17"/>
                    <a:pt x="19" y="2"/>
                    <a:pt x="20" y="2"/>
                  </a:cubicBezTo>
                  <a:cubicBezTo>
                    <a:pt x="22" y="0"/>
                    <a:pt x="26" y="0"/>
                    <a:pt x="29" y="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6" y="9"/>
                    <a:pt x="34" y="17"/>
                    <a:pt x="34" y="20"/>
                  </a:cubicBezTo>
                  <a:cubicBezTo>
                    <a:pt x="36" y="26"/>
                    <a:pt x="43" y="28"/>
                    <a:pt x="46" y="26"/>
                  </a:cubicBezTo>
                  <a:cubicBezTo>
                    <a:pt x="48" y="24"/>
                    <a:pt x="49" y="20"/>
                    <a:pt x="53" y="22"/>
                  </a:cubicBezTo>
                  <a:cubicBezTo>
                    <a:pt x="56" y="24"/>
                    <a:pt x="63" y="31"/>
                    <a:pt x="63" y="31"/>
                  </a:cubicBezTo>
                  <a:cubicBezTo>
                    <a:pt x="63" y="31"/>
                    <a:pt x="61" y="37"/>
                    <a:pt x="60" y="39"/>
                  </a:cubicBezTo>
                  <a:cubicBezTo>
                    <a:pt x="60" y="42"/>
                    <a:pt x="51" y="41"/>
                    <a:pt x="51" y="41"/>
                  </a:cubicBezTo>
                  <a:cubicBezTo>
                    <a:pt x="51" y="41"/>
                    <a:pt x="46" y="48"/>
                    <a:pt x="48" y="50"/>
                  </a:cubicBezTo>
                  <a:cubicBezTo>
                    <a:pt x="49" y="50"/>
                    <a:pt x="56" y="55"/>
                    <a:pt x="60" y="57"/>
                  </a:cubicBezTo>
                  <a:cubicBezTo>
                    <a:pt x="65" y="59"/>
                    <a:pt x="70" y="70"/>
                    <a:pt x="73" y="74"/>
                  </a:cubicBezTo>
                  <a:cubicBezTo>
                    <a:pt x="75" y="79"/>
                    <a:pt x="82" y="87"/>
                    <a:pt x="83" y="89"/>
                  </a:cubicBezTo>
                  <a:cubicBezTo>
                    <a:pt x="85" y="92"/>
                    <a:pt x="92" y="100"/>
                    <a:pt x="94" y="103"/>
                  </a:cubicBezTo>
                  <a:cubicBezTo>
                    <a:pt x="95" y="109"/>
                    <a:pt x="95" y="122"/>
                    <a:pt x="94" y="125"/>
                  </a:cubicBezTo>
                  <a:cubicBezTo>
                    <a:pt x="92" y="126"/>
                    <a:pt x="81" y="130"/>
                    <a:pt x="76" y="129"/>
                  </a:cubicBezTo>
                  <a:cubicBezTo>
                    <a:pt x="74" y="123"/>
                    <a:pt x="66" y="131"/>
                    <a:pt x="65" y="120"/>
                  </a:cubicBezTo>
                  <a:cubicBezTo>
                    <a:pt x="68" y="118"/>
                    <a:pt x="68" y="109"/>
                    <a:pt x="68" y="101"/>
                  </a:cubicBezTo>
                  <a:cubicBezTo>
                    <a:pt x="68" y="96"/>
                    <a:pt x="63" y="96"/>
                    <a:pt x="60" y="90"/>
                  </a:cubicBezTo>
                  <a:cubicBezTo>
                    <a:pt x="58" y="85"/>
                    <a:pt x="60" y="76"/>
                    <a:pt x="58" y="74"/>
                  </a:cubicBezTo>
                  <a:cubicBezTo>
                    <a:pt x="54" y="70"/>
                    <a:pt x="46" y="61"/>
                    <a:pt x="43" y="61"/>
                  </a:cubicBezTo>
                  <a:cubicBezTo>
                    <a:pt x="39" y="61"/>
                    <a:pt x="37" y="68"/>
                    <a:pt x="34" y="68"/>
                  </a:cubicBezTo>
                  <a:cubicBezTo>
                    <a:pt x="29" y="68"/>
                    <a:pt x="24" y="66"/>
                    <a:pt x="20" y="68"/>
                  </a:cubicBezTo>
                  <a:cubicBezTo>
                    <a:pt x="19" y="70"/>
                    <a:pt x="10" y="79"/>
                    <a:pt x="10" y="76"/>
                  </a:cubicBezTo>
                  <a:cubicBezTo>
                    <a:pt x="9" y="72"/>
                    <a:pt x="15" y="55"/>
                    <a:pt x="14" y="52"/>
                  </a:cubicBezTo>
                  <a:cubicBezTo>
                    <a:pt x="14" y="46"/>
                    <a:pt x="14" y="42"/>
                    <a:pt x="9" y="44"/>
                  </a:cubicBezTo>
                  <a:cubicBezTo>
                    <a:pt x="3" y="46"/>
                    <a:pt x="0" y="48"/>
                    <a:pt x="2" y="44"/>
                  </a:cubicBezTo>
                  <a:cubicBezTo>
                    <a:pt x="2" y="41"/>
                    <a:pt x="5" y="33"/>
                    <a:pt x="3" y="33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2" name="Freeform 7318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728645" y="3701357"/>
              <a:ext cx="124994" cy="107157"/>
            </a:xfrm>
            <a:custGeom>
              <a:avLst/>
              <a:gdLst>
                <a:gd name="T0" fmla="*/ 49 w 70"/>
                <a:gd name="T1" fmla="*/ 12 h 60"/>
                <a:gd name="T2" fmla="*/ 67 w 70"/>
                <a:gd name="T3" fmla="*/ 8 h 60"/>
                <a:gd name="T4" fmla="*/ 67 w 70"/>
                <a:gd name="T5" fmla="*/ 29 h 60"/>
                <a:gd name="T6" fmla="*/ 51 w 70"/>
                <a:gd name="T7" fmla="*/ 38 h 60"/>
                <a:gd name="T8" fmla="*/ 50 w 70"/>
                <a:gd name="T9" fmla="*/ 49 h 60"/>
                <a:gd name="T10" fmla="*/ 36 w 70"/>
                <a:gd name="T11" fmla="*/ 53 h 60"/>
                <a:gd name="T12" fmla="*/ 27 w 70"/>
                <a:gd name="T13" fmla="*/ 60 h 60"/>
                <a:gd name="T14" fmla="*/ 21 w 70"/>
                <a:gd name="T15" fmla="*/ 58 h 60"/>
                <a:gd name="T16" fmla="*/ 9 w 70"/>
                <a:gd name="T17" fmla="*/ 53 h 60"/>
                <a:gd name="T18" fmla="*/ 4 w 70"/>
                <a:gd name="T19" fmla="*/ 38 h 60"/>
                <a:gd name="T20" fmla="*/ 9 w 70"/>
                <a:gd name="T21" fmla="*/ 32 h 60"/>
                <a:gd name="T22" fmla="*/ 2 w 70"/>
                <a:gd name="T23" fmla="*/ 16 h 60"/>
                <a:gd name="T24" fmla="*/ 16 w 70"/>
                <a:gd name="T25" fmla="*/ 3 h 60"/>
                <a:gd name="T26" fmla="*/ 38 w 70"/>
                <a:gd name="T27" fmla="*/ 3 h 60"/>
                <a:gd name="T28" fmla="*/ 49 w 70"/>
                <a:gd name="T2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60">
                  <a:moveTo>
                    <a:pt x="49" y="12"/>
                  </a:moveTo>
                  <a:cubicBezTo>
                    <a:pt x="50" y="18"/>
                    <a:pt x="68" y="5"/>
                    <a:pt x="67" y="8"/>
                  </a:cubicBezTo>
                  <a:cubicBezTo>
                    <a:pt x="65" y="10"/>
                    <a:pt x="70" y="25"/>
                    <a:pt x="67" y="29"/>
                  </a:cubicBezTo>
                  <a:cubicBezTo>
                    <a:pt x="63" y="32"/>
                    <a:pt x="55" y="38"/>
                    <a:pt x="51" y="38"/>
                  </a:cubicBezTo>
                  <a:cubicBezTo>
                    <a:pt x="48" y="38"/>
                    <a:pt x="53" y="47"/>
                    <a:pt x="50" y="49"/>
                  </a:cubicBezTo>
                  <a:cubicBezTo>
                    <a:pt x="48" y="53"/>
                    <a:pt x="39" y="51"/>
                    <a:pt x="36" y="53"/>
                  </a:cubicBezTo>
                  <a:cubicBezTo>
                    <a:pt x="27" y="60"/>
                    <a:pt x="27" y="60"/>
                    <a:pt x="27" y="60"/>
                  </a:cubicBezTo>
                  <a:cubicBezTo>
                    <a:pt x="26" y="60"/>
                    <a:pt x="22" y="58"/>
                    <a:pt x="21" y="58"/>
                  </a:cubicBezTo>
                  <a:cubicBezTo>
                    <a:pt x="17" y="58"/>
                    <a:pt x="9" y="56"/>
                    <a:pt x="9" y="53"/>
                  </a:cubicBezTo>
                  <a:cubicBezTo>
                    <a:pt x="9" y="49"/>
                    <a:pt x="7" y="42"/>
                    <a:pt x="4" y="38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0" y="18"/>
                    <a:pt x="2" y="16"/>
                  </a:cubicBezTo>
                  <a:cubicBezTo>
                    <a:pt x="4" y="12"/>
                    <a:pt x="12" y="5"/>
                    <a:pt x="16" y="3"/>
                  </a:cubicBezTo>
                  <a:cubicBezTo>
                    <a:pt x="19" y="3"/>
                    <a:pt x="33" y="5"/>
                    <a:pt x="38" y="3"/>
                  </a:cubicBezTo>
                  <a:cubicBezTo>
                    <a:pt x="46" y="0"/>
                    <a:pt x="44" y="11"/>
                    <a:pt x="49" y="12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3" name="Freeform 6289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5150596" y="3232542"/>
              <a:ext cx="490601" cy="418584"/>
            </a:xfrm>
            <a:custGeom>
              <a:avLst/>
              <a:gdLst>
                <a:gd name="T0" fmla="*/ 0 w 81"/>
                <a:gd name="T1" fmla="*/ 12 h 65"/>
                <a:gd name="T2" fmla="*/ 4 w 81"/>
                <a:gd name="T3" fmla="*/ 13 h 65"/>
                <a:gd name="T4" fmla="*/ 8 w 81"/>
                <a:gd name="T5" fmla="*/ 10 h 65"/>
                <a:gd name="T6" fmla="*/ 11 w 81"/>
                <a:gd name="T7" fmla="*/ 8 h 65"/>
                <a:gd name="T8" fmla="*/ 8 w 81"/>
                <a:gd name="T9" fmla="*/ 3 h 65"/>
                <a:gd name="T10" fmla="*/ 16 w 81"/>
                <a:gd name="T11" fmla="*/ 0 h 65"/>
                <a:gd name="T12" fmla="*/ 16 w 81"/>
                <a:gd name="T13" fmla="*/ 0 h 65"/>
                <a:gd name="T14" fmla="*/ 17 w 81"/>
                <a:gd name="T15" fmla="*/ 0 h 65"/>
                <a:gd name="T16" fmla="*/ 21 w 81"/>
                <a:gd name="T17" fmla="*/ 1 h 65"/>
                <a:gd name="T18" fmla="*/ 37 w 81"/>
                <a:gd name="T19" fmla="*/ 12 h 65"/>
                <a:gd name="T20" fmla="*/ 44 w 81"/>
                <a:gd name="T21" fmla="*/ 13 h 65"/>
                <a:gd name="T22" fmla="*/ 47 w 81"/>
                <a:gd name="T23" fmla="*/ 14 h 65"/>
                <a:gd name="T24" fmla="*/ 49 w 81"/>
                <a:gd name="T25" fmla="*/ 16 h 65"/>
                <a:gd name="T26" fmla="*/ 52 w 81"/>
                <a:gd name="T27" fmla="*/ 15 h 65"/>
                <a:gd name="T28" fmla="*/ 52 w 81"/>
                <a:gd name="T29" fmla="*/ 17 h 65"/>
                <a:gd name="T30" fmla="*/ 58 w 81"/>
                <a:gd name="T31" fmla="*/ 23 h 65"/>
                <a:gd name="T32" fmla="*/ 59 w 81"/>
                <a:gd name="T33" fmla="*/ 26 h 65"/>
                <a:gd name="T34" fmla="*/ 60 w 81"/>
                <a:gd name="T35" fmla="*/ 31 h 65"/>
                <a:gd name="T36" fmla="*/ 63 w 81"/>
                <a:gd name="T37" fmla="*/ 32 h 65"/>
                <a:gd name="T38" fmla="*/ 67 w 81"/>
                <a:gd name="T39" fmla="*/ 34 h 65"/>
                <a:gd name="T40" fmla="*/ 67 w 81"/>
                <a:gd name="T41" fmla="*/ 34 h 65"/>
                <a:gd name="T42" fmla="*/ 68 w 81"/>
                <a:gd name="T43" fmla="*/ 38 h 65"/>
                <a:gd name="T44" fmla="*/ 78 w 81"/>
                <a:gd name="T45" fmla="*/ 39 h 65"/>
                <a:gd name="T46" fmla="*/ 81 w 81"/>
                <a:gd name="T47" fmla="*/ 42 h 65"/>
                <a:gd name="T48" fmla="*/ 77 w 81"/>
                <a:gd name="T49" fmla="*/ 50 h 65"/>
                <a:gd name="T50" fmla="*/ 66 w 81"/>
                <a:gd name="T51" fmla="*/ 53 h 65"/>
                <a:gd name="T52" fmla="*/ 66 w 81"/>
                <a:gd name="T53" fmla="*/ 53 h 65"/>
                <a:gd name="T54" fmla="*/ 54 w 81"/>
                <a:gd name="T55" fmla="*/ 57 h 65"/>
                <a:gd name="T56" fmla="*/ 45 w 81"/>
                <a:gd name="T57" fmla="*/ 65 h 65"/>
                <a:gd name="T58" fmla="*/ 33 w 81"/>
                <a:gd name="T59" fmla="*/ 60 h 65"/>
                <a:gd name="T60" fmla="*/ 32 w 81"/>
                <a:gd name="T61" fmla="*/ 63 h 65"/>
                <a:gd name="T62" fmla="*/ 30 w 81"/>
                <a:gd name="T63" fmla="*/ 64 h 65"/>
                <a:gd name="T64" fmla="*/ 30 w 81"/>
                <a:gd name="T65" fmla="*/ 63 h 65"/>
                <a:gd name="T66" fmla="*/ 27 w 81"/>
                <a:gd name="T67" fmla="*/ 59 h 65"/>
                <a:gd name="T68" fmla="*/ 22 w 81"/>
                <a:gd name="T69" fmla="*/ 50 h 65"/>
                <a:gd name="T70" fmla="*/ 18 w 81"/>
                <a:gd name="T71" fmla="*/ 47 h 65"/>
                <a:gd name="T72" fmla="*/ 16 w 81"/>
                <a:gd name="T73" fmla="*/ 42 h 65"/>
                <a:gd name="T74" fmla="*/ 16 w 81"/>
                <a:gd name="T75" fmla="*/ 38 h 65"/>
                <a:gd name="T76" fmla="*/ 11 w 81"/>
                <a:gd name="T77" fmla="*/ 33 h 65"/>
                <a:gd name="T78" fmla="*/ 9 w 81"/>
                <a:gd name="T79" fmla="*/ 30 h 65"/>
                <a:gd name="T80" fmla="*/ 6 w 81"/>
                <a:gd name="T81" fmla="*/ 25 h 65"/>
                <a:gd name="T82" fmla="*/ 1 w 81"/>
                <a:gd name="T83" fmla="*/ 17 h 65"/>
                <a:gd name="T84" fmla="*/ 0 w 81"/>
                <a:gd name="T85" fmla="*/ 15 h 65"/>
                <a:gd name="T86" fmla="*/ 0 w 81"/>
                <a:gd name="T87" fmla="*/ 13 h 65"/>
                <a:gd name="T88" fmla="*/ 0 w 81"/>
                <a:gd name="T89" fmla="*/ 13 h 65"/>
                <a:gd name="T90" fmla="*/ 0 w 81"/>
                <a:gd name="T91" fmla="*/ 1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65">
                  <a:moveTo>
                    <a:pt x="0" y="12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7" y="10"/>
                    <a:pt x="8" y="10"/>
                  </a:cubicBezTo>
                  <a:cubicBezTo>
                    <a:pt x="9" y="9"/>
                    <a:pt x="11" y="8"/>
                    <a:pt x="11" y="8"/>
                  </a:cubicBezTo>
                  <a:cubicBezTo>
                    <a:pt x="11" y="8"/>
                    <a:pt x="8" y="3"/>
                    <a:pt x="8" y="3"/>
                  </a:cubicBezTo>
                  <a:cubicBezTo>
                    <a:pt x="9" y="3"/>
                    <a:pt x="14" y="1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21" y="0"/>
                    <a:pt x="21" y="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3"/>
                    <a:pt x="47" y="14"/>
                    <a:pt x="47" y="14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7"/>
                  </a:cubicBezTo>
                  <a:cubicBezTo>
                    <a:pt x="54" y="19"/>
                    <a:pt x="58" y="22"/>
                    <a:pt x="58" y="23"/>
                  </a:cubicBezTo>
                  <a:cubicBezTo>
                    <a:pt x="59" y="25"/>
                    <a:pt x="59" y="25"/>
                    <a:pt x="59" y="26"/>
                  </a:cubicBezTo>
                  <a:cubicBezTo>
                    <a:pt x="59" y="27"/>
                    <a:pt x="60" y="30"/>
                    <a:pt x="60" y="31"/>
                  </a:cubicBezTo>
                  <a:cubicBezTo>
                    <a:pt x="61" y="32"/>
                    <a:pt x="62" y="31"/>
                    <a:pt x="63" y="32"/>
                  </a:cubicBezTo>
                  <a:cubicBezTo>
                    <a:pt x="64" y="32"/>
                    <a:pt x="65" y="35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4" y="57"/>
                    <a:pt x="46" y="65"/>
                    <a:pt x="45" y="65"/>
                  </a:cubicBezTo>
                  <a:cubicBezTo>
                    <a:pt x="45" y="65"/>
                    <a:pt x="34" y="59"/>
                    <a:pt x="33" y="60"/>
                  </a:cubicBezTo>
                  <a:cubicBezTo>
                    <a:pt x="32" y="60"/>
                    <a:pt x="33" y="63"/>
                    <a:pt x="32" y="63"/>
                  </a:cubicBezTo>
                  <a:cubicBezTo>
                    <a:pt x="32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29" y="61"/>
                    <a:pt x="28" y="60"/>
                    <a:pt x="27" y="59"/>
                  </a:cubicBezTo>
                  <a:cubicBezTo>
                    <a:pt x="26" y="57"/>
                    <a:pt x="23" y="51"/>
                    <a:pt x="22" y="50"/>
                  </a:cubicBezTo>
                  <a:cubicBezTo>
                    <a:pt x="20" y="49"/>
                    <a:pt x="19" y="49"/>
                    <a:pt x="18" y="47"/>
                  </a:cubicBezTo>
                  <a:cubicBezTo>
                    <a:pt x="17" y="45"/>
                    <a:pt x="16" y="44"/>
                    <a:pt x="16" y="42"/>
                  </a:cubicBezTo>
                  <a:cubicBezTo>
                    <a:pt x="16" y="40"/>
                    <a:pt x="17" y="40"/>
                    <a:pt x="16" y="38"/>
                  </a:cubicBezTo>
                  <a:cubicBezTo>
                    <a:pt x="14" y="36"/>
                    <a:pt x="12" y="33"/>
                    <a:pt x="11" y="33"/>
                  </a:cubicBezTo>
                  <a:cubicBezTo>
                    <a:pt x="10" y="32"/>
                    <a:pt x="9" y="32"/>
                    <a:pt x="9" y="30"/>
                  </a:cubicBezTo>
                  <a:cubicBezTo>
                    <a:pt x="8" y="29"/>
                    <a:pt x="8" y="27"/>
                    <a:pt x="6" y="25"/>
                  </a:cubicBezTo>
                  <a:cubicBezTo>
                    <a:pt x="5" y="23"/>
                    <a:pt x="2" y="18"/>
                    <a:pt x="1" y="17"/>
                  </a:cubicBezTo>
                  <a:cubicBezTo>
                    <a:pt x="0" y="17"/>
                    <a:pt x="0" y="17"/>
                    <a:pt x="0" y="15"/>
                  </a:cubicBezTo>
                  <a:cubicBezTo>
                    <a:pt x="0" y="14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4" name="Freeform 629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5513078" y="3393279"/>
              <a:ext cx="31249" cy="46882"/>
            </a:xfrm>
            <a:custGeom>
              <a:avLst/>
              <a:gdLst>
                <a:gd name="T0" fmla="*/ 0 w 5"/>
                <a:gd name="T1" fmla="*/ 6 h 7"/>
                <a:gd name="T2" fmla="*/ 3 w 5"/>
                <a:gd name="T3" fmla="*/ 0 h 7"/>
                <a:gd name="T4" fmla="*/ 5 w 5"/>
                <a:gd name="T5" fmla="*/ 2 h 7"/>
                <a:gd name="T6" fmla="*/ 5 w 5"/>
                <a:gd name="T7" fmla="*/ 6 h 7"/>
                <a:gd name="T8" fmla="*/ 3 w 5"/>
                <a:gd name="T9" fmla="*/ 7 h 7"/>
                <a:gd name="T10" fmla="*/ 0 w 5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6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3"/>
                    <a:pt x="5" y="6"/>
                    <a:pt x="5" y="6"/>
                  </a:cubicBezTo>
                  <a:cubicBezTo>
                    <a:pt x="5" y="6"/>
                    <a:pt x="3" y="7"/>
                    <a:pt x="3" y="7"/>
                  </a:cubicBezTo>
                  <a:cubicBezTo>
                    <a:pt x="3" y="7"/>
                    <a:pt x="1" y="7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5" name="Freeform 6291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494186" y="4484948"/>
              <a:ext cx="37498" cy="43533"/>
            </a:xfrm>
            <a:custGeom>
              <a:avLst/>
              <a:gdLst>
                <a:gd name="T0" fmla="*/ 5 w 6"/>
                <a:gd name="T1" fmla="*/ 1 h 7"/>
                <a:gd name="T2" fmla="*/ 5 w 6"/>
                <a:gd name="T3" fmla="*/ 5 h 7"/>
                <a:gd name="T4" fmla="*/ 2 w 6"/>
                <a:gd name="T5" fmla="*/ 7 h 7"/>
                <a:gd name="T6" fmla="*/ 0 w 6"/>
                <a:gd name="T7" fmla="*/ 4 h 7"/>
                <a:gd name="T8" fmla="*/ 2 w 6"/>
                <a:gd name="T9" fmla="*/ 2 h 7"/>
                <a:gd name="T10" fmla="*/ 5 w 6"/>
                <a:gd name="T1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5" y="1"/>
                  </a:moveTo>
                  <a:cubicBezTo>
                    <a:pt x="6" y="3"/>
                    <a:pt x="5" y="4"/>
                    <a:pt x="5" y="5"/>
                  </a:cubicBezTo>
                  <a:cubicBezTo>
                    <a:pt x="5" y="6"/>
                    <a:pt x="3" y="7"/>
                    <a:pt x="2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5" y="0"/>
                    <a:pt x="5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6" name="Freeform 6292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378566" y="4970506"/>
              <a:ext cx="140618" cy="197572"/>
            </a:xfrm>
            <a:custGeom>
              <a:avLst/>
              <a:gdLst>
                <a:gd name="T0" fmla="*/ 4 w 23"/>
                <a:gd name="T1" fmla="*/ 21 h 31"/>
                <a:gd name="T2" fmla="*/ 8 w 23"/>
                <a:gd name="T3" fmla="*/ 19 h 31"/>
                <a:gd name="T4" fmla="*/ 8 w 23"/>
                <a:gd name="T5" fmla="*/ 15 h 31"/>
                <a:gd name="T6" fmla="*/ 1 w 23"/>
                <a:gd name="T7" fmla="*/ 3 h 31"/>
                <a:gd name="T8" fmla="*/ 1 w 23"/>
                <a:gd name="T9" fmla="*/ 0 h 31"/>
                <a:gd name="T10" fmla="*/ 6 w 23"/>
                <a:gd name="T11" fmla="*/ 2 h 31"/>
                <a:gd name="T12" fmla="*/ 10 w 23"/>
                <a:gd name="T13" fmla="*/ 9 h 31"/>
                <a:gd name="T14" fmla="*/ 12 w 23"/>
                <a:gd name="T15" fmla="*/ 9 h 31"/>
                <a:gd name="T16" fmla="*/ 14 w 23"/>
                <a:gd name="T17" fmla="*/ 14 h 31"/>
                <a:gd name="T18" fmla="*/ 18 w 23"/>
                <a:gd name="T19" fmla="*/ 14 h 31"/>
                <a:gd name="T20" fmla="*/ 22 w 23"/>
                <a:gd name="T21" fmla="*/ 13 h 31"/>
                <a:gd name="T22" fmla="*/ 22 w 23"/>
                <a:gd name="T23" fmla="*/ 17 h 31"/>
                <a:gd name="T24" fmla="*/ 20 w 23"/>
                <a:gd name="T25" fmla="*/ 20 h 31"/>
                <a:gd name="T26" fmla="*/ 16 w 23"/>
                <a:gd name="T27" fmla="*/ 20 h 31"/>
                <a:gd name="T28" fmla="*/ 17 w 23"/>
                <a:gd name="T29" fmla="*/ 24 h 31"/>
                <a:gd name="T30" fmla="*/ 12 w 23"/>
                <a:gd name="T31" fmla="*/ 30 h 31"/>
                <a:gd name="T32" fmla="*/ 10 w 23"/>
                <a:gd name="T33" fmla="*/ 29 h 31"/>
                <a:gd name="T34" fmla="*/ 8 w 23"/>
                <a:gd name="T35" fmla="*/ 29 h 31"/>
                <a:gd name="T36" fmla="*/ 10 w 23"/>
                <a:gd name="T37" fmla="*/ 25 h 31"/>
                <a:gd name="T38" fmla="*/ 4 w 23"/>
                <a:gd name="T39" fmla="*/ 2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" h="31">
                  <a:moveTo>
                    <a:pt x="4" y="21"/>
                  </a:moveTo>
                  <a:cubicBezTo>
                    <a:pt x="4" y="20"/>
                    <a:pt x="8" y="20"/>
                    <a:pt x="8" y="19"/>
                  </a:cubicBezTo>
                  <a:cubicBezTo>
                    <a:pt x="8" y="19"/>
                    <a:pt x="9" y="15"/>
                    <a:pt x="8" y="15"/>
                  </a:cubicBezTo>
                  <a:cubicBezTo>
                    <a:pt x="8" y="14"/>
                    <a:pt x="2" y="4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7" y="4"/>
                    <a:pt x="9" y="9"/>
                    <a:pt x="10" y="9"/>
                  </a:cubicBezTo>
                  <a:cubicBezTo>
                    <a:pt x="10" y="9"/>
                    <a:pt x="12" y="8"/>
                    <a:pt x="12" y="9"/>
                  </a:cubicBezTo>
                  <a:cubicBezTo>
                    <a:pt x="13" y="10"/>
                    <a:pt x="13" y="13"/>
                    <a:pt x="14" y="14"/>
                  </a:cubicBezTo>
                  <a:cubicBezTo>
                    <a:pt x="15" y="14"/>
                    <a:pt x="17" y="15"/>
                    <a:pt x="18" y="14"/>
                  </a:cubicBezTo>
                  <a:cubicBezTo>
                    <a:pt x="19" y="14"/>
                    <a:pt x="21" y="12"/>
                    <a:pt x="22" y="13"/>
                  </a:cubicBezTo>
                  <a:cubicBezTo>
                    <a:pt x="23" y="13"/>
                    <a:pt x="23" y="16"/>
                    <a:pt x="22" y="17"/>
                  </a:cubicBezTo>
                  <a:cubicBezTo>
                    <a:pt x="22" y="18"/>
                    <a:pt x="22" y="21"/>
                    <a:pt x="20" y="20"/>
                  </a:cubicBezTo>
                  <a:cubicBezTo>
                    <a:pt x="19" y="20"/>
                    <a:pt x="17" y="19"/>
                    <a:pt x="16" y="20"/>
                  </a:cubicBezTo>
                  <a:cubicBezTo>
                    <a:pt x="15" y="22"/>
                    <a:pt x="17" y="23"/>
                    <a:pt x="17" y="24"/>
                  </a:cubicBezTo>
                  <a:cubicBezTo>
                    <a:pt x="16" y="24"/>
                    <a:pt x="14" y="29"/>
                    <a:pt x="12" y="30"/>
                  </a:cubicBezTo>
                  <a:cubicBezTo>
                    <a:pt x="11" y="31"/>
                    <a:pt x="11" y="31"/>
                    <a:pt x="10" y="29"/>
                  </a:cubicBezTo>
                  <a:cubicBezTo>
                    <a:pt x="9" y="29"/>
                    <a:pt x="8" y="29"/>
                    <a:pt x="8" y="29"/>
                  </a:cubicBezTo>
                  <a:cubicBezTo>
                    <a:pt x="8" y="28"/>
                    <a:pt x="11" y="27"/>
                    <a:pt x="10" y="25"/>
                  </a:cubicBezTo>
                  <a:cubicBezTo>
                    <a:pt x="9" y="23"/>
                    <a:pt x="5" y="23"/>
                    <a:pt x="4" y="2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7" name="Freeform 6293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228573" y="5137940"/>
              <a:ext cx="193741" cy="194223"/>
            </a:xfrm>
            <a:custGeom>
              <a:avLst/>
              <a:gdLst>
                <a:gd name="T0" fmla="*/ 6 w 32"/>
                <a:gd name="T1" fmla="*/ 28 h 30"/>
                <a:gd name="T2" fmla="*/ 1 w 32"/>
                <a:gd name="T3" fmla="*/ 27 h 30"/>
                <a:gd name="T4" fmla="*/ 8 w 32"/>
                <a:gd name="T5" fmla="*/ 17 h 30"/>
                <a:gd name="T6" fmla="*/ 10 w 32"/>
                <a:gd name="T7" fmla="*/ 17 h 30"/>
                <a:gd name="T8" fmla="*/ 18 w 32"/>
                <a:gd name="T9" fmla="*/ 11 h 30"/>
                <a:gd name="T10" fmla="*/ 19 w 32"/>
                <a:gd name="T11" fmla="*/ 7 h 30"/>
                <a:gd name="T12" fmla="*/ 22 w 32"/>
                <a:gd name="T13" fmla="*/ 5 h 30"/>
                <a:gd name="T14" fmla="*/ 23 w 32"/>
                <a:gd name="T15" fmla="*/ 1 h 30"/>
                <a:gd name="T16" fmla="*/ 26 w 32"/>
                <a:gd name="T17" fmla="*/ 1 h 30"/>
                <a:gd name="T18" fmla="*/ 27 w 32"/>
                <a:gd name="T19" fmla="*/ 5 h 30"/>
                <a:gd name="T20" fmla="*/ 30 w 32"/>
                <a:gd name="T21" fmla="*/ 3 h 30"/>
                <a:gd name="T22" fmla="*/ 31 w 32"/>
                <a:gd name="T23" fmla="*/ 7 h 30"/>
                <a:gd name="T24" fmla="*/ 25 w 32"/>
                <a:gd name="T25" fmla="*/ 13 h 30"/>
                <a:gd name="T26" fmla="*/ 27 w 32"/>
                <a:gd name="T27" fmla="*/ 17 h 30"/>
                <a:gd name="T28" fmla="*/ 20 w 32"/>
                <a:gd name="T29" fmla="*/ 18 h 30"/>
                <a:gd name="T30" fmla="*/ 16 w 32"/>
                <a:gd name="T31" fmla="*/ 26 h 30"/>
                <a:gd name="T32" fmla="*/ 11 w 32"/>
                <a:gd name="T33" fmla="*/ 30 h 30"/>
                <a:gd name="T34" fmla="*/ 6 w 32"/>
                <a:gd name="T35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0">
                  <a:moveTo>
                    <a:pt x="6" y="28"/>
                  </a:moveTo>
                  <a:cubicBezTo>
                    <a:pt x="5" y="28"/>
                    <a:pt x="1" y="28"/>
                    <a:pt x="1" y="27"/>
                  </a:cubicBezTo>
                  <a:cubicBezTo>
                    <a:pt x="0" y="24"/>
                    <a:pt x="7" y="18"/>
                    <a:pt x="8" y="17"/>
                  </a:cubicBezTo>
                  <a:cubicBezTo>
                    <a:pt x="8" y="17"/>
                    <a:pt x="9" y="17"/>
                    <a:pt x="10" y="17"/>
                  </a:cubicBezTo>
                  <a:cubicBezTo>
                    <a:pt x="11" y="17"/>
                    <a:pt x="18" y="12"/>
                    <a:pt x="18" y="11"/>
                  </a:cubicBezTo>
                  <a:cubicBezTo>
                    <a:pt x="19" y="10"/>
                    <a:pt x="19" y="7"/>
                    <a:pt x="19" y="7"/>
                  </a:cubicBezTo>
                  <a:cubicBezTo>
                    <a:pt x="20" y="6"/>
                    <a:pt x="22" y="6"/>
                    <a:pt x="22" y="5"/>
                  </a:cubicBezTo>
                  <a:cubicBezTo>
                    <a:pt x="22" y="5"/>
                    <a:pt x="22" y="1"/>
                    <a:pt x="23" y="1"/>
                  </a:cubicBezTo>
                  <a:cubicBezTo>
                    <a:pt x="23" y="1"/>
                    <a:pt x="25" y="1"/>
                    <a:pt x="26" y="1"/>
                  </a:cubicBezTo>
                  <a:cubicBezTo>
                    <a:pt x="27" y="0"/>
                    <a:pt x="25" y="5"/>
                    <a:pt x="27" y="5"/>
                  </a:cubicBezTo>
                  <a:cubicBezTo>
                    <a:pt x="28" y="5"/>
                    <a:pt x="30" y="3"/>
                    <a:pt x="30" y="3"/>
                  </a:cubicBezTo>
                  <a:cubicBezTo>
                    <a:pt x="31" y="3"/>
                    <a:pt x="31" y="6"/>
                    <a:pt x="31" y="7"/>
                  </a:cubicBezTo>
                  <a:cubicBezTo>
                    <a:pt x="32" y="8"/>
                    <a:pt x="25" y="12"/>
                    <a:pt x="25" y="13"/>
                  </a:cubicBezTo>
                  <a:cubicBezTo>
                    <a:pt x="25" y="14"/>
                    <a:pt x="28" y="16"/>
                    <a:pt x="27" y="17"/>
                  </a:cubicBezTo>
                  <a:cubicBezTo>
                    <a:pt x="26" y="18"/>
                    <a:pt x="22" y="17"/>
                    <a:pt x="20" y="18"/>
                  </a:cubicBezTo>
                  <a:cubicBezTo>
                    <a:pt x="19" y="19"/>
                    <a:pt x="18" y="25"/>
                    <a:pt x="16" y="26"/>
                  </a:cubicBezTo>
                  <a:cubicBezTo>
                    <a:pt x="15" y="28"/>
                    <a:pt x="13" y="30"/>
                    <a:pt x="11" y="30"/>
                  </a:cubicBezTo>
                  <a:cubicBezTo>
                    <a:pt x="9" y="29"/>
                    <a:pt x="6" y="28"/>
                    <a:pt x="6" y="2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8" name="Freeform 6294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153577" y="4565316"/>
              <a:ext cx="103120" cy="80368"/>
            </a:xfrm>
            <a:custGeom>
              <a:avLst/>
              <a:gdLst>
                <a:gd name="T0" fmla="*/ 9 w 17"/>
                <a:gd name="T1" fmla="*/ 4 h 12"/>
                <a:gd name="T2" fmla="*/ 17 w 17"/>
                <a:gd name="T3" fmla="*/ 10 h 12"/>
                <a:gd name="T4" fmla="*/ 14 w 17"/>
                <a:gd name="T5" fmla="*/ 12 h 12"/>
                <a:gd name="T6" fmla="*/ 5 w 17"/>
                <a:gd name="T7" fmla="*/ 7 h 12"/>
                <a:gd name="T8" fmla="*/ 2 w 17"/>
                <a:gd name="T9" fmla="*/ 0 h 12"/>
                <a:gd name="T10" fmla="*/ 9 w 17"/>
                <a:gd name="T1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2">
                  <a:moveTo>
                    <a:pt x="9" y="4"/>
                  </a:moveTo>
                  <a:cubicBezTo>
                    <a:pt x="9" y="4"/>
                    <a:pt x="15" y="9"/>
                    <a:pt x="17" y="10"/>
                  </a:cubicBezTo>
                  <a:cubicBezTo>
                    <a:pt x="17" y="11"/>
                    <a:pt x="16" y="12"/>
                    <a:pt x="14" y="12"/>
                  </a:cubicBezTo>
                  <a:cubicBezTo>
                    <a:pt x="13" y="12"/>
                    <a:pt x="7" y="8"/>
                    <a:pt x="5" y="7"/>
                  </a:cubicBezTo>
                  <a:cubicBezTo>
                    <a:pt x="3" y="5"/>
                    <a:pt x="0" y="0"/>
                    <a:pt x="2" y="0"/>
                  </a:cubicBezTo>
                  <a:cubicBezTo>
                    <a:pt x="4" y="0"/>
                    <a:pt x="7" y="3"/>
                    <a:pt x="9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49" name="Freeform 6295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956711" y="4190264"/>
              <a:ext cx="46873" cy="60276"/>
            </a:xfrm>
            <a:custGeom>
              <a:avLst/>
              <a:gdLst>
                <a:gd name="T0" fmla="*/ 2 w 8"/>
                <a:gd name="T1" fmla="*/ 0 h 9"/>
                <a:gd name="T2" fmla="*/ 6 w 8"/>
                <a:gd name="T3" fmla="*/ 5 h 9"/>
                <a:gd name="T4" fmla="*/ 8 w 8"/>
                <a:gd name="T5" fmla="*/ 7 h 9"/>
                <a:gd name="T6" fmla="*/ 6 w 8"/>
                <a:gd name="T7" fmla="*/ 9 h 9"/>
                <a:gd name="T8" fmla="*/ 2 w 8"/>
                <a:gd name="T9" fmla="*/ 6 h 9"/>
                <a:gd name="T10" fmla="*/ 1 w 8"/>
                <a:gd name="T11" fmla="*/ 2 h 9"/>
                <a:gd name="T12" fmla="*/ 2 w 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9">
                  <a:moveTo>
                    <a:pt x="2" y="0"/>
                  </a:moveTo>
                  <a:cubicBezTo>
                    <a:pt x="3" y="1"/>
                    <a:pt x="4" y="3"/>
                    <a:pt x="6" y="5"/>
                  </a:cubicBezTo>
                  <a:cubicBezTo>
                    <a:pt x="7" y="6"/>
                    <a:pt x="8" y="5"/>
                    <a:pt x="8" y="7"/>
                  </a:cubicBezTo>
                  <a:cubicBezTo>
                    <a:pt x="8" y="9"/>
                    <a:pt x="7" y="9"/>
                    <a:pt x="6" y="9"/>
                  </a:cubicBezTo>
                  <a:cubicBezTo>
                    <a:pt x="5" y="9"/>
                    <a:pt x="3" y="7"/>
                    <a:pt x="2" y="6"/>
                  </a:cubicBezTo>
                  <a:cubicBezTo>
                    <a:pt x="2" y="5"/>
                    <a:pt x="0" y="2"/>
                    <a:pt x="1" y="2"/>
                  </a:cubicBezTo>
                  <a:cubicBezTo>
                    <a:pt x="1" y="2"/>
                    <a:pt x="1" y="0"/>
                    <a:pt x="2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0" name="Freeform 6296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812968" y="4146732"/>
              <a:ext cx="87496" cy="80368"/>
            </a:xfrm>
            <a:custGeom>
              <a:avLst/>
              <a:gdLst>
                <a:gd name="T0" fmla="*/ 5 w 15"/>
                <a:gd name="T1" fmla="*/ 12 h 13"/>
                <a:gd name="T2" fmla="*/ 0 w 15"/>
                <a:gd name="T3" fmla="*/ 9 h 13"/>
                <a:gd name="T4" fmla="*/ 4 w 15"/>
                <a:gd name="T5" fmla="*/ 8 h 13"/>
                <a:gd name="T6" fmla="*/ 10 w 15"/>
                <a:gd name="T7" fmla="*/ 7 h 13"/>
                <a:gd name="T8" fmla="*/ 12 w 15"/>
                <a:gd name="T9" fmla="*/ 2 h 13"/>
                <a:gd name="T10" fmla="*/ 13 w 15"/>
                <a:gd name="T11" fmla="*/ 0 h 13"/>
                <a:gd name="T12" fmla="*/ 15 w 15"/>
                <a:gd name="T13" fmla="*/ 3 h 13"/>
                <a:gd name="T14" fmla="*/ 13 w 15"/>
                <a:gd name="T15" fmla="*/ 10 h 13"/>
                <a:gd name="T16" fmla="*/ 5 w 15"/>
                <a:gd name="T1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5" y="12"/>
                  </a:moveTo>
                  <a:cubicBezTo>
                    <a:pt x="2" y="12"/>
                    <a:pt x="0" y="10"/>
                    <a:pt x="0" y="9"/>
                  </a:cubicBezTo>
                  <a:cubicBezTo>
                    <a:pt x="1" y="8"/>
                    <a:pt x="4" y="8"/>
                    <a:pt x="4" y="8"/>
                  </a:cubicBezTo>
                  <a:cubicBezTo>
                    <a:pt x="5" y="8"/>
                    <a:pt x="10" y="7"/>
                    <a:pt x="10" y="7"/>
                  </a:cubicBezTo>
                  <a:cubicBezTo>
                    <a:pt x="10" y="7"/>
                    <a:pt x="13" y="4"/>
                    <a:pt x="12" y="2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1"/>
                    <a:pt x="15" y="3"/>
                  </a:cubicBezTo>
                  <a:cubicBezTo>
                    <a:pt x="15" y="4"/>
                    <a:pt x="15" y="9"/>
                    <a:pt x="13" y="10"/>
                  </a:cubicBezTo>
                  <a:cubicBezTo>
                    <a:pt x="11" y="10"/>
                    <a:pt x="8" y="13"/>
                    <a:pt x="5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1" name="Freeform 6297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634852" y="4126640"/>
              <a:ext cx="234364" cy="214315"/>
            </a:xfrm>
            <a:custGeom>
              <a:avLst/>
              <a:gdLst>
                <a:gd name="T0" fmla="*/ 0 w 39"/>
                <a:gd name="T1" fmla="*/ 26 h 33"/>
                <a:gd name="T2" fmla="*/ 0 w 39"/>
                <a:gd name="T3" fmla="*/ 0 h 33"/>
                <a:gd name="T4" fmla="*/ 7 w 39"/>
                <a:gd name="T5" fmla="*/ 3 h 33"/>
                <a:gd name="T6" fmla="*/ 16 w 39"/>
                <a:gd name="T7" fmla="*/ 7 h 33"/>
                <a:gd name="T8" fmla="*/ 19 w 39"/>
                <a:gd name="T9" fmla="*/ 10 h 33"/>
                <a:gd name="T10" fmla="*/ 20 w 39"/>
                <a:gd name="T11" fmla="*/ 12 h 33"/>
                <a:gd name="T12" fmla="*/ 26 w 39"/>
                <a:gd name="T13" fmla="*/ 14 h 33"/>
                <a:gd name="T14" fmla="*/ 27 w 39"/>
                <a:gd name="T15" fmla="*/ 17 h 33"/>
                <a:gd name="T16" fmla="*/ 24 w 39"/>
                <a:gd name="T17" fmla="*/ 18 h 33"/>
                <a:gd name="T18" fmla="*/ 27 w 39"/>
                <a:gd name="T19" fmla="*/ 22 h 33"/>
                <a:gd name="T20" fmla="*/ 30 w 39"/>
                <a:gd name="T21" fmla="*/ 26 h 33"/>
                <a:gd name="T22" fmla="*/ 33 w 39"/>
                <a:gd name="T23" fmla="*/ 25 h 33"/>
                <a:gd name="T24" fmla="*/ 34 w 39"/>
                <a:gd name="T25" fmla="*/ 27 h 33"/>
                <a:gd name="T26" fmla="*/ 36 w 39"/>
                <a:gd name="T27" fmla="*/ 29 h 33"/>
                <a:gd name="T28" fmla="*/ 39 w 39"/>
                <a:gd name="T29" fmla="*/ 31 h 33"/>
                <a:gd name="T30" fmla="*/ 36 w 39"/>
                <a:gd name="T31" fmla="*/ 32 h 33"/>
                <a:gd name="T32" fmla="*/ 31 w 39"/>
                <a:gd name="T33" fmla="*/ 31 h 33"/>
                <a:gd name="T34" fmla="*/ 26 w 39"/>
                <a:gd name="T35" fmla="*/ 30 h 33"/>
                <a:gd name="T36" fmla="*/ 20 w 39"/>
                <a:gd name="T37" fmla="*/ 22 h 33"/>
                <a:gd name="T38" fmla="*/ 13 w 39"/>
                <a:gd name="T39" fmla="*/ 20 h 33"/>
                <a:gd name="T40" fmla="*/ 9 w 39"/>
                <a:gd name="T41" fmla="*/ 22 h 33"/>
                <a:gd name="T42" fmla="*/ 10 w 39"/>
                <a:gd name="T43" fmla="*/ 25 h 33"/>
                <a:gd name="T44" fmla="*/ 6 w 39"/>
                <a:gd name="T45" fmla="*/ 27 h 33"/>
                <a:gd name="T46" fmla="*/ 0 w 39"/>
                <a:gd name="T47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33">
                  <a:moveTo>
                    <a:pt x="0" y="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7" y="3"/>
                  </a:cubicBezTo>
                  <a:cubicBezTo>
                    <a:pt x="9" y="4"/>
                    <a:pt x="15" y="7"/>
                    <a:pt x="16" y="7"/>
                  </a:cubicBezTo>
                  <a:cubicBezTo>
                    <a:pt x="18" y="7"/>
                    <a:pt x="19" y="9"/>
                    <a:pt x="19" y="10"/>
                  </a:cubicBezTo>
                  <a:cubicBezTo>
                    <a:pt x="19" y="11"/>
                    <a:pt x="18" y="12"/>
                    <a:pt x="20" y="12"/>
                  </a:cubicBezTo>
                  <a:cubicBezTo>
                    <a:pt x="22" y="12"/>
                    <a:pt x="25" y="13"/>
                    <a:pt x="26" y="14"/>
                  </a:cubicBezTo>
                  <a:cubicBezTo>
                    <a:pt x="27" y="16"/>
                    <a:pt x="27" y="17"/>
                    <a:pt x="27" y="17"/>
                  </a:cubicBezTo>
                  <a:cubicBezTo>
                    <a:pt x="27" y="18"/>
                    <a:pt x="24" y="17"/>
                    <a:pt x="24" y="18"/>
                  </a:cubicBezTo>
                  <a:cubicBezTo>
                    <a:pt x="24" y="19"/>
                    <a:pt x="26" y="21"/>
                    <a:pt x="27" y="22"/>
                  </a:cubicBezTo>
                  <a:cubicBezTo>
                    <a:pt x="28" y="23"/>
                    <a:pt x="29" y="26"/>
                    <a:pt x="30" y="26"/>
                  </a:cubicBezTo>
                  <a:cubicBezTo>
                    <a:pt x="31" y="26"/>
                    <a:pt x="32" y="25"/>
                    <a:pt x="33" y="25"/>
                  </a:cubicBezTo>
                  <a:cubicBezTo>
                    <a:pt x="34" y="26"/>
                    <a:pt x="33" y="27"/>
                    <a:pt x="34" y="27"/>
                  </a:cubicBezTo>
                  <a:cubicBezTo>
                    <a:pt x="35" y="28"/>
                    <a:pt x="34" y="29"/>
                    <a:pt x="36" y="29"/>
                  </a:cubicBezTo>
                  <a:cubicBezTo>
                    <a:pt x="38" y="29"/>
                    <a:pt x="39" y="30"/>
                    <a:pt x="39" y="31"/>
                  </a:cubicBezTo>
                  <a:cubicBezTo>
                    <a:pt x="39" y="32"/>
                    <a:pt x="38" y="33"/>
                    <a:pt x="36" y="32"/>
                  </a:cubicBezTo>
                  <a:cubicBezTo>
                    <a:pt x="34" y="32"/>
                    <a:pt x="33" y="31"/>
                    <a:pt x="31" y="31"/>
                  </a:cubicBezTo>
                  <a:cubicBezTo>
                    <a:pt x="29" y="31"/>
                    <a:pt x="27" y="32"/>
                    <a:pt x="26" y="30"/>
                  </a:cubicBezTo>
                  <a:cubicBezTo>
                    <a:pt x="24" y="28"/>
                    <a:pt x="22" y="23"/>
                    <a:pt x="20" y="22"/>
                  </a:cubicBezTo>
                  <a:cubicBezTo>
                    <a:pt x="19" y="21"/>
                    <a:pt x="15" y="20"/>
                    <a:pt x="13" y="20"/>
                  </a:cubicBezTo>
                  <a:cubicBezTo>
                    <a:pt x="12" y="20"/>
                    <a:pt x="10" y="22"/>
                    <a:pt x="9" y="22"/>
                  </a:cubicBezTo>
                  <a:cubicBezTo>
                    <a:pt x="9" y="23"/>
                    <a:pt x="11" y="25"/>
                    <a:pt x="10" y="25"/>
                  </a:cubicBezTo>
                  <a:cubicBezTo>
                    <a:pt x="9" y="26"/>
                    <a:pt x="7" y="27"/>
                    <a:pt x="6" y="27"/>
                  </a:cubicBezTo>
                  <a:cubicBezTo>
                    <a:pt x="4" y="26"/>
                    <a:pt x="2" y="27"/>
                    <a:pt x="0" y="2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2" name="Freeform 6298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284868" y="3048365"/>
              <a:ext cx="84371" cy="133947"/>
            </a:xfrm>
            <a:custGeom>
              <a:avLst/>
              <a:gdLst>
                <a:gd name="T0" fmla="*/ 4 w 14"/>
                <a:gd name="T1" fmla="*/ 6 h 20"/>
                <a:gd name="T2" fmla="*/ 2 w 14"/>
                <a:gd name="T3" fmla="*/ 3 h 20"/>
                <a:gd name="T4" fmla="*/ 5 w 14"/>
                <a:gd name="T5" fmla="*/ 1 h 20"/>
                <a:gd name="T6" fmla="*/ 10 w 14"/>
                <a:gd name="T7" fmla="*/ 0 h 20"/>
                <a:gd name="T8" fmla="*/ 11 w 14"/>
                <a:gd name="T9" fmla="*/ 2 h 20"/>
                <a:gd name="T10" fmla="*/ 14 w 14"/>
                <a:gd name="T11" fmla="*/ 8 h 20"/>
                <a:gd name="T12" fmla="*/ 13 w 14"/>
                <a:gd name="T13" fmla="*/ 14 h 20"/>
                <a:gd name="T14" fmla="*/ 12 w 14"/>
                <a:gd name="T15" fmla="*/ 16 h 20"/>
                <a:gd name="T16" fmla="*/ 7 w 14"/>
                <a:gd name="T17" fmla="*/ 17 h 20"/>
                <a:gd name="T18" fmla="*/ 3 w 14"/>
                <a:gd name="T19" fmla="*/ 20 h 20"/>
                <a:gd name="T20" fmla="*/ 1 w 14"/>
                <a:gd name="T21" fmla="*/ 17 h 20"/>
                <a:gd name="T22" fmla="*/ 3 w 14"/>
                <a:gd name="T23" fmla="*/ 12 h 20"/>
                <a:gd name="T24" fmla="*/ 1 w 14"/>
                <a:gd name="T25" fmla="*/ 8 h 20"/>
                <a:gd name="T26" fmla="*/ 4 w 14"/>
                <a:gd name="T27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20">
                  <a:moveTo>
                    <a:pt x="4" y="6"/>
                  </a:moveTo>
                  <a:cubicBezTo>
                    <a:pt x="3" y="6"/>
                    <a:pt x="2" y="3"/>
                    <a:pt x="2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2" y="3"/>
                    <a:pt x="14" y="6"/>
                    <a:pt x="14" y="8"/>
                  </a:cubicBezTo>
                  <a:cubicBezTo>
                    <a:pt x="14" y="9"/>
                    <a:pt x="14" y="13"/>
                    <a:pt x="13" y="14"/>
                  </a:cubicBezTo>
                  <a:cubicBezTo>
                    <a:pt x="13" y="14"/>
                    <a:pt x="13" y="16"/>
                    <a:pt x="12" y="16"/>
                  </a:cubicBezTo>
                  <a:cubicBezTo>
                    <a:pt x="11" y="16"/>
                    <a:pt x="8" y="17"/>
                    <a:pt x="7" y="17"/>
                  </a:cubicBezTo>
                  <a:cubicBezTo>
                    <a:pt x="5" y="18"/>
                    <a:pt x="4" y="20"/>
                    <a:pt x="3" y="20"/>
                  </a:cubicBezTo>
                  <a:cubicBezTo>
                    <a:pt x="2" y="19"/>
                    <a:pt x="1" y="18"/>
                    <a:pt x="1" y="17"/>
                  </a:cubicBezTo>
                  <a:cubicBezTo>
                    <a:pt x="0" y="16"/>
                    <a:pt x="3" y="13"/>
                    <a:pt x="3" y="12"/>
                  </a:cubicBezTo>
                  <a:cubicBezTo>
                    <a:pt x="3" y="12"/>
                    <a:pt x="1" y="9"/>
                    <a:pt x="1" y="8"/>
                  </a:cubicBezTo>
                  <a:cubicBezTo>
                    <a:pt x="2" y="7"/>
                    <a:pt x="4" y="7"/>
                    <a:pt x="4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3" name="Freeform 6299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247370" y="2914418"/>
              <a:ext cx="146868" cy="157388"/>
            </a:xfrm>
            <a:custGeom>
              <a:avLst/>
              <a:gdLst>
                <a:gd name="T0" fmla="*/ 0 w 24"/>
                <a:gd name="T1" fmla="*/ 15 h 24"/>
                <a:gd name="T2" fmla="*/ 1 w 24"/>
                <a:gd name="T3" fmla="*/ 13 h 24"/>
                <a:gd name="T4" fmla="*/ 5 w 24"/>
                <a:gd name="T5" fmla="*/ 11 h 24"/>
                <a:gd name="T6" fmla="*/ 8 w 24"/>
                <a:gd name="T7" fmla="*/ 7 h 24"/>
                <a:gd name="T8" fmla="*/ 13 w 24"/>
                <a:gd name="T9" fmla="*/ 7 h 24"/>
                <a:gd name="T10" fmla="*/ 14 w 24"/>
                <a:gd name="T11" fmla="*/ 5 h 24"/>
                <a:gd name="T12" fmla="*/ 18 w 24"/>
                <a:gd name="T13" fmla="*/ 4 h 24"/>
                <a:gd name="T14" fmla="*/ 21 w 24"/>
                <a:gd name="T15" fmla="*/ 0 h 24"/>
                <a:gd name="T16" fmla="*/ 23 w 24"/>
                <a:gd name="T17" fmla="*/ 0 h 24"/>
                <a:gd name="T18" fmla="*/ 24 w 24"/>
                <a:gd name="T19" fmla="*/ 4 h 24"/>
                <a:gd name="T20" fmla="*/ 23 w 24"/>
                <a:gd name="T21" fmla="*/ 4 h 24"/>
                <a:gd name="T22" fmla="*/ 20 w 24"/>
                <a:gd name="T23" fmla="*/ 8 h 24"/>
                <a:gd name="T24" fmla="*/ 21 w 24"/>
                <a:gd name="T25" fmla="*/ 10 h 24"/>
                <a:gd name="T26" fmla="*/ 17 w 24"/>
                <a:gd name="T27" fmla="*/ 13 h 24"/>
                <a:gd name="T28" fmla="*/ 13 w 24"/>
                <a:gd name="T29" fmla="*/ 16 h 24"/>
                <a:gd name="T30" fmla="*/ 14 w 24"/>
                <a:gd name="T31" fmla="*/ 18 h 24"/>
                <a:gd name="T32" fmla="*/ 16 w 24"/>
                <a:gd name="T33" fmla="*/ 21 h 24"/>
                <a:gd name="T34" fmla="*/ 11 w 24"/>
                <a:gd name="T35" fmla="*/ 22 h 24"/>
                <a:gd name="T36" fmla="*/ 8 w 24"/>
                <a:gd name="T37" fmla="*/ 24 h 24"/>
                <a:gd name="T38" fmla="*/ 2 w 24"/>
                <a:gd name="T39" fmla="*/ 23 h 24"/>
                <a:gd name="T40" fmla="*/ 4 w 24"/>
                <a:gd name="T41" fmla="*/ 20 h 24"/>
                <a:gd name="T42" fmla="*/ 3 w 24"/>
                <a:gd name="T43" fmla="*/ 16 h 24"/>
                <a:gd name="T44" fmla="*/ 0 w 24"/>
                <a:gd name="T45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4">
                  <a:moveTo>
                    <a:pt x="0" y="15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4" y="11"/>
                    <a:pt x="5" y="11"/>
                  </a:cubicBezTo>
                  <a:cubicBezTo>
                    <a:pt x="6" y="10"/>
                    <a:pt x="7" y="8"/>
                    <a:pt x="8" y="7"/>
                  </a:cubicBezTo>
                  <a:cubicBezTo>
                    <a:pt x="10" y="6"/>
                    <a:pt x="12" y="7"/>
                    <a:pt x="13" y="7"/>
                  </a:cubicBezTo>
                  <a:cubicBezTo>
                    <a:pt x="15" y="7"/>
                    <a:pt x="14" y="6"/>
                    <a:pt x="14" y="5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19" y="3"/>
                    <a:pt x="20" y="1"/>
                    <a:pt x="21" y="0"/>
                  </a:cubicBezTo>
                  <a:cubicBezTo>
                    <a:pt x="22" y="0"/>
                    <a:pt x="22" y="0"/>
                    <a:pt x="23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2" y="5"/>
                    <a:pt x="20" y="7"/>
                    <a:pt x="20" y="8"/>
                  </a:cubicBezTo>
                  <a:cubicBezTo>
                    <a:pt x="20" y="9"/>
                    <a:pt x="22" y="9"/>
                    <a:pt x="21" y="10"/>
                  </a:cubicBezTo>
                  <a:cubicBezTo>
                    <a:pt x="19" y="11"/>
                    <a:pt x="17" y="13"/>
                    <a:pt x="17" y="13"/>
                  </a:cubicBezTo>
                  <a:cubicBezTo>
                    <a:pt x="16" y="14"/>
                    <a:pt x="13" y="14"/>
                    <a:pt x="13" y="16"/>
                  </a:cubicBezTo>
                  <a:cubicBezTo>
                    <a:pt x="13" y="17"/>
                    <a:pt x="12" y="18"/>
                    <a:pt x="14" y="18"/>
                  </a:cubicBezTo>
                  <a:cubicBezTo>
                    <a:pt x="14" y="19"/>
                    <a:pt x="15" y="20"/>
                    <a:pt x="16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4" y="23"/>
                    <a:pt x="2" y="23"/>
                  </a:cubicBezTo>
                  <a:cubicBezTo>
                    <a:pt x="0" y="22"/>
                    <a:pt x="4" y="21"/>
                    <a:pt x="4" y="20"/>
                  </a:cubicBezTo>
                  <a:cubicBezTo>
                    <a:pt x="4" y="19"/>
                    <a:pt x="5" y="17"/>
                    <a:pt x="3" y="16"/>
                  </a:cubicBezTo>
                  <a:cubicBezTo>
                    <a:pt x="3" y="16"/>
                    <a:pt x="1" y="15"/>
                    <a:pt x="0" y="1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4" name="Freeform 6300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147375" y="3423417"/>
              <a:ext cx="46873" cy="87066"/>
            </a:xfrm>
            <a:custGeom>
              <a:avLst/>
              <a:gdLst>
                <a:gd name="T0" fmla="*/ 0 w 8"/>
                <a:gd name="T1" fmla="*/ 8 h 13"/>
                <a:gd name="T2" fmla="*/ 5 w 8"/>
                <a:gd name="T3" fmla="*/ 0 h 13"/>
                <a:gd name="T4" fmla="*/ 7 w 8"/>
                <a:gd name="T5" fmla="*/ 1 h 13"/>
                <a:gd name="T6" fmla="*/ 5 w 8"/>
                <a:gd name="T7" fmla="*/ 8 h 13"/>
                <a:gd name="T8" fmla="*/ 3 w 8"/>
                <a:gd name="T9" fmla="*/ 13 h 13"/>
                <a:gd name="T10" fmla="*/ 0 w 8"/>
                <a:gd name="T1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cubicBezTo>
                    <a:pt x="0" y="7"/>
                    <a:pt x="3" y="1"/>
                    <a:pt x="5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6" y="7"/>
                    <a:pt x="5" y="8"/>
                  </a:cubicBezTo>
                  <a:cubicBezTo>
                    <a:pt x="4" y="9"/>
                    <a:pt x="4" y="13"/>
                    <a:pt x="3" y="13"/>
                  </a:cubicBezTo>
                  <a:cubicBezTo>
                    <a:pt x="2" y="13"/>
                    <a:pt x="1" y="9"/>
                    <a:pt x="0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5" name="Freeform 6301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719223" y="5144637"/>
              <a:ext cx="93746" cy="90414"/>
            </a:xfrm>
            <a:custGeom>
              <a:avLst/>
              <a:gdLst>
                <a:gd name="T0" fmla="*/ 0 w 15"/>
                <a:gd name="T1" fmla="*/ 3 h 14"/>
                <a:gd name="T2" fmla="*/ 0 w 15"/>
                <a:gd name="T3" fmla="*/ 0 h 14"/>
                <a:gd name="T4" fmla="*/ 3 w 15"/>
                <a:gd name="T5" fmla="*/ 1 h 14"/>
                <a:gd name="T6" fmla="*/ 8 w 15"/>
                <a:gd name="T7" fmla="*/ 2 h 14"/>
                <a:gd name="T8" fmla="*/ 13 w 15"/>
                <a:gd name="T9" fmla="*/ 0 h 14"/>
                <a:gd name="T10" fmla="*/ 15 w 15"/>
                <a:gd name="T11" fmla="*/ 1 h 14"/>
                <a:gd name="T12" fmla="*/ 15 w 15"/>
                <a:gd name="T13" fmla="*/ 7 h 14"/>
                <a:gd name="T14" fmla="*/ 13 w 15"/>
                <a:gd name="T15" fmla="*/ 9 h 14"/>
                <a:gd name="T16" fmla="*/ 13 w 15"/>
                <a:gd name="T17" fmla="*/ 11 h 14"/>
                <a:gd name="T18" fmla="*/ 11 w 15"/>
                <a:gd name="T19" fmla="*/ 11 h 14"/>
                <a:gd name="T20" fmla="*/ 9 w 15"/>
                <a:gd name="T21" fmla="*/ 14 h 14"/>
                <a:gd name="T22" fmla="*/ 5 w 15"/>
                <a:gd name="T23" fmla="*/ 13 h 14"/>
                <a:gd name="T24" fmla="*/ 2 w 15"/>
                <a:gd name="T25" fmla="*/ 8 h 14"/>
                <a:gd name="T26" fmla="*/ 3 w 15"/>
                <a:gd name="T27" fmla="*/ 6 h 14"/>
                <a:gd name="T28" fmla="*/ 0 w 15"/>
                <a:gd name="T2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14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" y="1"/>
                    <a:pt x="6" y="2"/>
                    <a:pt x="8" y="2"/>
                  </a:cubicBezTo>
                  <a:cubicBezTo>
                    <a:pt x="9" y="2"/>
                    <a:pt x="12" y="0"/>
                    <a:pt x="13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5" y="6"/>
                    <a:pt x="15" y="7"/>
                  </a:cubicBezTo>
                  <a:cubicBezTo>
                    <a:pt x="14" y="7"/>
                    <a:pt x="13" y="8"/>
                    <a:pt x="13" y="9"/>
                  </a:cubicBezTo>
                  <a:cubicBezTo>
                    <a:pt x="13" y="10"/>
                    <a:pt x="13" y="11"/>
                    <a:pt x="13" y="11"/>
                  </a:cubicBezTo>
                  <a:cubicBezTo>
                    <a:pt x="12" y="12"/>
                    <a:pt x="11" y="11"/>
                    <a:pt x="11" y="11"/>
                  </a:cubicBezTo>
                  <a:cubicBezTo>
                    <a:pt x="10" y="12"/>
                    <a:pt x="10" y="14"/>
                    <a:pt x="9" y="14"/>
                  </a:cubicBezTo>
                  <a:cubicBezTo>
                    <a:pt x="8" y="14"/>
                    <a:pt x="6" y="13"/>
                    <a:pt x="5" y="13"/>
                  </a:cubicBezTo>
                  <a:cubicBezTo>
                    <a:pt x="4" y="12"/>
                    <a:pt x="2" y="9"/>
                    <a:pt x="2" y="8"/>
                  </a:cubicBezTo>
                  <a:cubicBezTo>
                    <a:pt x="2" y="7"/>
                    <a:pt x="4" y="7"/>
                    <a:pt x="3" y="6"/>
                  </a:cubicBezTo>
                  <a:cubicBezTo>
                    <a:pt x="2" y="5"/>
                    <a:pt x="1" y="4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6" name="Freeform 630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988008" y="4327560"/>
              <a:ext cx="943705" cy="770196"/>
            </a:xfrm>
            <a:custGeom>
              <a:avLst/>
              <a:gdLst>
                <a:gd name="T0" fmla="*/ 9 w 156"/>
                <a:gd name="T1" fmla="*/ 99 h 119"/>
                <a:gd name="T2" fmla="*/ 7 w 156"/>
                <a:gd name="T3" fmla="*/ 94 h 119"/>
                <a:gd name="T4" fmla="*/ 10 w 156"/>
                <a:gd name="T5" fmla="*/ 91 h 119"/>
                <a:gd name="T6" fmla="*/ 7 w 156"/>
                <a:gd name="T7" fmla="*/ 80 h 119"/>
                <a:gd name="T8" fmla="*/ 0 w 156"/>
                <a:gd name="T9" fmla="*/ 65 h 119"/>
                <a:gd name="T10" fmla="*/ 0 w 156"/>
                <a:gd name="T11" fmla="*/ 55 h 119"/>
                <a:gd name="T12" fmla="*/ 3 w 156"/>
                <a:gd name="T13" fmla="*/ 46 h 119"/>
                <a:gd name="T14" fmla="*/ 14 w 156"/>
                <a:gd name="T15" fmla="*/ 40 h 119"/>
                <a:gd name="T16" fmla="*/ 30 w 156"/>
                <a:gd name="T17" fmla="*/ 37 h 119"/>
                <a:gd name="T18" fmla="*/ 35 w 156"/>
                <a:gd name="T19" fmla="*/ 26 h 119"/>
                <a:gd name="T20" fmla="*/ 41 w 156"/>
                <a:gd name="T21" fmla="*/ 28 h 119"/>
                <a:gd name="T22" fmla="*/ 48 w 156"/>
                <a:gd name="T23" fmla="*/ 16 h 119"/>
                <a:gd name="T24" fmla="*/ 60 w 156"/>
                <a:gd name="T25" fmla="*/ 18 h 119"/>
                <a:gd name="T26" fmla="*/ 63 w 156"/>
                <a:gd name="T27" fmla="*/ 14 h 119"/>
                <a:gd name="T28" fmla="*/ 70 w 156"/>
                <a:gd name="T29" fmla="*/ 7 h 119"/>
                <a:gd name="T30" fmla="*/ 76 w 156"/>
                <a:gd name="T31" fmla="*/ 3 h 119"/>
                <a:gd name="T32" fmla="*/ 89 w 156"/>
                <a:gd name="T33" fmla="*/ 5 h 119"/>
                <a:gd name="T34" fmla="*/ 89 w 156"/>
                <a:gd name="T35" fmla="*/ 13 h 119"/>
                <a:gd name="T36" fmla="*/ 92 w 156"/>
                <a:gd name="T37" fmla="*/ 22 h 119"/>
                <a:gd name="T38" fmla="*/ 100 w 156"/>
                <a:gd name="T39" fmla="*/ 24 h 119"/>
                <a:gd name="T40" fmla="*/ 106 w 156"/>
                <a:gd name="T41" fmla="*/ 29 h 119"/>
                <a:gd name="T42" fmla="*/ 109 w 156"/>
                <a:gd name="T43" fmla="*/ 15 h 119"/>
                <a:gd name="T44" fmla="*/ 110 w 156"/>
                <a:gd name="T45" fmla="*/ 8 h 119"/>
                <a:gd name="T46" fmla="*/ 112 w 156"/>
                <a:gd name="T47" fmla="*/ 0 h 119"/>
                <a:gd name="T48" fmla="*/ 115 w 156"/>
                <a:gd name="T49" fmla="*/ 6 h 119"/>
                <a:gd name="T50" fmla="*/ 118 w 156"/>
                <a:gd name="T51" fmla="*/ 16 h 119"/>
                <a:gd name="T52" fmla="*/ 124 w 156"/>
                <a:gd name="T53" fmla="*/ 18 h 119"/>
                <a:gd name="T54" fmla="*/ 127 w 156"/>
                <a:gd name="T55" fmla="*/ 27 h 119"/>
                <a:gd name="T56" fmla="*/ 129 w 156"/>
                <a:gd name="T57" fmla="*/ 35 h 119"/>
                <a:gd name="T58" fmla="*/ 138 w 156"/>
                <a:gd name="T59" fmla="*/ 42 h 119"/>
                <a:gd name="T60" fmla="*/ 143 w 156"/>
                <a:gd name="T61" fmla="*/ 46 h 119"/>
                <a:gd name="T62" fmla="*/ 145 w 156"/>
                <a:gd name="T63" fmla="*/ 53 h 119"/>
                <a:gd name="T64" fmla="*/ 151 w 156"/>
                <a:gd name="T65" fmla="*/ 59 h 119"/>
                <a:gd name="T66" fmla="*/ 154 w 156"/>
                <a:gd name="T67" fmla="*/ 67 h 119"/>
                <a:gd name="T68" fmla="*/ 155 w 156"/>
                <a:gd name="T69" fmla="*/ 78 h 119"/>
                <a:gd name="T70" fmla="*/ 150 w 156"/>
                <a:gd name="T71" fmla="*/ 91 h 119"/>
                <a:gd name="T72" fmla="*/ 144 w 156"/>
                <a:gd name="T73" fmla="*/ 104 h 119"/>
                <a:gd name="T74" fmla="*/ 140 w 156"/>
                <a:gd name="T75" fmla="*/ 114 h 119"/>
                <a:gd name="T76" fmla="*/ 128 w 156"/>
                <a:gd name="T77" fmla="*/ 119 h 119"/>
                <a:gd name="T78" fmla="*/ 121 w 156"/>
                <a:gd name="T79" fmla="*/ 116 h 119"/>
                <a:gd name="T80" fmla="*/ 111 w 156"/>
                <a:gd name="T81" fmla="*/ 116 h 119"/>
                <a:gd name="T82" fmla="*/ 102 w 156"/>
                <a:gd name="T83" fmla="*/ 110 h 119"/>
                <a:gd name="T84" fmla="*/ 98 w 156"/>
                <a:gd name="T85" fmla="*/ 103 h 119"/>
                <a:gd name="T86" fmla="*/ 97 w 156"/>
                <a:gd name="T87" fmla="*/ 99 h 119"/>
                <a:gd name="T88" fmla="*/ 94 w 156"/>
                <a:gd name="T89" fmla="*/ 102 h 119"/>
                <a:gd name="T90" fmla="*/ 92 w 156"/>
                <a:gd name="T91" fmla="*/ 100 h 119"/>
                <a:gd name="T92" fmla="*/ 96 w 156"/>
                <a:gd name="T93" fmla="*/ 95 h 119"/>
                <a:gd name="T94" fmla="*/ 93 w 156"/>
                <a:gd name="T95" fmla="*/ 94 h 119"/>
                <a:gd name="T96" fmla="*/ 86 w 156"/>
                <a:gd name="T97" fmla="*/ 101 h 119"/>
                <a:gd name="T98" fmla="*/ 80 w 156"/>
                <a:gd name="T99" fmla="*/ 92 h 119"/>
                <a:gd name="T100" fmla="*/ 77 w 156"/>
                <a:gd name="T101" fmla="*/ 89 h 119"/>
                <a:gd name="T102" fmla="*/ 69 w 156"/>
                <a:gd name="T103" fmla="*/ 86 h 119"/>
                <a:gd name="T104" fmla="*/ 55 w 156"/>
                <a:gd name="T105" fmla="*/ 90 h 119"/>
                <a:gd name="T106" fmla="*/ 42 w 156"/>
                <a:gd name="T107" fmla="*/ 92 h 119"/>
                <a:gd name="T108" fmla="*/ 34 w 156"/>
                <a:gd name="T109" fmla="*/ 97 h 119"/>
                <a:gd name="T110" fmla="*/ 21 w 156"/>
                <a:gd name="T111" fmla="*/ 100 h 119"/>
                <a:gd name="T112" fmla="*/ 11 w 156"/>
                <a:gd name="T113" fmla="*/ 10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6" h="119">
                  <a:moveTo>
                    <a:pt x="11" y="100"/>
                  </a:moveTo>
                  <a:cubicBezTo>
                    <a:pt x="10" y="100"/>
                    <a:pt x="9" y="99"/>
                    <a:pt x="9" y="99"/>
                  </a:cubicBezTo>
                  <a:cubicBezTo>
                    <a:pt x="8" y="99"/>
                    <a:pt x="8" y="99"/>
                    <a:pt x="7" y="98"/>
                  </a:cubicBezTo>
                  <a:cubicBezTo>
                    <a:pt x="6" y="98"/>
                    <a:pt x="7" y="95"/>
                    <a:pt x="7" y="94"/>
                  </a:cubicBezTo>
                  <a:cubicBezTo>
                    <a:pt x="7" y="93"/>
                    <a:pt x="9" y="95"/>
                    <a:pt x="9" y="95"/>
                  </a:cubicBezTo>
                  <a:cubicBezTo>
                    <a:pt x="9" y="94"/>
                    <a:pt x="10" y="92"/>
                    <a:pt x="10" y="91"/>
                  </a:cubicBezTo>
                  <a:cubicBezTo>
                    <a:pt x="10" y="90"/>
                    <a:pt x="10" y="89"/>
                    <a:pt x="10" y="89"/>
                  </a:cubicBezTo>
                  <a:cubicBezTo>
                    <a:pt x="9" y="85"/>
                    <a:pt x="7" y="83"/>
                    <a:pt x="7" y="80"/>
                  </a:cubicBezTo>
                  <a:cubicBezTo>
                    <a:pt x="6" y="77"/>
                    <a:pt x="6" y="74"/>
                    <a:pt x="5" y="72"/>
                  </a:cubicBezTo>
                  <a:cubicBezTo>
                    <a:pt x="3" y="70"/>
                    <a:pt x="1" y="66"/>
                    <a:pt x="0" y="65"/>
                  </a:cubicBezTo>
                  <a:cubicBezTo>
                    <a:pt x="0" y="64"/>
                    <a:pt x="4" y="64"/>
                    <a:pt x="4" y="62"/>
                  </a:cubicBezTo>
                  <a:cubicBezTo>
                    <a:pt x="3" y="60"/>
                    <a:pt x="0" y="56"/>
                    <a:pt x="0" y="55"/>
                  </a:cubicBezTo>
                  <a:cubicBezTo>
                    <a:pt x="0" y="54"/>
                    <a:pt x="3" y="53"/>
                    <a:pt x="3" y="51"/>
                  </a:cubicBezTo>
                  <a:cubicBezTo>
                    <a:pt x="2" y="49"/>
                    <a:pt x="3" y="46"/>
                    <a:pt x="3" y="46"/>
                  </a:cubicBezTo>
                  <a:cubicBezTo>
                    <a:pt x="4" y="45"/>
                    <a:pt x="9" y="44"/>
                    <a:pt x="10" y="42"/>
                  </a:cubicBezTo>
                  <a:cubicBezTo>
                    <a:pt x="11" y="41"/>
                    <a:pt x="13" y="40"/>
                    <a:pt x="14" y="40"/>
                  </a:cubicBezTo>
                  <a:cubicBezTo>
                    <a:pt x="15" y="40"/>
                    <a:pt x="17" y="41"/>
                    <a:pt x="19" y="40"/>
                  </a:cubicBezTo>
                  <a:cubicBezTo>
                    <a:pt x="21" y="40"/>
                    <a:pt x="29" y="38"/>
                    <a:pt x="30" y="37"/>
                  </a:cubicBezTo>
                  <a:cubicBezTo>
                    <a:pt x="30" y="36"/>
                    <a:pt x="34" y="31"/>
                    <a:pt x="34" y="30"/>
                  </a:cubicBezTo>
                  <a:cubicBezTo>
                    <a:pt x="34" y="29"/>
                    <a:pt x="34" y="27"/>
                    <a:pt x="35" y="26"/>
                  </a:cubicBezTo>
                  <a:cubicBezTo>
                    <a:pt x="35" y="26"/>
                    <a:pt x="37" y="24"/>
                    <a:pt x="38" y="23"/>
                  </a:cubicBezTo>
                  <a:cubicBezTo>
                    <a:pt x="39" y="23"/>
                    <a:pt x="41" y="28"/>
                    <a:pt x="41" y="28"/>
                  </a:cubicBezTo>
                  <a:cubicBezTo>
                    <a:pt x="41" y="28"/>
                    <a:pt x="42" y="22"/>
                    <a:pt x="43" y="21"/>
                  </a:cubicBezTo>
                  <a:cubicBezTo>
                    <a:pt x="44" y="19"/>
                    <a:pt x="47" y="16"/>
                    <a:pt x="48" y="16"/>
                  </a:cubicBezTo>
                  <a:cubicBezTo>
                    <a:pt x="49" y="15"/>
                    <a:pt x="53" y="14"/>
                    <a:pt x="54" y="14"/>
                  </a:cubicBezTo>
                  <a:cubicBezTo>
                    <a:pt x="54" y="14"/>
                    <a:pt x="59" y="18"/>
                    <a:pt x="60" y="18"/>
                  </a:cubicBezTo>
                  <a:cubicBezTo>
                    <a:pt x="61" y="19"/>
                    <a:pt x="63" y="19"/>
                    <a:pt x="64" y="18"/>
                  </a:cubicBezTo>
                  <a:cubicBezTo>
                    <a:pt x="64" y="18"/>
                    <a:pt x="63" y="15"/>
                    <a:pt x="63" y="14"/>
                  </a:cubicBezTo>
                  <a:cubicBezTo>
                    <a:pt x="63" y="14"/>
                    <a:pt x="66" y="9"/>
                    <a:pt x="67" y="9"/>
                  </a:cubicBezTo>
                  <a:cubicBezTo>
                    <a:pt x="68" y="8"/>
                    <a:pt x="69" y="7"/>
                    <a:pt x="70" y="7"/>
                  </a:cubicBezTo>
                  <a:cubicBezTo>
                    <a:pt x="70" y="7"/>
                    <a:pt x="73" y="8"/>
                    <a:pt x="74" y="7"/>
                  </a:cubicBezTo>
                  <a:cubicBezTo>
                    <a:pt x="75" y="7"/>
                    <a:pt x="75" y="3"/>
                    <a:pt x="76" y="3"/>
                  </a:cubicBezTo>
                  <a:cubicBezTo>
                    <a:pt x="77" y="3"/>
                    <a:pt x="80" y="5"/>
                    <a:pt x="81" y="6"/>
                  </a:cubicBezTo>
                  <a:cubicBezTo>
                    <a:pt x="84" y="7"/>
                    <a:pt x="88" y="5"/>
                    <a:pt x="89" y="5"/>
                  </a:cubicBezTo>
                  <a:cubicBezTo>
                    <a:pt x="90" y="5"/>
                    <a:pt x="91" y="7"/>
                    <a:pt x="92" y="8"/>
                  </a:cubicBezTo>
                  <a:cubicBezTo>
                    <a:pt x="93" y="8"/>
                    <a:pt x="89" y="12"/>
                    <a:pt x="89" y="13"/>
                  </a:cubicBezTo>
                  <a:cubicBezTo>
                    <a:pt x="88" y="14"/>
                    <a:pt x="86" y="18"/>
                    <a:pt x="86" y="18"/>
                  </a:cubicBezTo>
                  <a:cubicBezTo>
                    <a:pt x="86" y="18"/>
                    <a:pt x="91" y="21"/>
                    <a:pt x="92" y="22"/>
                  </a:cubicBezTo>
                  <a:cubicBezTo>
                    <a:pt x="93" y="23"/>
                    <a:pt x="95" y="24"/>
                    <a:pt x="96" y="24"/>
                  </a:cubicBezTo>
                  <a:cubicBezTo>
                    <a:pt x="97" y="25"/>
                    <a:pt x="100" y="24"/>
                    <a:pt x="100" y="24"/>
                  </a:cubicBezTo>
                  <a:cubicBezTo>
                    <a:pt x="101" y="25"/>
                    <a:pt x="100" y="27"/>
                    <a:pt x="101" y="27"/>
                  </a:cubicBezTo>
                  <a:cubicBezTo>
                    <a:pt x="101" y="28"/>
                    <a:pt x="104" y="30"/>
                    <a:pt x="106" y="29"/>
                  </a:cubicBezTo>
                  <a:cubicBezTo>
                    <a:pt x="107" y="28"/>
                    <a:pt x="109" y="23"/>
                    <a:pt x="109" y="21"/>
                  </a:cubicBezTo>
                  <a:cubicBezTo>
                    <a:pt x="109" y="20"/>
                    <a:pt x="109" y="16"/>
                    <a:pt x="109" y="15"/>
                  </a:cubicBezTo>
                  <a:cubicBezTo>
                    <a:pt x="109" y="14"/>
                    <a:pt x="110" y="11"/>
                    <a:pt x="110" y="10"/>
                  </a:cubicBezTo>
                  <a:cubicBezTo>
                    <a:pt x="111" y="9"/>
                    <a:pt x="109" y="8"/>
                    <a:pt x="110" y="8"/>
                  </a:cubicBezTo>
                  <a:cubicBezTo>
                    <a:pt x="110" y="7"/>
                    <a:pt x="111" y="5"/>
                    <a:pt x="111" y="5"/>
                  </a:cubicBezTo>
                  <a:cubicBezTo>
                    <a:pt x="111" y="3"/>
                    <a:pt x="111" y="1"/>
                    <a:pt x="112" y="0"/>
                  </a:cubicBezTo>
                  <a:cubicBezTo>
                    <a:pt x="112" y="0"/>
                    <a:pt x="114" y="2"/>
                    <a:pt x="114" y="2"/>
                  </a:cubicBezTo>
                  <a:cubicBezTo>
                    <a:pt x="114" y="2"/>
                    <a:pt x="115" y="5"/>
                    <a:pt x="115" y="6"/>
                  </a:cubicBezTo>
                  <a:cubicBezTo>
                    <a:pt x="115" y="7"/>
                    <a:pt x="117" y="11"/>
                    <a:pt x="117" y="12"/>
                  </a:cubicBezTo>
                  <a:cubicBezTo>
                    <a:pt x="117" y="13"/>
                    <a:pt x="117" y="16"/>
                    <a:pt x="118" y="16"/>
                  </a:cubicBezTo>
                  <a:cubicBezTo>
                    <a:pt x="119" y="16"/>
                    <a:pt x="120" y="15"/>
                    <a:pt x="121" y="15"/>
                  </a:cubicBezTo>
                  <a:cubicBezTo>
                    <a:pt x="122" y="16"/>
                    <a:pt x="124" y="18"/>
                    <a:pt x="124" y="18"/>
                  </a:cubicBezTo>
                  <a:cubicBezTo>
                    <a:pt x="125" y="19"/>
                    <a:pt x="124" y="21"/>
                    <a:pt x="124" y="23"/>
                  </a:cubicBezTo>
                  <a:cubicBezTo>
                    <a:pt x="125" y="24"/>
                    <a:pt x="126" y="26"/>
                    <a:pt x="127" y="27"/>
                  </a:cubicBezTo>
                  <a:cubicBezTo>
                    <a:pt x="127" y="28"/>
                    <a:pt x="127" y="30"/>
                    <a:pt x="127" y="31"/>
                  </a:cubicBezTo>
                  <a:cubicBezTo>
                    <a:pt x="127" y="32"/>
                    <a:pt x="128" y="34"/>
                    <a:pt x="129" y="35"/>
                  </a:cubicBezTo>
                  <a:cubicBezTo>
                    <a:pt x="131" y="36"/>
                    <a:pt x="137" y="38"/>
                    <a:pt x="138" y="39"/>
                  </a:cubicBezTo>
                  <a:cubicBezTo>
                    <a:pt x="138" y="40"/>
                    <a:pt x="138" y="41"/>
                    <a:pt x="138" y="42"/>
                  </a:cubicBezTo>
                  <a:cubicBezTo>
                    <a:pt x="139" y="43"/>
                    <a:pt x="140" y="48"/>
                    <a:pt x="141" y="48"/>
                  </a:cubicBezTo>
                  <a:cubicBezTo>
                    <a:pt x="141" y="48"/>
                    <a:pt x="142" y="46"/>
                    <a:pt x="143" y="46"/>
                  </a:cubicBezTo>
                  <a:cubicBezTo>
                    <a:pt x="144" y="47"/>
                    <a:pt x="145" y="48"/>
                    <a:pt x="145" y="49"/>
                  </a:cubicBezTo>
                  <a:cubicBezTo>
                    <a:pt x="145" y="49"/>
                    <a:pt x="145" y="52"/>
                    <a:pt x="145" y="53"/>
                  </a:cubicBezTo>
                  <a:cubicBezTo>
                    <a:pt x="146" y="53"/>
                    <a:pt x="148" y="54"/>
                    <a:pt x="149" y="55"/>
                  </a:cubicBezTo>
                  <a:cubicBezTo>
                    <a:pt x="150" y="56"/>
                    <a:pt x="151" y="58"/>
                    <a:pt x="151" y="59"/>
                  </a:cubicBezTo>
                  <a:cubicBezTo>
                    <a:pt x="152" y="59"/>
                    <a:pt x="154" y="59"/>
                    <a:pt x="154" y="59"/>
                  </a:cubicBezTo>
                  <a:cubicBezTo>
                    <a:pt x="154" y="60"/>
                    <a:pt x="154" y="65"/>
                    <a:pt x="154" y="67"/>
                  </a:cubicBezTo>
                  <a:cubicBezTo>
                    <a:pt x="155" y="68"/>
                    <a:pt x="156" y="72"/>
                    <a:pt x="156" y="73"/>
                  </a:cubicBezTo>
                  <a:cubicBezTo>
                    <a:pt x="156" y="74"/>
                    <a:pt x="155" y="77"/>
                    <a:pt x="155" y="78"/>
                  </a:cubicBezTo>
                  <a:cubicBezTo>
                    <a:pt x="154" y="80"/>
                    <a:pt x="154" y="86"/>
                    <a:pt x="153" y="87"/>
                  </a:cubicBezTo>
                  <a:cubicBezTo>
                    <a:pt x="153" y="88"/>
                    <a:pt x="151" y="91"/>
                    <a:pt x="150" y="91"/>
                  </a:cubicBezTo>
                  <a:cubicBezTo>
                    <a:pt x="149" y="92"/>
                    <a:pt x="147" y="95"/>
                    <a:pt x="146" y="97"/>
                  </a:cubicBezTo>
                  <a:cubicBezTo>
                    <a:pt x="146" y="98"/>
                    <a:pt x="144" y="102"/>
                    <a:pt x="144" y="104"/>
                  </a:cubicBezTo>
                  <a:cubicBezTo>
                    <a:pt x="143" y="105"/>
                    <a:pt x="142" y="112"/>
                    <a:pt x="142" y="112"/>
                  </a:cubicBezTo>
                  <a:cubicBezTo>
                    <a:pt x="142" y="113"/>
                    <a:pt x="140" y="114"/>
                    <a:pt x="140" y="114"/>
                  </a:cubicBezTo>
                  <a:cubicBezTo>
                    <a:pt x="139" y="114"/>
                    <a:pt x="135" y="113"/>
                    <a:pt x="133" y="114"/>
                  </a:cubicBezTo>
                  <a:cubicBezTo>
                    <a:pt x="132" y="115"/>
                    <a:pt x="129" y="119"/>
                    <a:pt x="128" y="119"/>
                  </a:cubicBezTo>
                  <a:cubicBezTo>
                    <a:pt x="127" y="119"/>
                    <a:pt x="125" y="118"/>
                    <a:pt x="125" y="117"/>
                  </a:cubicBezTo>
                  <a:cubicBezTo>
                    <a:pt x="124" y="116"/>
                    <a:pt x="122" y="115"/>
                    <a:pt x="121" y="116"/>
                  </a:cubicBezTo>
                  <a:cubicBezTo>
                    <a:pt x="119" y="116"/>
                    <a:pt x="118" y="118"/>
                    <a:pt x="117" y="118"/>
                  </a:cubicBezTo>
                  <a:cubicBezTo>
                    <a:pt x="116" y="118"/>
                    <a:pt x="112" y="115"/>
                    <a:pt x="111" y="116"/>
                  </a:cubicBezTo>
                  <a:cubicBezTo>
                    <a:pt x="109" y="116"/>
                    <a:pt x="108" y="116"/>
                    <a:pt x="107" y="116"/>
                  </a:cubicBezTo>
                  <a:cubicBezTo>
                    <a:pt x="106" y="115"/>
                    <a:pt x="102" y="111"/>
                    <a:pt x="102" y="110"/>
                  </a:cubicBezTo>
                  <a:cubicBezTo>
                    <a:pt x="102" y="109"/>
                    <a:pt x="104" y="108"/>
                    <a:pt x="102" y="107"/>
                  </a:cubicBezTo>
                  <a:cubicBezTo>
                    <a:pt x="101" y="105"/>
                    <a:pt x="99" y="103"/>
                    <a:pt x="98" y="103"/>
                  </a:cubicBezTo>
                  <a:cubicBezTo>
                    <a:pt x="97" y="103"/>
                    <a:pt x="97" y="102"/>
                    <a:pt x="98" y="102"/>
                  </a:cubicBezTo>
                  <a:cubicBezTo>
                    <a:pt x="98" y="101"/>
                    <a:pt x="98" y="100"/>
                    <a:pt x="97" y="99"/>
                  </a:cubicBezTo>
                  <a:cubicBezTo>
                    <a:pt x="97" y="98"/>
                    <a:pt x="96" y="98"/>
                    <a:pt x="96" y="98"/>
                  </a:cubicBezTo>
                  <a:cubicBezTo>
                    <a:pt x="95" y="99"/>
                    <a:pt x="95" y="102"/>
                    <a:pt x="94" y="102"/>
                  </a:cubicBezTo>
                  <a:cubicBezTo>
                    <a:pt x="94" y="102"/>
                    <a:pt x="92" y="102"/>
                    <a:pt x="91" y="102"/>
                  </a:cubicBezTo>
                  <a:cubicBezTo>
                    <a:pt x="91" y="102"/>
                    <a:pt x="92" y="100"/>
                    <a:pt x="92" y="100"/>
                  </a:cubicBezTo>
                  <a:cubicBezTo>
                    <a:pt x="92" y="99"/>
                    <a:pt x="94" y="96"/>
                    <a:pt x="94" y="96"/>
                  </a:cubicBezTo>
                  <a:cubicBezTo>
                    <a:pt x="95" y="95"/>
                    <a:pt x="95" y="95"/>
                    <a:pt x="96" y="95"/>
                  </a:cubicBezTo>
                  <a:cubicBezTo>
                    <a:pt x="96" y="94"/>
                    <a:pt x="95" y="89"/>
                    <a:pt x="95" y="89"/>
                  </a:cubicBezTo>
                  <a:cubicBezTo>
                    <a:pt x="95" y="89"/>
                    <a:pt x="93" y="94"/>
                    <a:pt x="93" y="94"/>
                  </a:cubicBezTo>
                  <a:cubicBezTo>
                    <a:pt x="92" y="94"/>
                    <a:pt x="89" y="97"/>
                    <a:pt x="89" y="97"/>
                  </a:cubicBezTo>
                  <a:cubicBezTo>
                    <a:pt x="88" y="98"/>
                    <a:pt x="87" y="101"/>
                    <a:pt x="86" y="101"/>
                  </a:cubicBezTo>
                  <a:cubicBezTo>
                    <a:pt x="86" y="101"/>
                    <a:pt x="85" y="95"/>
                    <a:pt x="83" y="94"/>
                  </a:cubicBezTo>
                  <a:cubicBezTo>
                    <a:pt x="82" y="93"/>
                    <a:pt x="81" y="93"/>
                    <a:pt x="80" y="92"/>
                  </a:cubicBezTo>
                  <a:cubicBezTo>
                    <a:pt x="80" y="91"/>
                    <a:pt x="81" y="90"/>
                    <a:pt x="80" y="90"/>
                  </a:cubicBezTo>
                  <a:cubicBezTo>
                    <a:pt x="80" y="89"/>
                    <a:pt x="78" y="89"/>
                    <a:pt x="77" y="89"/>
                  </a:cubicBezTo>
                  <a:cubicBezTo>
                    <a:pt x="76" y="89"/>
                    <a:pt x="74" y="89"/>
                    <a:pt x="73" y="88"/>
                  </a:cubicBezTo>
                  <a:cubicBezTo>
                    <a:pt x="72" y="88"/>
                    <a:pt x="70" y="86"/>
                    <a:pt x="69" y="86"/>
                  </a:cubicBezTo>
                  <a:cubicBezTo>
                    <a:pt x="67" y="86"/>
                    <a:pt x="63" y="86"/>
                    <a:pt x="61" y="87"/>
                  </a:cubicBezTo>
                  <a:cubicBezTo>
                    <a:pt x="60" y="87"/>
                    <a:pt x="56" y="90"/>
                    <a:pt x="55" y="90"/>
                  </a:cubicBezTo>
                  <a:cubicBezTo>
                    <a:pt x="54" y="90"/>
                    <a:pt x="51" y="89"/>
                    <a:pt x="50" y="90"/>
                  </a:cubicBezTo>
                  <a:cubicBezTo>
                    <a:pt x="48" y="90"/>
                    <a:pt x="43" y="92"/>
                    <a:pt x="42" y="92"/>
                  </a:cubicBezTo>
                  <a:cubicBezTo>
                    <a:pt x="42" y="93"/>
                    <a:pt x="41" y="96"/>
                    <a:pt x="39" y="96"/>
                  </a:cubicBezTo>
                  <a:cubicBezTo>
                    <a:pt x="39" y="97"/>
                    <a:pt x="35" y="97"/>
                    <a:pt x="34" y="97"/>
                  </a:cubicBezTo>
                  <a:cubicBezTo>
                    <a:pt x="32" y="96"/>
                    <a:pt x="27" y="96"/>
                    <a:pt x="26" y="96"/>
                  </a:cubicBezTo>
                  <a:cubicBezTo>
                    <a:pt x="25" y="97"/>
                    <a:pt x="22" y="99"/>
                    <a:pt x="21" y="100"/>
                  </a:cubicBezTo>
                  <a:cubicBezTo>
                    <a:pt x="19" y="101"/>
                    <a:pt x="18" y="102"/>
                    <a:pt x="16" y="102"/>
                  </a:cubicBezTo>
                  <a:cubicBezTo>
                    <a:pt x="13" y="101"/>
                    <a:pt x="11" y="101"/>
                    <a:pt x="11" y="10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7" name="Freeform 630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7247370" y="3741541"/>
              <a:ext cx="37498" cy="66974"/>
            </a:xfrm>
            <a:custGeom>
              <a:avLst/>
              <a:gdLst>
                <a:gd name="T0" fmla="*/ 1 w 6"/>
                <a:gd name="T1" fmla="*/ 9 h 10"/>
                <a:gd name="T2" fmla="*/ 0 w 6"/>
                <a:gd name="T3" fmla="*/ 8 h 10"/>
                <a:gd name="T4" fmla="*/ 0 w 6"/>
                <a:gd name="T5" fmla="*/ 6 h 10"/>
                <a:gd name="T6" fmla="*/ 1 w 6"/>
                <a:gd name="T7" fmla="*/ 4 h 10"/>
                <a:gd name="T8" fmla="*/ 0 w 6"/>
                <a:gd name="T9" fmla="*/ 1 h 10"/>
                <a:gd name="T10" fmla="*/ 2 w 6"/>
                <a:gd name="T11" fmla="*/ 1 h 10"/>
                <a:gd name="T12" fmla="*/ 4 w 6"/>
                <a:gd name="T13" fmla="*/ 1 h 10"/>
                <a:gd name="T14" fmla="*/ 5 w 6"/>
                <a:gd name="T15" fmla="*/ 3 h 10"/>
                <a:gd name="T16" fmla="*/ 6 w 6"/>
                <a:gd name="T17" fmla="*/ 7 h 10"/>
                <a:gd name="T18" fmla="*/ 3 w 6"/>
                <a:gd name="T19" fmla="*/ 6 h 10"/>
                <a:gd name="T20" fmla="*/ 3 w 6"/>
                <a:gd name="T21" fmla="*/ 8 h 10"/>
                <a:gd name="T22" fmla="*/ 1 w 6"/>
                <a:gd name="T2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10">
                  <a:moveTo>
                    <a:pt x="1" y="9"/>
                  </a:moveTo>
                  <a:cubicBezTo>
                    <a:pt x="1" y="9"/>
                    <a:pt x="0" y="8"/>
                    <a:pt x="0" y="8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4"/>
                    <a:pt x="6" y="6"/>
                    <a:pt x="6" y="7"/>
                  </a:cubicBezTo>
                  <a:cubicBezTo>
                    <a:pt x="6" y="7"/>
                    <a:pt x="4" y="6"/>
                    <a:pt x="3" y="6"/>
                  </a:cubicBezTo>
                  <a:cubicBezTo>
                    <a:pt x="3" y="6"/>
                    <a:pt x="3" y="8"/>
                    <a:pt x="3" y="8"/>
                  </a:cubicBezTo>
                  <a:cubicBezTo>
                    <a:pt x="3" y="9"/>
                    <a:pt x="2" y="10"/>
                    <a:pt x="1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8" name="Freeform 630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7206747" y="3781725"/>
              <a:ext cx="28124" cy="53579"/>
            </a:xfrm>
            <a:custGeom>
              <a:avLst/>
              <a:gdLst>
                <a:gd name="T0" fmla="*/ 0 w 5"/>
                <a:gd name="T1" fmla="*/ 6 h 8"/>
                <a:gd name="T2" fmla="*/ 0 w 5"/>
                <a:gd name="T3" fmla="*/ 5 h 8"/>
                <a:gd name="T4" fmla="*/ 1 w 5"/>
                <a:gd name="T5" fmla="*/ 2 h 8"/>
                <a:gd name="T6" fmla="*/ 3 w 5"/>
                <a:gd name="T7" fmla="*/ 1 h 8"/>
                <a:gd name="T8" fmla="*/ 5 w 5"/>
                <a:gd name="T9" fmla="*/ 1 h 8"/>
                <a:gd name="T10" fmla="*/ 4 w 5"/>
                <a:gd name="T11" fmla="*/ 5 h 8"/>
                <a:gd name="T12" fmla="*/ 3 w 5"/>
                <a:gd name="T13" fmla="*/ 7 h 8"/>
                <a:gd name="T14" fmla="*/ 2 w 5"/>
                <a:gd name="T15" fmla="*/ 8 h 8"/>
                <a:gd name="T16" fmla="*/ 0 w 5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8">
                  <a:moveTo>
                    <a:pt x="0" y="6"/>
                  </a:moveTo>
                  <a:cubicBezTo>
                    <a:pt x="0" y="6"/>
                    <a:pt x="0" y="5"/>
                    <a:pt x="0" y="5"/>
                  </a:cubicBezTo>
                  <a:cubicBezTo>
                    <a:pt x="1" y="4"/>
                    <a:pt x="1" y="2"/>
                    <a:pt x="1" y="2"/>
                  </a:cubicBezTo>
                  <a:cubicBezTo>
                    <a:pt x="1" y="1"/>
                    <a:pt x="3" y="1"/>
                    <a:pt x="3" y="1"/>
                  </a:cubicBezTo>
                  <a:cubicBezTo>
                    <a:pt x="4" y="1"/>
                    <a:pt x="5" y="0"/>
                    <a:pt x="5" y="1"/>
                  </a:cubicBezTo>
                  <a:cubicBezTo>
                    <a:pt x="5" y="2"/>
                    <a:pt x="4" y="4"/>
                    <a:pt x="4" y="5"/>
                  </a:cubicBezTo>
                  <a:cubicBezTo>
                    <a:pt x="4" y="6"/>
                    <a:pt x="3" y="7"/>
                    <a:pt x="3" y="7"/>
                  </a:cubicBezTo>
                  <a:cubicBezTo>
                    <a:pt x="4" y="7"/>
                    <a:pt x="2" y="8"/>
                    <a:pt x="2" y="8"/>
                  </a:cubicBezTo>
                  <a:cubicBezTo>
                    <a:pt x="2" y="8"/>
                    <a:pt x="0" y="7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9" name="Freeform 6305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7194248" y="3805166"/>
              <a:ext cx="109370" cy="120553"/>
            </a:xfrm>
            <a:custGeom>
              <a:avLst/>
              <a:gdLst>
                <a:gd name="T0" fmla="*/ 0 w 18"/>
                <a:gd name="T1" fmla="*/ 14 h 19"/>
                <a:gd name="T2" fmla="*/ 0 w 18"/>
                <a:gd name="T3" fmla="*/ 11 h 19"/>
                <a:gd name="T4" fmla="*/ 2 w 18"/>
                <a:gd name="T5" fmla="*/ 9 h 19"/>
                <a:gd name="T6" fmla="*/ 6 w 18"/>
                <a:gd name="T7" fmla="*/ 7 h 19"/>
                <a:gd name="T8" fmla="*/ 8 w 18"/>
                <a:gd name="T9" fmla="*/ 9 h 19"/>
                <a:gd name="T10" fmla="*/ 11 w 18"/>
                <a:gd name="T11" fmla="*/ 7 h 19"/>
                <a:gd name="T12" fmla="*/ 13 w 18"/>
                <a:gd name="T13" fmla="*/ 5 h 19"/>
                <a:gd name="T14" fmla="*/ 14 w 18"/>
                <a:gd name="T15" fmla="*/ 1 h 19"/>
                <a:gd name="T16" fmla="*/ 16 w 18"/>
                <a:gd name="T17" fmla="*/ 3 h 19"/>
                <a:gd name="T18" fmla="*/ 17 w 18"/>
                <a:gd name="T19" fmla="*/ 8 h 19"/>
                <a:gd name="T20" fmla="*/ 17 w 18"/>
                <a:gd name="T21" fmla="*/ 13 h 19"/>
                <a:gd name="T22" fmla="*/ 16 w 18"/>
                <a:gd name="T23" fmla="*/ 14 h 19"/>
                <a:gd name="T24" fmla="*/ 14 w 18"/>
                <a:gd name="T25" fmla="*/ 12 h 19"/>
                <a:gd name="T26" fmla="*/ 13 w 18"/>
                <a:gd name="T27" fmla="*/ 15 h 19"/>
                <a:gd name="T28" fmla="*/ 14 w 18"/>
                <a:gd name="T29" fmla="*/ 17 h 19"/>
                <a:gd name="T30" fmla="*/ 12 w 18"/>
                <a:gd name="T31" fmla="*/ 19 h 19"/>
                <a:gd name="T32" fmla="*/ 8 w 18"/>
                <a:gd name="T33" fmla="*/ 16 h 19"/>
                <a:gd name="T34" fmla="*/ 8 w 18"/>
                <a:gd name="T35" fmla="*/ 13 h 19"/>
                <a:gd name="T36" fmla="*/ 6 w 18"/>
                <a:gd name="T37" fmla="*/ 11 h 19"/>
                <a:gd name="T38" fmla="*/ 4 w 18"/>
                <a:gd name="T39" fmla="*/ 12 h 19"/>
                <a:gd name="T40" fmla="*/ 2 w 18"/>
                <a:gd name="T41" fmla="*/ 12 h 19"/>
                <a:gd name="T42" fmla="*/ 0 w 18"/>
                <a:gd name="T43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9">
                  <a:moveTo>
                    <a:pt x="0" y="14"/>
                  </a:moveTo>
                  <a:cubicBezTo>
                    <a:pt x="0" y="13"/>
                    <a:pt x="0" y="11"/>
                    <a:pt x="0" y="11"/>
                  </a:cubicBezTo>
                  <a:cubicBezTo>
                    <a:pt x="1" y="10"/>
                    <a:pt x="1" y="9"/>
                    <a:pt x="2" y="9"/>
                  </a:cubicBezTo>
                  <a:cubicBezTo>
                    <a:pt x="3" y="9"/>
                    <a:pt x="5" y="7"/>
                    <a:pt x="6" y="7"/>
                  </a:cubicBezTo>
                  <a:cubicBezTo>
                    <a:pt x="7" y="7"/>
                    <a:pt x="7" y="9"/>
                    <a:pt x="8" y="9"/>
                  </a:cubicBezTo>
                  <a:cubicBezTo>
                    <a:pt x="9" y="9"/>
                    <a:pt x="10" y="7"/>
                    <a:pt x="11" y="7"/>
                  </a:cubicBezTo>
                  <a:cubicBezTo>
                    <a:pt x="11" y="6"/>
                    <a:pt x="13" y="6"/>
                    <a:pt x="13" y="5"/>
                  </a:cubicBezTo>
                  <a:cubicBezTo>
                    <a:pt x="13" y="5"/>
                    <a:pt x="13" y="2"/>
                    <a:pt x="14" y="1"/>
                  </a:cubicBezTo>
                  <a:cubicBezTo>
                    <a:pt x="14" y="0"/>
                    <a:pt x="15" y="2"/>
                    <a:pt x="16" y="3"/>
                  </a:cubicBezTo>
                  <a:cubicBezTo>
                    <a:pt x="16" y="4"/>
                    <a:pt x="17" y="7"/>
                    <a:pt x="17" y="8"/>
                  </a:cubicBezTo>
                  <a:cubicBezTo>
                    <a:pt x="17" y="10"/>
                    <a:pt x="18" y="12"/>
                    <a:pt x="17" y="13"/>
                  </a:cubicBezTo>
                  <a:cubicBezTo>
                    <a:pt x="17" y="13"/>
                    <a:pt x="17" y="15"/>
                    <a:pt x="16" y="14"/>
                  </a:cubicBezTo>
                  <a:cubicBezTo>
                    <a:pt x="15" y="14"/>
                    <a:pt x="14" y="12"/>
                    <a:pt x="14" y="12"/>
                  </a:cubicBezTo>
                  <a:cubicBezTo>
                    <a:pt x="13" y="13"/>
                    <a:pt x="13" y="15"/>
                    <a:pt x="13" y="15"/>
                  </a:cubicBezTo>
                  <a:cubicBezTo>
                    <a:pt x="13" y="15"/>
                    <a:pt x="14" y="17"/>
                    <a:pt x="14" y="17"/>
                  </a:cubicBezTo>
                  <a:cubicBezTo>
                    <a:pt x="14" y="18"/>
                    <a:pt x="13" y="19"/>
                    <a:pt x="12" y="19"/>
                  </a:cubicBezTo>
                  <a:cubicBezTo>
                    <a:pt x="12" y="19"/>
                    <a:pt x="8" y="17"/>
                    <a:pt x="8" y="16"/>
                  </a:cubicBezTo>
                  <a:cubicBezTo>
                    <a:pt x="8" y="15"/>
                    <a:pt x="8" y="13"/>
                    <a:pt x="8" y="13"/>
                  </a:cubicBezTo>
                  <a:cubicBezTo>
                    <a:pt x="8" y="12"/>
                    <a:pt x="6" y="11"/>
                    <a:pt x="6" y="11"/>
                  </a:cubicBezTo>
                  <a:cubicBezTo>
                    <a:pt x="5" y="11"/>
                    <a:pt x="4" y="12"/>
                    <a:pt x="4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2" y="13"/>
                    <a:pt x="1" y="14"/>
                    <a:pt x="0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0" name="Freeform 6306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7187998" y="3751588"/>
              <a:ext cx="37498" cy="53579"/>
            </a:xfrm>
            <a:custGeom>
              <a:avLst/>
              <a:gdLst>
                <a:gd name="T0" fmla="*/ 1 w 6"/>
                <a:gd name="T1" fmla="*/ 6 h 8"/>
                <a:gd name="T2" fmla="*/ 1 w 6"/>
                <a:gd name="T3" fmla="*/ 0 h 8"/>
                <a:gd name="T4" fmla="*/ 3 w 6"/>
                <a:gd name="T5" fmla="*/ 1 h 8"/>
                <a:gd name="T6" fmla="*/ 6 w 6"/>
                <a:gd name="T7" fmla="*/ 1 h 8"/>
                <a:gd name="T8" fmla="*/ 6 w 6"/>
                <a:gd name="T9" fmla="*/ 3 h 8"/>
                <a:gd name="T10" fmla="*/ 4 w 6"/>
                <a:gd name="T11" fmla="*/ 4 h 8"/>
                <a:gd name="T12" fmla="*/ 1 w 6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1" y="6"/>
                  </a:moveTo>
                  <a:cubicBezTo>
                    <a:pt x="1" y="5"/>
                    <a:pt x="0" y="1"/>
                    <a:pt x="1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3"/>
                    <a:pt x="6" y="3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4" y="4"/>
                    <a:pt x="0" y="8"/>
                    <a:pt x="1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1" name="Freeform 6307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7147375" y="3594200"/>
              <a:ext cx="99995" cy="147341"/>
            </a:xfrm>
            <a:custGeom>
              <a:avLst/>
              <a:gdLst>
                <a:gd name="T0" fmla="*/ 0 w 17"/>
                <a:gd name="T1" fmla="*/ 10 h 23"/>
                <a:gd name="T2" fmla="*/ 2 w 17"/>
                <a:gd name="T3" fmla="*/ 9 h 23"/>
                <a:gd name="T4" fmla="*/ 2 w 17"/>
                <a:gd name="T5" fmla="*/ 4 h 23"/>
                <a:gd name="T6" fmla="*/ 3 w 17"/>
                <a:gd name="T7" fmla="*/ 1 h 23"/>
                <a:gd name="T8" fmla="*/ 6 w 17"/>
                <a:gd name="T9" fmla="*/ 1 h 23"/>
                <a:gd name="T10" fmla="*/ 9 w 17"/>
                <a:gd name="T11" fmla="*/ 1 h 23"/>
                <a:gd name="T12" fmla="*/ 10 w 17"/>
                <a:gd name="T13" fmla="*/ 7 h 23"/>
                <a:gd name="T14" fmla="*/ 6 w 17"/>
                <a:gd name="T15" fmla="*/ 10 h 23"/>
                <a:gd name="T16" fmla="*/ 6 w 17"/>
                <a:gd name="T17" fmla="*/ 15 h 23"/>
                <a:gd name="T18" fmla="*/ 8 w 17"/>
                <a:gd name="T19" fmla="*/ 17 h 23"/>
                <a:gd name="T20" fmla="*/ 11 w 17"/>
                <a:gd name="T21" fmla="*/ 16 h 23"/>
                <a:gd name="T22" fmla="*/ 16 w 17"/>
                <a:gd name="T23" fmla="*/ 18 h 23"/>
                <a:gd name="T24" fmla="*/ 16 w 17"/>
                <a:gd name="T25" fmla="*/ 20 h 23"/>
                <a:gd name="T26" fmla="*/ 15 w 17"/>
                <a:gd name="T27" fmla="*/ 22 h 23"/>
                <a:gd name="T28" fmla="*/ 10 w 17"/>
                <a:gd name="T29" fmla="*/ 19 h 23"/>
                <a:gd name="T30" fmla="*/ 6 w 17"/>
                <a:gd name="T31" fmla="*/ 20 h 23"/>
                <a:gd name="T32" fmla="*/ 2 w 17"/>
                <a:gd name="T33" fmla="*/ 19 h 23"/>
                <a:gd name="T34" fmla="*/ 3 w 17"/>
                <a:gd name="T35" fmla="*/ 15 h 23"/>
                <a:gd name="T36" fmla="*/ 1 w 17"/>
                <a:gd name="T37" fmla="*/ 15 h 23"/>
                <a:gd name="T38" fmla="*/ 0 w 17"/>
                <a:gd name="T3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" h="23">
                  <a:moveTo>
                    <a:pt x="0" y="10"/>
                  </a:moveTo>
                  <a:cubicBezTo>
                    <a:pt x="0" y="8"/>
                    <a:pt x="2" y="10"/>
                    <a:pt x="2" y="9"/>
                  </a:cubicBezTo>
                  <a:cubicBezTo>
                    <a:pt x="2" y="8"/>
                    <a:pt x="2" y="5"/>
                    <a:pt x="2" y="4"/>
                  </a:cubicBezTo>
                  <a:cubicBezTo>
                    <a:pt x="2" y="3"/>
                    <a:pt x="2" y="1"/>
                    <a:pt x="3" y="1"/>
                  </a:cubicBezTo>
                  <a:cubicBezTo>
                    <a:pt x="3" y="0"/>
                    <a:pt x="6" y="1"/>
                    <a:pt x="6" y="1"/>
                  </a:cubicBezTo>
                  <a:cubicBezTo>
                    <a:pt x="7" y="1"/>
                    <a:pt x="9" y="0"/>
                    <a:pt x="9" y="1"/>
                  </a:cubicBezTo>
                  <a:cubicBezTo>
                    <a:pt x="9" y="1"/>
                    <a:pt x="10" y="7"/>
                    <a:pt x="10" y="7"/>
                  </a:cubicBezTo>
                  <a:cubicBezTo>
                    <a:pt x="9" y="8"/>
                    <a:pt x="7" y="9"/>
                    <a:pt x="6" y="10"/>
                  </a:cubicBezTo>
                  <a:cubicBezTo>
                    <a:pt x="6" y="11"/>
                    <a:pt x="6" y="14"/>
                    <a:pt x="6" y="15"/>
                  </a:cubicBezTo>
                  <a:cubicBezTo>
                    <a:pt x="6" y="16"/>
                    <a:pt x="8" y="17"/>
                    <a:pt x="8" y="17"/>
                  </a:cubicBezTo>
                  <a:cubicBezTo>
                    <a:pt x="9" y="17"/>
                    <a:pt x="11" y="16"/>
                    <a:pt x="11" y="16"/>
                  </a:cubicBezTo>
                  <a:cubicBezTo>
                    <a:pt x="12" y="17"/>
                    <a:pt x="16" y="18"/>
                    <a:pt x="16" y="18"/>
                  </a:cubicBezTo>
                  <a:cubicBezTo>
                    <a:pt x="17" y="19"/>
                    <a:pt x="16" y="20"/>
                    <a:pt x="16" y="20"/>
                  </a:cubicBezTo>
                  <a:cubicBezTo>
                    <a:pt x="16" y="21"/>
                    <a:pt x="16" y="23"/>
                    <a:pt x="15" y="22"/>
                  </a:cubicBezTo>
                  <a:cubicBezTo>
                    <a:pt x="14" y="22"/>
                    <a:pt x="11" y="19"/>
                    <a:pt x="10" y="19"/>
                  </a:cubicBezTo>
                  <a:cubicBezTo>
                    <a:pt x="10" y="20"/>
                    <a:pt x="7" y="20"/>
                    <a:pt x="6" y="20"/>
                  </a:cubicBezTo>
                  <a:cubicBezTo>
                    <a:pt x="4" y="20"/>
                    <a:pt x="2" y="19"/>
                    <a:pt x="2" y="19"/>
                  </a:cubicBezTo>
                  <a:cubicBezTo>
                    <a:pt x="2" y="18"/>
                    <a:pt x="5" y="16"/>
                    <a:pt x="3" y="15"/>
                  </a:cubicBezTo>
                  <a:cubicBezTo>
                    <a:pt x="2" y="14"/>
                    <a:pt x="1" y="16"/>
                    <a:pt x="1" y="15"/>
                  </a:cubicBezTo>
                  <a:cubicBezTo>
                    <a:pt x="0" y="14"/>
                    <a:pt x="0" y="12"/>
                    <a:pt x="0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2" name="Freeform 630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147375" y="3731495"/>
              <a:ext cx="28124" cy="40184"/>
            </a:xfrm>
            <a:custGeom>
              <a:avLst/>
              <a:gdLst>
                <a:gd name="T0" fmla="*/ 1 w 5"/>
                <a:gd name="T1" fmla="*/ 1 h 6"/>
                <a:gd name="T2" fmla="*/ 5 w 5"/>
                <a:gd name="T3" fmla="*/ 2 h 6"/>
                <a:gd name="T4" fmla="*/ 4 w 5"/>
                <a:gd name="T5" fmla="*/ 6 h 6"/>
                <a:gd name="T6" fmla="*/ 1 w 5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1" y="1"/>
                  </a:moveTo>
                  <a:cubicBezTo>
                    <a:pt x="2" y="0"/>
                    <a:pt x="5" y="2"/>
                    <a:pt x="5" y="2"/>
                  </a:cubicBezTo>
                  <a:cubicBezTo>
                    <a:pt x="4" y="2"/>
                    <a:pt x="5" y="5"/>
                    <a:pt x="4" y="6"/>
                  </a:cubicBezTo>
                  <a:cubicBezTo>
                    <a:pt x="4" y="6"/>
                    <a:pt x="0" y="2"/>
                    <a:pt x="1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3" name="Freeform 630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075503" y="3775028"/>
              <a:ext cx="71872" cy="87066"/>
            </a:xfrm>
            <a:custGeom>
              <a:avLst/>
              <a:gdLst>
                <a:gd name="T0" fmla="*/ 4 w 12"/>
                <a:gd name="T1" fmla="*/ 11 h 13"/>
                <a:gd name="T2" fmla="*/ 1 w 12"/>
                <a:gd name="T3" fmla="*/ 13 h 13"/>
                <a:gd name="T4" fmla="*/ 3 w 12"/>
                <a:gd name="T5" fmla="*/ 8 h 13"/>
                <a:gd name="T6" fmla="*/ 7 w 12"/>
                <a:gd name="T7" fmla="*/ 5 h 13"/>
                <a:gd name="T8" fmla="*/ 9 w 12"/>
                <a:gd name="T9" fmla="*/ 2 h 13"/>
                <a:gd name="T10" fmla="*/ 10 w 12"/>
                <a:gd name="T11" fmla="*/ 0 h 13"/>
                <a:gd name="T12" fmla="*/ 12 w 12"/>
                <a:gd name="T13" fmla="*/ 1 h 13"/>
                <a:gd name="T14" fmla="*/ 12 w 12"/>
                <a:gd name="T15" fmla="*/ 5 h 13"/>
                <a:gd name="T16" fmla="*/ 8 w 12"/>
                <a:gd name="T17" fmla="*/ 8 h 13"/>
                <a:gd name="T18" fmla="*/ 4 w 12"/>
                <a:gd name="T1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3">
                  <a:moveTo>
                    <a:pt x="4" y="11"/>
                  </a:moveTo>
                  <a:cubicBezTo>
                    <a:pt x="4" y="12"/>
                    <a:pt x="2" y="13"/>
                    <a:pt x="1" y="13"/>
                  </a:cubicBezTo>
                  <a:cubicBezTo>
                    <a:pt x="0" y="12"/>
                    <a:pt x="2" y="9"/>
                    <a:pt x="3" y="8"/>
                  </a:cubicBezTo>
                  <a:cubicBezTo>
                    <a:pt x="5" y="8"/>
                    <a:pt x="5" y="6"/>
                    <a:pt x="7" y="5"/>
                  </a:cubicBezTo>
                  <a:cubicBezTo>
                    <a:pt x="8" y="4"/>
                    <a:pt x="9" y="3"/>
                    <a:pt x="9" y="2"/>
                  </a:cubicBezTo>
                  <a:cubicBezTo>
                    <a:pt x="9" y="2"/>
                    <a:pt x="9" y="0"/>
                    <a:pt x="10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2"/>
                    <a:pt x="12" y="4"/>
                    <a:pt x="12" y="5"/>
                  </a:cubicBezTo>
                  <a:cubicBezTo>
                    <a:pt x="11" y="5"/>
                    <a:pt x="8" y="7"/>
                    <a:pt x="8" y="8"/>
                  </a:cubicBezTo>
                  <a:cubicBezTo>
                    <a:pt x="7" y="8"/>
                    <a:pt x="5" y="11"/>
                    <a:pt x="4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4" name="Freeform 631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6897387" y="3878837"/>
              <a:ext cx="231239" cy="167434"/>
            </a:xfrm>
            <a:custGeom>
              <a:avLst/>
              <a:gdLst>
                <a:gd name="T0" fmla="*/ 2 w 38"/>
                <a:gd name="T1" fmla="*/ 24 h 26"/>
                <a:gd name="T2" fmla="*/ 0 w 38"/>
                <a:gd name="T3" fmla="*/ 21 h 26"/>
                <a:gd name="T4" fmla="*/ 6 w 38"/>
                <a:gd name="T5" fmla="*/ 23 h 26"/>
                <a:gd name="T6" fmla="*/ 7 w 38"/>
                <a:gd name="T7" fmla="*/ 18 h 26"/>
                <a:gd name="T8" fmla="*/ 13 w 38"/>
                <a:gd name="T9" fmla="*/ 17 h 26"/>
                <a:gd name="T10" fmla="*/ 16 w 38"/>
                <a:gd name="T11" fmla="*/ 14 h 26"/>
                <a:gd name="T12" fmla="*/ 18 w 38"/>
                <a:gd name="T13" fmla="*/ 11 h 26"/>
                <a:gd name="T14" fmla="*/ 24 w 38"/>
                <a:gd name="T15" fmla="*/ 8 h 26"/>
                <a:gd name="T16" fmla="*/ 28 w 38"/>
                <a:gd name="T17" fmla="*/ 2 h 26"/>
                <a:gd name="T18" fmla="*/ 30 w 38"/>
                <a:gd name="T19" fmla="*/ 0 h 26"/>
                <a:gd name="T20" fmla="*/ 30 w 38"/>
                <a:gd name="T21" fmla="*/ 2 h 26"/>
                <a:gd name="T22" fmla="*/ 31 w 38"/>
                <a:gd name="T23" fmla="*/ 5 h 26"/>
                <a:gd name="T24" fmla="*/ 35 w 38"/>
                <a:gd name="T25" fmla="*/ 7 h 26"/>
                <a:gd name="T26" fmla="*/ 38 w 38"/>
                <a:gd name="T27" fmla="*/ 8 h 26"/>
                <a:gd name="T28" fmla="*/ 36 w 38"/>
                <a:gd name="T29" fmla="*/ 12 h 26"/>
                <a:gd name="T30" fmla="*/ 32 w 38"/>
                <a:gd name="T31" fmla="*/ 13 h 26"/>
                <a:gd name="T32" fmla="*/ 32 w 38"/>
                <a:gd name="T33" fmla="*/ 13 h 26"/>
                <a:gd name="T34" fmla="*/ 30 w 38"/>
                <a:gd name="T35" fmla="*/ 12 h 26"/>
                <a:gd name="T36" fmla="*/ 24 w 38"/>
                <a:gd name="T37" fmla="*/ 12 h 26"/>
                <a:gd name="T38" fmla="*/ 22 w 38"/>
                <a:gd name="T39" fmla="*/ 18 h 26"/>
                <a:gd name="T40" fmla="*/ 18 w 38"/>
                <a:gd name="T41" fmla="*/ 23 h 26"/>
                <a:gd name="T42" fmla="*/ 13 w 38"/>
                <a:gd name="T43" fmla="*/ 23 h 26"/>
                <a:gd name="T44" fmla="*/ 11 w 38"/>
                <a:gd name="T45" fmla="*/ 25 h 26"/>
                <a:gd name="T46" fmla="*/ 5 w 38"/>
                <a:gd name="T47" fmla="*/ 26 h 26"/>
                <a:gd name="T48" fmla="*/ 2 w 38"/>
                <a:gd name="T49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26">
                  <a:moveTo>
                    <a:pt x="2" y="24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2" y="20"/>
                    <a:pt x="5" y="23"/>
                    <a:pt x="6" y="23"/>
                  </a:cubicBezTo>
                  <a:cubicBezTo>
                    <a:pt x="6" y="23"/>
                    <a:pt x="7" y="19"/>
                    <a:pt x="7" y="18"/>
                  </a:cubicBezTo>
                  <a:cubicBezTo>
                    <a:pt x="8" y="17"/>
                    <a:pt x="12" y="17"/>
                    <a:pt x="13" y="17"/>
                  </a:cubicBezTo>
                  <a:cubicBezTo>
                    <a:pt x="14" y="17"/>
                    <a:pt x="15" y="15"/>
                    <a:pt x="16" y="14"/>
                  </a:cubicBezTo>
                  <a:cubicBezTo>
                    <a:pt x="17" y="13"/>
                    <a:pt x="17" y="11"/>
                    <a:pt x="18" y="11"/>
                  </a:cubicBezTo>
                  <a:cubicBezTo>
                    <a:pt x="20" y="11"/>
                    <a:pt x="23" y="8"/>
                    <a:pt x="24" y="8"/>
                  </a:cubicBezTo>
                  <a:cubicBezTo>
                    <a:pt x="25" y="7"/>
                    <a:pt x="27" y="2"/>
                    <a:pt x="28" y="2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1" y="0"/>
                    <a:pt x="30" y="2"/>
                    <a:pt x="30" y="2"/>
                  </a:cubicBezTo>
                  <a:cubicBezTo>
                    <a:pt x="30" y="2"/>
                    <a:pt x="31" y="5"/>
                    <a:pt x="31" y="5"/>
                  </a:cubicBezTo>
                  <a:cubicBezTo>
                    <a:pt x="31" y="6"/>
                    <a:pt x="34" y="6"/>
                    <a:pt x="35" y="7"/>
                  </a:cubicBezTo>
                  <a:cubicBezTo>
                    <a:pt x="36" y="7"/>
                    <a:pt x="38" y="7"/>
                    <a:pt x="38" y="8"/>
                  </a:cubicBezTo>
                  <a:cubicBezTo>
                    <a:pt x="38" y="9"/>
                    <a:pt x="37" y="11"/>
                    <a:pt x="36" y="1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2"/>
                    <a:pt x="25" y="12"/>
                    <a:pt x="24" y="12"/>
                  </a:cubicBezTo>
                  <a:cubicBezTo>
                    <a:pt x="23" y="13"/>
                    <a:pt x="22" y="17"/>
                    <a:pt x="22" y="18"/>
                  </a:cubicBezTo>
                  <a:cubicBezTo>
                    <a:pt x="22" y="19"/>
                    <a:pt x="19" y="23"/>
                    <a:pt x="18" y="23"/>
                  </a:cubicBezTo>
                  <a:cubicBezTo>
                    <a:pt x="17" y="24"/>
                    <a:pt x="14" y="23"/>
                    <a:pt x="13" y="23"/>
                  </a:cubicBezTo>
                  <a:cubicBezTo>
                    <a:pt x="11" y="22"/>
                    <a:pt x="11" y="24"/>
                    <a:pt x="11" y="25"/>
                  </a:cubicBezTo>
                  <a:cubicBezTo>
                    <a:pt x="11" y="26"/>
                    <a:pt x="6" y="26"/>
                    <a:pt x="5" y="26"/>
                  </a:cubicBezTo>
                  <a:cubicBezTo>
                    <a:pt x="3" y="26"/>
                    <a:pt x="2" y="25"/>
                    <a:pt x="2" y="2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5" name="Freeform 631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6681772" y="3905627"/>
              <a:ext cx="99995" cy="130598"/>
            </a:xfrm>
            <a:custGeom>
              <a:avLst/>
              <a:gdLst>
                <a:gd name="T0" fmla="*/ 3 w 17"/>
                <a:gd name="T1" fmla="*/ 10 h 20"/>
                <a:gd name="T2" fmla="*/ 0 w 17"/>
                <a:gd name="T3" fmla="*/ 0 h 20"/>
                <a:gd name="T4" fmla="*/ 3 w 17"/>
                <a:gd name="T5" fmla="*/ 0 h 20"/>
                <a:gd name="T6" fmla="*/ 5 w 17"/>
                <a:gd name="T7" fmla="*/ 3 h 20"/>
                <a:gd name="T8" fmla="*/ 8 w 17"/>
                <a:gd name="T9" fmla="*/ 0 h 20"/>
                <a:gd name="T10" fmla="*/ 11 w 17"/>
                <a:gd name="T11" fmla="*/ 2 h 20"/>
                <a:gd name="T12" fmla="*/ 13 w 17"/>
                <a:gd name="T13" fmla="*/ 6 h 20"/>
                <a:gd name="T14" fmla="*/ 13 w 17"/>
                <a:gd name="T15" fmla="*/ 12 h 20"/>
                <a:gd name="T16" fmla="*/ 16 w 17"/>
                <a:gd name="T17" fmla="*/ 17 h 20"/>
                <a:gd name="T18" fmla="*/ 16 w 17"/>
                <a:gd name="T19" fmla="*/ 20 h 20"/>
                <a:gd name="T20" fmla="*/ 13 w 17"/>
                <a:gd name="T21" fmla="*/ 19 h 20"/>
                <a:gd name="T22" fmla="*/ 5 w 17"/>
                <a:gd name="T23" fmla="*/ 14 h 20"/>
                <a:gd name="T24" fmla="*/ 3 w 17"/>
                <a:gd name="T25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0">
                  <a:moveTo>
                    <a:pt x="3" y="10"/>
                  </a:moveTo>
                  <a:cubicBezTo>
                    <a:pt x="2" y="9"/>
                    <a:pt x="1" y="1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3"/>
                    <a:pt x="5" y="3"/>
                  </a:cubicBezTo>
                  <a:cubicBezTo>
                    <a:pt x="5" y="3"/>
                    <a:pt x="8" y="0"/>
                    <a:pt x="8" y="0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3"/>
                    <a:pt x="13" y="5"/>
                    <a:pt x="13" y="6"/>
                  </a:cubicBezTo>
                  <a:cubicBezTo>
                    <a:pt x="13" y="8"/>
                    <a:pt x="13" y="11"/>
                    <a:pt x="13" y="12"/>
                  </a:cubicBezTo>
                  <a:cubicBezTo>
                    <a:pt x="13" y="14"/>
                    <a:pt x="16" y="17"/>
                    <a:pt x="16" y="17"/>
                  </a:cubicBezTo>
                  <a:cubicBezTo>
                    <a:pt x="16" y="18"/>
                    <a:pt x="17" y="19"/>
                    <a:pt x="16" y="20"/>
                  </a:cubicBezTo>
                  <a:cubicBezTo>
                    <a:pt x="15" y="20"/>
                    <a:pt x="14" y="19"/>
                    <a:pt x="13" y="19"/>
                  </a:cubicBezTo>
                  <a:cubicBezTo>
                    <a:pt x="12" y="19"/>
                    <a:pt x="6" y="15"/>
                    <a:pt x="5" y="14"/>
                  </a:cubicBezTo>
                  <a:cubicBezTo>
                    <a:pt x="3" y="12"/>
                    <a:pt x="5" y="12"/>
                    <a:pt x="3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6" name="Freeform 6314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6613026" y="3547318"/>
              <a:ext cx="187491" cy="371703"/>
            </a:xfrm>
            <a:custGeom>
              <a:avLst/>
              <a:gdLst>
                <a:gd name="T0" fmla="*/ 3 w 31"/>
                <a:gd name="T1" fmla="*/ 47 h 57"/>
                <a:gd name="T2" fmla="*/ 3 w 31"/>
                <a:gd name="T3" fmla="*/ 39 h 57"/>
                <a:gd name="T4" fmla="*/ 3 w 31"/>
                <a:gd name="T5" fmla="*/ 38 h 57"/>
                <a:gd name="T6" fmla="*/ 7 w 31"/>
                <a:gd name="T7" fmla="*/ 33 h 57"/>
                <a:gd name="T8" fmla="*/ 7 w 31"/>
                <a:gd name="T9" fmla="*/ 28 h 57"/>
                <a:gd name="T10" fmla="*/ 5 w 31"/>
                <a:gd name="T11" fmla="*/ 24 h 57"/>
                <a:gd name="T12" fmla="*/ 5 w 31"/>
                <a:gd name="T13" fmla="*/ 20 h 57"/>
                <a:gd name="T14" fmla="*/ 5 w 31"/>
                <a:gd name="T15" fmla="*/ 14 h 57"/>
                <a:gd name="T16" fmla="*/ 1 w 31"/>
                <a:gd name="T17" fmla="*/ 8 h 57"/>
                <a:gd name="T18" fmla="*/ 2 w 31"/>
                <a:gd name="T19" fmla="*/ 3 h 57"/>
                <a:gd name="T20" fmla="*/ 5 w 31"/>
                <a:gd name="T21" fmla="*/ 2 h 57"/>
                <a:gd name="T22" fmla="*/ 8 w 31"/>
                <a:gd name="T23" fmla="*/ 0 h 57"/>
                <a:gd name="T24" fmla="*/ 11 w 31"/>
                <a:gd name="T25" fmla="*/ 0 h 57"/>
                <a:gd name="T26" fmla="*/ 12 w 31"/>
                <a:gd name="T27" fmla="*/ 0 h 57"/>
                <a:gd name="T28" fmla="*/ 12 w 31"/>
                <a:gd name="T29" fmla="*/ 3 h 57"/>
                <a:gd name="T30" fmla="*/ 14 w 31"/>
                <a:gd name="T31" fmla="*/ 3 h 57"/>
                <a:gd name="T32" fmla="*/ 15 w 31"/>
                <a:gd name="T33" fmla="*/ 5 h 57"/>
                <a:gd name="T34" fmla="*/ 14 w 31"/>
                <a:gd name="T35" fmla="*/ 12 h 57"/>
                <a:gd name="T36" fmla="*/ 17 w 31"/>
                <a:gd name="T37" fmla="*/ 10 h 57"/>
                <a:gd name="T38" fmla="*/ 21 w 31"/>
                <a:gd name="T39" fmla="*/ 10 h 57"/>
                <a:gd name="T40" fmla="*/ 24 w 31"/>
                <a:gd name="T41" fmla="*/ 8 h 57"/>
                <a:gd name="T42" fmla="*/ 28 w 31"/>
                <a:gd name="T43" fmla="*/ 12 h 57"/>
                <a:gd name="T44" fmla="*/ 29 w 31"/>
                <a:gd name="T45" fmla="*/ 16 h 57"/>
                <a:gd name="T46" fmla="*/ 31 w 31"/>
                <a:gd name="T47" fmla="*/ 19 h 57"/>
                <a:gd name="T48" fmla="*/ 30 w 31"/>
                <a:gd name="T49" fmla="*/ 24 h 57"/>
                <a:gd name="T50" fmla="*/ 24 w 31"/>
                <a:gd name="T51" fmla="*/ 24 h 57"/>
                <a:gd name="T52" fmla="*/ 20 w 31"/>
                <a:gd name="T53" fmla="*/ 28 h 57"/>
                <a:gd name="T54" fmla="*/ 22 w 31"/>
                <a:gd name="T55" fmla="*/ 32 h 57"/>
                <a:gd name="T56" fmla="*/ 20 w 31"/>
                <a:gd name="T57" fmla="*/ 34 h 57"/>
                <a:gd name="T58" fmla="*/ 17 w 31"/>
                <a:gd name="T59" fmla="*/ 32 h 57"/>
                <a:gd name="T60" fmla="*/ 14 w 31"/>
                <a:gd name="T61" fmla="*/ 30 h 57"/>
                <a:gd name="T62" fmla="*/ 14 w 31"/>
                <a:gd name="T63" fmla="*/ 27 h 57"/>
                <a:gd name="T64" fmla="*/ 11 w 31"/>
                <a:gd name="T65" fmla="*/ 27 h 57"/>
                <a:gd name="T66" fmla="*/ 10 w 31"/>
                <a:gd name="T67" fmla="*/ 33 h 57"/>
                <a:gd name="T68" fmla="*/ 8 w 31"/>
                <a:gd name="T69" fmla="*/ 40 h 57"/>
                <a:gd name="T70" fmla="*/ 8 w 31"/>
                <a:gd name="T71" fmla="*/ 43 h 57"/>
                <a:gd name="T72" fmla="*/ 11 w 31"/>
                <a:gd name="T73" fmla="*/ 43 h 57"/>
                <a:gd name="T74" fmla="*/ 12 w 31"/>
                <a:gd name="T75" fmla="*/ 47 h 57"/>
                <a:gd name="T76" fmla="*/ 14 w 31"/>
                <a:gd name="T77" fmla="*/ 52 h 57"/>
                <a:gd name="T78" fmla="*/ 17 w 31"/>
                <a:gd name="T79" fmla="*/ 52 h 57"/>
                <a:gd name="T80" fmla="*/ 19 w 31"/>
                <a:gd name="T81" fmla="*/ 55 h 57"/>
                <a:gd name="T82" fmla="*/ 16 w 31"/>
                <a:gd name="T83" fmla="*/ 57 h 57"/>
                <a:gd name="T84" fmla="*/ 14 w 31"/>
                <a:gd name="T85" fmla="*/ 55 h 57"/>
                <a:gd name="T86" fmla="*/ 11 w 31"/>
                <a:gd name="T87" fmla="*/ 55 h 57"/>
                <a:gd name="T88" fmla="*/ 5 w 31"/>
                <a:gd name="T89" fmla="*/ 48 h 57"/>
                <a:gd name="T90" fmla="*/ 3 w 31"/>
                <a:gd name="T91" fmla="*/ 4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" h="57">
                  <a:moveTo>
                    <a:pt x="3" y="47"/>
                  </a:moveTo>
                  <a:cubicBezTo>
                    <a:pt x="3" y="45"/>
                    <a:pt x="3" y="42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29"/>
                    <a:pt x="7" y="28"/>
                  </a:cubicBezTo>
                  <a:cubicBezTo>
                    <a:pt x="7" y="28"/>
                    <a:pt x="6" y="25"/>
                    <a:pt x="5" y="24"/>
                  </a:cubicBezTo>
                  <a:cubicBezTo>
                    <a:pt x="5" y="23"/>
                    <a:pt x="5" y="21"/>
                    <a:pt x="5" y="20"/>
                  </a:cubicBezTo>
                  <a:cubicBezTo>
                    <a:pt x="5" y="19"/>
                    <a:pt x="5" y="16"/>
                    <a:pt x="5" y="14"/>
                  </a:cubicBezTo>
                  <a:cubicBezTo>
                    <a:pt x="5" y="13"/>
                    <a:pt x="0" y="8"/>
                    <a:pt x="1" y="8"/>
                  </a:cubicBezTo>
                  <a:cubicBezTo>
                    <a:pt x="1" y="7"/>
                    <a:pt x="2" y="4"/>
                    <a:pt x="2" y="3"/>
                  </a:cubicBezTo>
                  <a:cubicBezTo>
                    <a:pt x="3" y="2"/>
                    <a:pt x="5" y="2"/>
                    <a:pt x="5" y="2"/>
                  </a:cubicBezTo>
                  <a:cubicBezTo>
                    <a:pt x="6" y="2"/>
                    <a:pt x="8" y="2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3" y="0"/>
                    <a:pt x="12" y="2"/>
                    <a:pt x="12" y="3"/>
                  </a:cubicBezTo>
                  <a:cubicBezTo>
                    <a:pt x="11" y="5"/>
                    <a:pt x="12" y="4"/>
                    <a:pt x="14" y="3"/>
                  </a:cubicBezTo>
                  <a:cubicBezTo>
                    <a:pt x="15" y="3"/>
                    <a:pt x="15" y="4"/>
                    <a:pt x="15" y="5"/>
                  </a:cubicBezTo>
                  <a:cubicBezTo>
                    <a:pt x="16" y="7"/>
                    <a:pt x="14" y="11"/>
                    <a:pt x="14" y="12"/>
                  </a:cubicBezTo>
                  <a:cubicBezTo>
                    <a:pt x="14" y="13"/>
                    <a:pt x="17" y="11"/>
                    <a:pt x="17" y="10"/>
                  </a:cubicBezTo>
                  <a:cubicBezTo>
                    <a:pt x="18" y="10"/>
                    <a:pt x="20" y="10"/>
                    <a:pt x="21" y="10"/>
                  </a:cubicBezTo>
                  <a:cubicBezTo>
                    <a:pt x="22" y="10"/>
                    <a:pt x="23" y="8"/>
                    <a:pt x="24" y="8"/>
                  </a:cubicBezTo>
                  <a:cubicBezTo>
                    <a:pt x="25" y="8"/>
                    <a:pt x="27" y="11"/>
                    <a:pt x="28" y="12"/>
                  </a:cubicBezTo>
                  <a:cubicBezTo>
                    <a:pt x="29" y="12"/>
                    <a:pt x="28" y="15"/>
                    <a:pt x="29" y="16"/>
                  </a:cubicBezTo>
                  <a:cubicBezTo>
                    <a:pt x="30" y="18"/>
                    <a:pt x="31" y="18"/>
                    <a:pt x="31" y="19"/>
                  </a:cubicBezTo>
                  <a:cubicBezTo>
                    <a:pt x="31" y="21"/>
                    <a:pt x="31" y="24"/>
                    <a:pt x="30" y="24"/>
                  </a:cubicBezTo>
                  <a:cubicBezTo>
                    <a:pt x="29" y="25"/>
                    <a:pt x="25" y="24"/>
                    <a:pt x="24" y="24"/>
                  </a:cubicBezTo>
                  <a:cubicBezTo>
                    <a:pt x="23" y="25"/>
                    <a:pt x="20" y="27"/>
                    <a:pt x="20" y="28"/>
                  </a:cubicBezTo>
                  <a:cubicBezTo>
                    <a:pt x="19" y="28"/>
                    <a:pt x="22" y="32"/>
                    <a:pt x="22" y="3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3"/>
                    <a:pt x="18" y="32"/>
                    <a:pt x="17" y="32"/>
                  </a:cubicBezTo>
                  <a:cubicBezTo>
                    <a:pt x="16" y="31"/>
                    <a:pt x="14" y="31"/>
                    <a:pt x="14" y="30"/>
                  </a:cubicBezTo>
                  <a:cubicBezTo>
                    <a:pt x="14" y="29"/>
                    <a:pt x="15" y="28"/>
                    <a:pt x="14" y="27"/>
                  </a:cubicBezTo>
                  <a:cubicBezTo>
                    <a:pt x="14" y="27"/>
                    <a:pt x="11" y="27"/>
                    <a:pt x="11" y="27"/>
                  </a:cubicBezTo>
                  <a:cubicBezTo>
                    <a:pt x="10" y="28"/>
                    <a:pt x="10" y="33"/>
                    <a:pt x="10" y="33"/>
                  </a:cubicBezTo>
                  <a:cubicBezTo>
                    <a:pt x="9" y="34"/>
                    <a:pt x="8" y="39"/>
                    <a:pt x="8" y="40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8" y="43"/>
                    <a:pt x="11" y="42"/>
                    <a:pt x="11" y="43"/>
                  </a:cubicBezTo>
                  <a:cubicBezTo>
                    <a:pt x="11" y="44"/>
                    <a:pt x="11" y="45"/>
                    <a:pt x="12" y="47"/>
                  </a:cubicBezTo>
                  <a:cubicBezTo>
                    <a:pt x="12" y="48"/>
                    <a:pt x="12" y="51"/>
                    <a:pt x="14" y="52"/>
                  </a:cubicBezTo>
                  <a:cubicBezTo>
                    <a:pt x="15" y="53"/>
                    <a:pt x="16" y="52"/>
                    <a:pt x="17" y="52"/>
                  </a:cubicBezTo>
                  <a:cubicBezTo>
                    <a:pt x="17" y="53"/>
                    <a:pt x="18" y="54"/>
                    <a:pt x="19" y="55"/>
                  </a:cubicBezTo>
                  <a:cubicBezTo>
                    <a:pt x="19" y="55"/>
                    <a:pt x="16" y="57"/>
                    <a:pt x="16" y="57"/>
                  </a:cubicBezTo>
                  <a:cubicBezTo>
                    <a:pt x="15" y="57"/>
                    <a:pt x="14" y="55"/>
                    <a:pt x="14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0" y="53"/>
                    <a:pt x="5" y="48"/>
                    <a:pt x="5" y="48"/>
                  </a:cubicBezTo>
                  <a:cubicBezTo>
                    <a:pt x="4" y="48"/>
                    <a:pt x="3" y="49"/>
                    <a:pt x="3" y="4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7" name="Freeform 6315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400488" y="4076409"/>
              <a:ext cx="234364" cy="217664"/>
            </a:xfrm>
            <a:custGeom>
              <a:avLst/>
              <a:gdLst>
                <a:gd name="T0" fmla="*/ 0 w 39"/>
                <a:gd name="T1" fmla="*/ 4 h 34"/>
                <a:gd name="T2" fmla="*/ 2 w 39"/>
                <a:gd name="T3" fmla="*/ 2 h 34"/>
                <a:gd name="T4" fmla="*/ 4 w 39"/>
                <a:gd name="T5" fmla="*/ 1 h 34"/>
                <a:gd name="T6" fmla="*/ 7 w 39"/>
                <a:gd name="T7" fmla="*/ 0 h 34"/>
                <a:gd name="T8" fmla="*/ 10 w 39"/>
                <a:gd name="T9" fmla="*/ 2 h 34"/>
                <a:gd name="T10" fmla="*/ 12 w 39"/>
                <a:gd name="T11" fmla="*/ 2 h 34"/>
                <a:gd name="T12" fmla="*/ 13 w 39"/>
                <a:gd name="T13" fmla="*/ 7 h 34"/>
                <a:gd name="T14" fmla="*/ 16 w 39"/>
                <a:gd name="T15" fmla="*/ 11 h 34"/>
                <a:gd name="T16" fmla="*/ 19 w 39"/>
                <a:gd name="T17" fmla="*/ 11 h 34"/>
                <a:gd name="T18" fmla="*/ 23 w 39"/>
                <a:gd name="T19" fmla="*/ 7 h 34"/>
                <a:gd name="T20" fmla="*/ 27 w 39"/>
                <a:gd name="T21" fmla="*/ 5 h 34"/>
                <a:gd name="T22" fmla="*/ 35 w 39"/>
                <a:gd name="T23" fmla="*/ 7 h 34"/>
                <a:gd name="T24" fmla="*/ 39 w 39"/>
                <a:gd name="T25" fmla="*/ 9 h 34"/>
                <a:gd name="T26" fmla="*/ 39 w 39"/>
                <a:gd name="T27" fmla="*/ 34 h 34"/>
                <a:gd name="T28" fmla="*/ 34 w 39"/>
                <a:gd name="T29" fmla="*/ 30 h 34"/>
                <a:gd name="T30" fmla="*/ 30 w 39"/>
                <a:gd name="T31" fmla="*/ 31 h 34"/>
                <a:gd name="T32" fmla="*/ 26 w 39"/>
                <a:gd name="T33" fmla="*/ 31 h 34"/>
                <a:gd name="T34" fmla="*/ 29 w 39"/>
                <a:gd name="T35" fmla="*/ 27 h 34"/>
                <a:gd name="T36" fmla="*/ 32 w 39"/>
                <a:gd name="T37" fmla="*/ 26 h 34"/>
                <a:gd name="T38" fmla="*/ 28 w 39"/>
                <a:gd name="T39" fmla="*/ 22 h 34"/>
                <a:gd name="T40" fmla="*/ 25 w 39"/>
                <a:gd name="T41" fmla="*/ 18 h 34"/>
                <a:gd name="T42" fmla="*/ 16 w 39"/>
                <a:gd name="T43" fmla="*/ 15 h 34"/>
                <a:gd name="T44" fmla="*/ 11 w 39"/>
                <a:gd name="T45" fmla="*/ 13 h 34"/>
                <a:gd name="T46" fmla="*/ 9 w 39"/>
                <a:gd name="T47" fmla="*/ 15 h 34"/>
                <a:gd name="T48" fmla="*/ 7 w 39"/>
                <a:gd name="T49" fmla="*/ 14 h 34"/>
                <a:gd name="T50" fmla="*/ 6 w 39"/>
                <a:gd name="T51" fmla="*/ 12 h 34"/>
                <a:gd name="T52" fmla="*/ 4 w 39"/>
                <a:gd name="T53" fmla="*/ 10 h 34"/>
                <a:gd name="T54" fmla="*/ 10 w 39"/>
                <a:gd name="T55" fmla="*/ 9 h 34"/>
                <a:gd name="T56" fmla="*/ 6 w 39"/>
                <a:gd name="T57" fmla="*/ 7 h 34"/>
                <a:gd name="T58" fmla="*/ 3 w 39"/>
                <a:gd name="T59" fmla="*/ 7 h 34"/>
                <a:gd name="T60" fmla="*/ 2 w 39"/>
                <a:gd name="T61" fmla="*/ 5 h 34"/>
                <a:gd name="T62" fmla="*/ 0 w 39"/>
                <a:gd name="T6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" h="34">
                  <a:moveTo>
                    <a:pt x="0" y="4"/>
                  </a:move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9" y="2"/>
                    <a:pt x="10" y="2"/>
                  </a:cubicBezTo>
                  <a:cubicBezTo>
                    <a:pt x="11" y="2"/>
                    <a:pt x="12" y="2"/>
                    <a:pt x="12" y="2"/>
                  </a:cubicBezTo>
                  <a:cubicBezTo>
                    <a:pt x="13" y="2"/>
                    <a:pt x="13" y="5"/>
                    <a:pt x="13" y="7"/>
                  </a:cubicBezTo>
                  <a:cubicBezTo>
                    <a:pt x="13" y="8"/>
                    <a:pt x="15" y="11"/>
                    <a:pt x="16" y="11"/>
                  </a:cubicBezTo>
                  <a:cubicBezTo>
                    <a:pt x="17" y="12"/>
                    <a:pt x="18" y="12"/>
                    <a:pt x="19" y="11"/>
                  </a:cubicBezTo>
                  <a:cubicBezTo>
                    <a:pt x="19" y="9"/>
                    <a:pt x="22" y="8"/>
                    <a:pt x="23" y="7"/>
                  </a:cubicBezTo>
                  <a:cubicBezTo>
                    <a:pt x="24" y="6"/>
                    <a:pt x="26" y="4"/>
                    <a:pt x="27" y="5"/>
                  </a:cubicBezTo>
                  <a:cubicBezTo>
                    <a:pt x="29" y="5"/>
                    <a:pt x="33" y="7"/>
                    <a:pt x="35" y="7"/>
                  </a:cubicBezTo>
                  <a:cubicBezTo>
                    <a:pt x="36" y="8"/>
                    <a:pt x="37" y="8"/>
                    <a:pt x="39" y="9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2"/>
                    <a:pt x="35" y="30"/>
                    <a:pt x="34" y="30"/>
                  </a:cubicBezTo>
                  <a:cubicBezTo>
                    <a:pt x="33" y="30"/>
                    <a:pt x="32" y="31"/>
                    <a:pt x="30" y="31"/>
                  </a:cubicBezTo>
                  <a:cubicBezTo>
                    <a:pt x="29" y="31"/>
                    <a:pt x="26" y="32"/>
                    <a:pt x="26" y="31"/>
                  </a:cubicBezTo>
                  <a:cubicBezTo>
                    <a:pt x="26" y="30"/>
                    <a:pt x="28" y="27"/>
                    <a:pt x="29" y="27"/>
                  </a:cubicBezTo>
                  <a:cubicBezTo>
                    <a:pt x="30" y="27"/>
                    <a:pt x="32" y="26"/>
                    <a:pt x="32" y="26"/>
                  </a:cubicBezTo>
                  <a:cubicBezTo>
                    <a:pt x="32" y="25"/>
                    <a:pt x="29" y="23"/>
                    <a:pt x="28" y="22"/>
                  </a:cubicBezTo>
                  <a:cubicBezTo>
                    <a:pt x="28" y="20"/>
                    <a:pt x="27" y="19"/>
                    <a:pt x="25" y="18"/>
                  </a:cubicBezTo>
                  <a:cubicBezTo>
                    <a:pt x="24" y="18"/>
                    <a:pt x="17" y="16"/>
                    <a:pt x="16" y="15"/>
                  </a:cubicBezTo>
                  <a:cubicBezTo>
                    <a:pt x="14" y="15"/>
                    <a:pt x="12" y="13"/>
                    <a:pt x="11" y="13"/>
                  </a:cubicBezTo>
                  <a:cubicBezTo>
                    <a:pt x="10" y="13"/>
                    <a:pt x="10" y="15"/>
                    <a:pt x="9" y="15"/>
                  </a:cubicBezTo>
                  <a:cubicBezTo>
                    <a:pt x="8" y="15"/>
                    <a:pt x="7" y="15"/>
                    <a:pt x="7" y="14"/>
                  </a:cubicBezTo>
                  <a:cubicBezTo>
                    <a:pt x="7" y="14"/>
                    <a:pt x="7" y="13"/>
                    <a:pt x="6" y="12"/>
                  </a:cubicBezTo>
                  <a:cubicBezTo>
                    <a:pt x="6" y="11"/>
                    <a:pt x="4" y="11"/>
                    <a:pt x="4" y="10"/>
                  </a:cubicBezTo>
                  <a:cubicBezTo>
                    <a:pt x="4" y="9"/>
                    <a:pt x="10" y="9"/>
                    <a:pt x="10" y="9"/>
                  </a:cubicBezTo>
                  <a:cubicBezTo>
                    <a:pt x="10" y="8"/>
                    <a:pt x="7" y="7"/>
                    <a:pt x="6" y="7"/>
                  </a:cubicBezTo>
                  <a:cubicBezTo>
                    <a:pt x="5" y="7"/>
                    <a:pt x="4" y="8"/>
                    <a:pt x="3" y="7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8" name="Freeform 6316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7331741" y="4133336"/>
              <a:ext cx="71872" cy="33487"/>
            </a:xfrm>
            <a:custGeom>
              <a:avLst/>
              <a:gdLst>
                <a:gd name="T0" fmla="*/ 1 w 12"/>
                <a:gd name="T1" fmla="*/ 1 h 5"/>
                <a:gd name="T2" fmla="*/ 5 w 12"/>
                <a:gd name="T3" fmla="*/ 0 h 5"/>
                <a:gd name="T4" fmla="*/ 10 w 12"/>
                <a:gd name="T5" fmla="*/ 1 h 5"/>
                <a:gd name="T6" fmla="*/ 11 w 12"/>
                <a:gd name="T7" fmla="*/ 5 h 5"/>
                <a:gd name="T8" fmla="*/ 8 w 12"/>
                <a:gd name="T9" fmla="*/ 3 h 5"/>
                <a:gd name="T10" fmla="*/ 6 w 12"/>
                <a:gd name="T11" fmla="*/ 2 h 5"/>
                <a:gd name="T12" fmla="*/ 2 w 12"/>
                <a:gd name="T13" fmla="*/ 3 h 5"/>
                <a:gd name="T14" fmla="*/ 1 w 12"/>
                <a:gd name="T1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">
                  <a:moveTo>
                    <a:pt x="1" y="1"/>
                  </a:moveTo>
                  <a:cubicBezTo>
                    <a:pt x="1" y="0"/>
                    <a:pt x="4" y="0"/>
                    <a:pt x="5" y="0"/>
                  </a:cubicBezTo>
                  <a:cubicBezTo>
                    <a:pt x="6" y="0"/>
                    <a:pt x="9" y="0"/>
                    <a:pt x="10" y="1"/>
                  </a:cubicBezTo>
                  <a:cubicBezTo>
                    <a:pt x="10" y="2"/>
                    <a:pt x="12" y="4"/>
                    <a:pt x="11" y="5"/>
                  </a:cubicBezTo>
                  <a:cubicBezTo>
                    <a:pt x="11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69" name="Freeform 6317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316117" y="4009436"/>
              <a:ext cx="43748" cy="83717"/>
            </a:xfrm>
            <a:custGeom>
              <a:avLst/>
              <a:gdLst>
                <a:gd name="T0" fmla="*/ 3 w 7"/>
                <a:gd name="T1" fmla="*/ 11 h 13"/>
                <a:gd name="T2" fmla="*/ 1 w 7"/>
                <a:gd name="T3" fmla="*/ 7 h 13"/>
                <a:gd name="T4" fmla="*/ 1 w 7"/>
                <a:gd name="T5" fmla="*/ 2 h 13"/>
                <a:gd name="T6" fmla="*/ 3 w 7"/>
                <a:gd name="T7" fmla="*/ 0 h 13"/>
                <a:gd name="T8" fmla="*/ 3 w 7"/>
                <a:gd name="T9" fmla="*/ 2 h 13"/>
                <a:gd name="T10" fmla="*/ 6 w 7"/>
                <a:gd name="T11" fmla="*/ 2 h 13"/>
                <a:gd name="T12" fmla="*/ 5 w 7"/>
                <a:gd name="T13" fmla="*/ 4 h 13"/>
                <a:gd name="T14" fmla="*/ 6 w 7"/>
                <a:gd name="T15" fmla="*/ 7 h 13"/>
                <a:gd name="T16" fmla="*/ 4 w 7"/>
                <a:gd name="T17" fmla="*/ 8 h 13"/>
                <a:gd name="T18" fmla="*/ 5 w 7"/>
                <a:gd name="T19" fmla="*/ 13 h 13"/>
                <a:gd name="T20" fmla="*/ 3 w 7"/>
                <a:gd name="T2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3">
                  <a:moveTo>
                    <a:pt x="3" y="11"/>
                  </a:moveTo>
                  <a:cubicBezTo>
                    <a:pt x="2" y="11"/>
                    <a:pt x="1" y="8"/>
                    <a:pt x="1" y="7"/>
                  </a:cubicBezTo>
                  <a:cubicBezTo>
                    <a:pt x="1" y="5"/>
                    <a:pt x="0" y="4"/>
                    <a:pt x="1" y="2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1"/>
                    <a:pt x="3" y="2"/>
                  </a:cubicBezTo>
                  <a:cubicBezTo>
                    <a:pt x="3" y="3"/>
                    <a:pt x="5" y="2"/>
                    <a:pt x="6" y="2"/>
                  </a:cubicBezTo>
                  <a:cubicBezTo>
                    <a:pt x="7" y="3"/>
                    <a:pt x="5" y="4"/>
                    <a:pt x="5" y="4"/>
                  </a:cubicBezTo>
                  <a:cubicBezTo>
                    <a:pt x="5" y="5"/>
                    <a:pt x="7" y="6"/>
                    <a:pt x="6" y="7"/>
                  </a:cubicBezTo>
                  <a:cubicBezTo>
                    <a:pt x="6" y="8"/>
                    <a:pt x="4" y="8"/>
                    <a:pt x="4" y="8"/>
                  </a:cubicBezTo>
                  <a:cubicBezTo>
                    <a:pt x="3" y="8"/>
                    <a:pt x="5" y="12"/>
                    <a:pt x="5" y="13"/>
                  </a:cubicBezTo>
                  <a:cubicBezTo>
                    <a:pt x="4" y="13"/>
                    <a:pt x="3" y="12"/>
                    <a:pt x="3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0" name="Freeform 6318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7291118" y="4136685"/>
              <a:ext cx="28124" cy="30138"/>
            </a:xfrm>
            <a:custGeom>
              <a:avLst/>
              <a:gdLst>
                <a:gd name="T0" fmla="*/ 5 w 5"/>
                <a:gd name="T1" fmla="*/ 3 h 4"/>
                <a:gd name="T2" fmla="*/ 2 w 5"/>
                <a:gd name="T3" fmla="*/ 4 h 4"/>
                <a:gd name="T4" fmla="*/ 0 w 5"/>
                <a:gd name="T5" fmla="*/ 1 h 4"/>
                <a:gd name="T6" fmla="*/ 2 w 5"/>
                <a:gd name="T7" fmla="*/ 0 h 4"/>
                <a:gd name="T8" fmla="*/ 4 w 5"/>
                <a:gd name="T9" fmla="*/ 1 h 4"/>
                <a:gd name="T10" fmla="*/ 5 w 5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4"/>
                    <a:pt x="3" y="4"/>
                    <a:pt x="2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1" name="Freeform 6319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7219247" y="4270632"/>
              <a:ext cx="99995" cy="63625"/>
            </a:xfrm>
            <a:custGeom>
              <a:avLst/>
              <a:gdLst>
                <a:gd name="T0" fmla="*/ 0 w 17"/>
                <a:gd name="T1" fmla="*/ 9 h 10"/>
                <a:gd name="T2" fmla="*/ 4 w 17"/>
                <a:gd name="T3" fmla="*/ 5 h 10"/>
                <a:gd name="T4" fmla="*/ 10 w 17"/>
                <a:gd name="T5" fmla="*/ 2 h 10"/>
                <a:gd name="T6" fmla="*/ 17 w 17"/>
                <a:gd name="T7" fmla="*/ 2 h 10"/>
                <a:gd name="T8" fmla="*/ 11 w 17"/>
                <a:gd name="T9" fmla="*/ 5 h 10"/>
                <a:gd name="T10" fmla="*/ 7 w 17"/>
                <a:gd name="T11" fmla="*/ 8 h 10"/>
                <a:gd name="T12" fmla="*/ 3 w 17"/>
                <a:gd name="T13" fmla="*/ 10 h 10"/>
                <a:gd name="T14" fmla="*/ 0 w 17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0">
                  <a:moveTo>
                    <a:pt x="0" y="9"/>
                  </a:moveTo>
                  <a:cubicBezTo>
                    <a:pt x="0" y="9"/>
                    <a:pt x="3" y="6"/>
                    <a:pt x="4" y="5"/>
                  </a:cubicBezTo>
                  <a:cubicBezTo>
                    <a:pt x="5" y="4"/>
                    <a:pt x="8" y="2"/>
                    <a:pt x="10" y="2"/>
                  </a:cubicBezTo>
                  <a:cubicBezTo>
                    <a:pt x="12" y="2"/>
                    <a:pt x="17" y="0"/>
                    <a:pt x="17" y="2"/>
                  </a:cubicBezTo>
                  <a:cubicBezTo>
                    <a:pt x="17" y="3"/>
                    <a:pt x="13" y="5"/>
                    <a:pt x="11" y="5"/>
                  </a:cubicBezTo>
                  <a:cubicBezTo>
                    <a:pt x="10" y="5"/>
                    <a:pt x="9" y="6"/>
                    <a:pt x="7" y="8"/>
                  </a:cubicBezTo>
                  <a:cubicBezTo>
                    <a:pt x="5" y="9"/>
                    <a:pt x="3" y="10"/>
                    <a:pt x="3" y="10"/>
                  </a:cubicBezTo>
                  <a:cubicBezTo>
                    <a:pt x="2" y="10"/>
                    <a:pt x="0" y="9"/>
                    <a:pt x="0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2" name="Freeform 6320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147375" y="4260587"/>
              <a:ext cx="106245" cy="33487"/>
            </a:xfrm>
            <a:custGeom>
              <a:avLst/>
              <a:gdLst>
                <a:gd name="T0" fmla="*/ 0 w 18"/>
                <a:gd name="T1" fmla="*/ 3 h 5"/>
                <a:gd name="T2" fmla="*/ 3 w 18"/>
                <a:gd name="T3" fmla="*/ 2 h 5"/>
                <a:gd name="T4" fmla="*/ 8 w 18"/>
                <a:gd name="T5" fmla="*/ 2 h 5"/>
                <a:gd name="T6" fmla="*/ 13 w 18"/>
                <a:gd name="T7" fmla="*/ 1 h 5"/>
                <a:gd name="T8" fmla="*/ 17 w 18"/>
                <a:gd name="T9" fmla="*/ 1 h 5"/>
                <a:gd name="T10" fmla="*/ 15 w 18"/>
                <a:gd name="T11" fmla="*/ 3 h 5"/>
                <a:gd name="T12" fmla="*/ 6 w 18"/>
                <a:gd name="T13" fmla="*/ 4 h 5"/>
                <a:gd name="T14" fmla="*/ 2 w 18"/>
                <a:gd name="T15" fmla="*/ 5 h 5"/>
                <a:gd name="T16" fmla="*/ 0 w 18"/>
                <a:gd name="T1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5">
                  <a:moveTo>
                    <a:pt x="0" y="3"/>
                  </a:moveTo>
                  <a:cubicBezTo>
                    <a:pt x="0" y="3"/>
                    <a:pt x="1" y="3"/>
                    <a:pt x="3" y="2"/>
                  </a:cubicBezTo>
                  <a:cubicBezTo>
                    <a:pt x="4" y="2"/>
                    <a:pt x="6" y="2"/>
                    <a:pt x="8" y="2"/>
                  </a:cubicBezTo>
                  <a:cubicBezTo>
                    <a:pt x="9" y="2"/>
                    <a:pt x="12" y="1"/>
                    <a:pt x="13" y="1"/>
                  </a:cubicBezTo>
                  <a:cubicBezTo>
                    <a:pt x="15" y="1"/>
                    <a:pt x="18" y="0"/>
                    <a:pt x="17" y="1"/>
                  </a:cubicBezTo>
                  <a:cubicBezTo>
                    <a:pt x="17" y="1"/>
                    <a:pt x="16" y="3"/>
                    <a:pt x="15" y="3"/>
                  </a:cubicBezTo>
                  <a:cubicBezTo>
                    <a:pt x="14" y="3"/>
                    <a:pt x="8" y="5"/>
                    <a:pt x="6" y="4"/>
                  </a:cubicBezTo>
                  <a:cubicBezTo>
                    <a:pt x="3" y="3"/>
                    <a:pt x="3" y="5"/>
                    <a:pt x="2" y="5"/>
                  </a:cubicBezTo>
                  <a:cubicBezTo>
                    <a:pt x="0" y="5"/>
                    <a:pt x="0" y="5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3" name="Freeform 6321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116127" y="4016133"/>
              <a:ext cx="156243" cy="194223"/>
            </a:xfrm>
            <a:custGeom>
              <a:avLst/>
              <a:gdLst>
                <a:gd name="T0" fmla="*/ 3 w 26"/>
                <a:gd name="T1" fmla="*/ 22 h 30"/>
                <a:gd name="T2" fmla="*/ 0 w 26"/>
                <a:gd name="T3" fmla="*/ 20 h 30"/>
                <a:gd name="T4" fmla="*/ 2 w 26"/>
                <a:gd name="T5" fmla="*/ 17 h 30"/>
                <a:gd name="T6" fmla="*/ 3 w 26"/>
                <a:gd name="T7" fmla="*/ 12 h 30"/>
                <a:gd name="T8" fmla="*/ 4 w 26"/>
                <a:gd name="T9" fmla="*/ 7 h 30"/>
                <a:gd name="T10" fmla="*/ 8 w 26"/>
                <a:gd name="T11" fmla="*/ 3 h 30"/>
                <a:gd name="T12" fmla="*/ 13 w 26"/>
                <a:gd name="T13" fmla="*/ 4 h 30"/>
                <a:gd name="T14" fmla="*/ 21 w 26"/>
                <a:gd name="T15" fmla="*/ 4 h 30"/>
                <a:gd name="T16" fmla="*/ 25 w 26"/>
                <a:gd name="T17" fmla="*/ 0 h 30"/>
                <a:gd name="T18" fmla="*/ 26 w 26"/>
                <a:gd name="T19" fmla="*/ 2 h 30"/>
                <a:gd name="T20" fmla="*/ 23 w 26"/>
                <a:gd name="T21" fmla="*/ 7 h 30"/>
                <a:gd name="T22" fmla="*/ 16 w 26"/>
                <a:gd name="T23" fmla="*/ 7 h 30"/>
                <a:gd name="T24" fmla="*/ 9 w 26"/>
                <a:gd name="T25" fmla="*/ 7 h 30"/>
                <a:gd name="T26" fmla="*/ 7 w 26"/>
                <a:gd name="T27" fmla="*/ 9 h 30"/>
                <a:gd name="T28" fmla="*/ 6 w 26"/>
                <a:gd name="T29" fmla="*/ 11 h 30"/>
                <a:gd name="T30" fmla="*/ 8 w 26"/>
                <a:gd name="T31" fmla="*/ 13 h 30"/>
                <a:gd name="T32" fmla="*/ 11 w 26"/>
                <a:gd name="T33" fmla="*/ 11 h 30"/>
                <a:gd name="T34" fmla="*/ 17 w 26"/>
                <a:gd name="T35" fmla="*/ 11 h 30"/>
                <a:gd name="T36" fmla="*/ 18 w 26"/>
                <a:gd name="T37" fmla="*/ 13 h 30"/>
                <a:gd name="T38" fmla="*/ 14 w 26"/>
                <a:gd name="T39" fmla="*/ 14 h 30"/>
                <a:gd name="T40" fmla="*/ 11 w 26"/>
                <a:gd name="T41" fmla="*/ 16 h 30"/>
                <a:gd name="T42" fmla="*/ 14 w 26"/>
                <a:gd name="T43" fmla="*/ 20 h 30"/>
                <a:gd name="T44" fmla="*/ 14 w 26"/>
                <a:gd name="T45" fmla="*/ 23 h 30"/>
                <a:gd name="T46" fmla="*/ 17 w 26"/>
                <a:gd name="T47" fmla="*/ 25 h 30"/>
                <a:gd name="T48" fmla="*/ 16 w 26"/>
                <a:gd name="T49" fmla="*/ 28 h 30"/>
                <a:gd name="T50" fmla="*/ 15 w 26"/>
                <a:gd name="T51" fmla="*/ 29 h 30"/>
                <a:gd name="T52" fmla="*/ 13 w 26"/>
                <a:gd name="T53" fmla="*/ 26 h 30"/>
                <a:gd name="T54" fmla="*/ 11 w 26"/>
                <a:gd name="T55" fmla="*/ 26 h 30"/>
                <a:gd name="T56" fmla="*/ 11 w 26"/>
                <a:gd name="T57" fmla="*/ 23 h 30"/>
                <a:gd name="T58" fmla="*/ 9 w 26"/>
                <a:gd name="T59" fmla="*/ 18 h 30"/>
                <a:gd name="T60" fmla="*/ 5 w 26"/>
                <a:gd name="T61" fmla="*/ 20 h 30"/>
                <a:gd name="T62" fmla="*/ 7 w 26"/>
                <a:gd name="T63" fmla="*/ 26 h 30"/>
                <a:gd name="T64" fmla="*/ 6 w 26"/>
                <a:gd name="T65" fmla="*/ 30 h 30"/>
                <a:gd name="T66" fmla="*/ 3 w 26"/>
                <a:gd name="T67" fmla="*/ 29 h 30"/>
                <a:gd name="T68" fmla="*/ 3 w 26"/>
                <a:gd name="T69" fmla="*/ 26 h 30"/>
                <a:gd name="T70" fmla="*/ 3 w 26"/>
                <a:gd name="T71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" h="30">
                  <a:moveTo>
                    <a:pt x="3" y="22"/>
                  </a:moveTo>
                  <a:cubicBezTo>
                    <a:pt x="3" y="21"/>
                    <a:pt x="0" y="21"/>
                    <a:pt x="0" y="20"/>
                  </a:cubicBezTo>
                  <a:cubicBezTo>
                    <a:pt x="0" y="19"/>
                    <a:pt x="2" y="18"/>
                    <a:pt x="2" y="17"/>
                  </a:cubicBezTo>
                  <a:cubicBezTo>
                    <a:pt x="2" y="16"/>
                    <a:pt x="2" y="12"/>
                    <a:pt x="3" y="12"/>
                  </a:cubicBezTo>
                  <a:cubicBezTo>
                    <a:pt x="4" y="11"/>
                    <a:pt x="4" y="8"/>
                    <a:pt x="4" y="7"/>
                  </a:cubicBezTo>
                  <a:cubicBezTo>
                    <a:pt x="5" y="6"/>
                    <a:pt x="7" y="3"/>
                    <a:pt x="8" y="3"/>
                  </a:cubicBezTo>
                  <a:cubicBezTo>
                    <a:pt x="9" y="3"/>
                    <a:pt x="12" y="4"/>
                    <a:pt x="13" y="4"/>
                  </a:cubicBezTo>
                  <a:cubicBezTo>
                    <a:pt x="14" y="4"/>
                    <a:pt x="21" y="5"/>
                    <a:pt x="21" y="4"/>
                  </a:cubicBezTo>
                  <a:cubicBezTo>
                    <a:pt x="23" y="2"/>
                    <a:pt x="24" y="0"/>
                    <a:pt x="25" y="0"/>
                  </a:cubicBezTo>
                  <a:cubicBezTo>
                    <a:pt x="26" y="1"/>
                    <a:pt x="26" y="2"/>
                    <a:pt x="26" y="2"/>
                  </a:cubicBezTo>
                  <a:cubicBezTo>
                    <a:pt x="25" y="3"/>
                    <a:pt x="23" y="7"/>
                    <a:pt x="23" y="7"/>
                  </a:cubicBezTo>
                  <a:cubicBezTo>
                    <a:pt x="21" y="7"/>
                    <a:pt x="18" y="7"/>
                    <a:pt x="16" y="7"/>
                  </a:cubicBezTo>
                  <a:cubicBezTo>
                    <a:pt x="15" y="7"/>
                    <a:pt x="10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9"/>
                    <a:pt x="6" y="11"/>
                    <a:pt x="6" y="11"/>
                  </a:cubicBezTo>
                  <a:cubicBezTo>
                    <a:pt x="7" y="12"/>
                    <a:pt x="7" y="13"/>
                    <a:pt x="8" y="13"/>
                  </a:cubicBezTo>
                  <a:cubicBezTo>
                    <a:pt x="10" y="14"/>
                    <a:pt x="10" y="11"/>
                    <a:pt x="11" y="11"/>
                  </a:cubicBezTo>
                  <a:cubicBezTo>
                    <a:pt x="12" y="11"/>
                    <a:pt x="16" y="10"/>
                    <a:pt x="17" y="11"/>
                  </a:cubicBezTo>
                  <a:cubicBezTo>
                    <a:pt x="18" y="12"/>
                    <a:pt x="18" y="12"/>
                    <a:pt x="18" y="13"/>
                  </a:cubicBezTo>
                  <a:cubicBezTo>
                    <a:pt x="17" y="13"/>
                    <a:pt x="15" y="14"/>
                    <a:pt x="14" y="14"/>
                  </a:cubicBezTo>
                  <a:cubicBezTo>
                    <a:pt x="13" y="14"/>
                    <a:pt x="11" y="15"/>
                    <a:pt x="11" y="16"/>
                  </a:cubicBezTo>
                  <a:cubicBezTo>
                    <a:pt x="11" y="17"/>
                    <a:pt x="14" y="19"/>
                    <a:pt x="14" y="20"/>
                  </a:cubicBezTo>
                  <a:cubicBezTo>
                    <a:pt x="14" y="21"/>
                    <a:pt x="14" y="22"/>
                    <a:pt x="14" y="23"/>
                  </a:cubicBezTo>
                  <a:cubicBezTo>
                    <a:pt x="15" y="23"/>
                    <a:pt x="17" y="25"/>
                    <a:pt x="17" y="25"/>
                  </a:cubicBezTo>
                  <a:cubicBezTo>
                    <a:pt x="17" y="25"/>
                    <a:pt x="17" y="27"/>
                    <a:pt x="16" y="28"/>
                  </a:cubicBezTo>
                  <a:cubicBezTo>
                    <a:pt x="16" y="29"/>
                    <a:pt x="16" y="30"/>
                    <a:pt x="15" y="29"/>
                  </a:cubicBezTo>
                  <a:cubicBezTo>
                    <a:pt x="14" y="29"/>
                    <a:pt x="14" y="26"/>
                    <a:pt x="13" y="26"/>
                  </a:cubicBezTo>
                  <a:cubicBezTo>
                    <a:pt x="13" y="26"/>
                    <a:pt x="11" y="27"/>
                    <a:pt x="11" y="26"/>
                  </a:cubicBezTo>
                  <a:cubicBezTo>
                    <a:pt x="11" y="25"/>
                    <a:pt x="12" y="25"/>
                    <a:pt x="11" y="23"/>
                  </a:cubicBezTo>
                  <a:cubicBezTo>
                    <a:pt x="10" y="22"/>
                    <a:pt x="9" y="18"/>
                    <a:pt x="9" y="18"/>
                  </a:cubicBezTo>
                  <a:cubicBezTo>
                    <a:pt x="8" y="18"/>
                    <a:pt x="5" y="19"/>
                    <a:pt x="5" y="20"/>
                  </a:cubicBezTo>
                  <a:cubicBezTo>
                    <a:pt x="6" y="20"/>
                    <a:pt x="7" y="24"/>
                    <a:pt x="7" y="26"/>
                  </a:cubicBezTo>
                  <a:cubicBezTo>
                    <a:pt x="6" y="28"/>
                    <a:pt x="7" y="29"/>
                    <a:pt x="6" y="30"/>
                  </a:cubicBezTo>
                  <a:cubicBezTo>
                    <a:pt x="6" y="30"/>
                    <a:pt x="3" y="30"/>
                    <a:pt x="3" y="29"/>
                  </a:cubicBezTo>
                  <a:cubicBezTo>
                    <a:pt x="2" y="28"/>
                    <a:pt x="3" y="26"/>
                    <a:pt x="3" y="26"/>
                  </a:cubicBezTo>
                  <a:cubicBezTo>
                    <a:pt x="3" y="24"/>
                    <a:pt x="3" y="22"/>
                    <a:pt x="3" y="2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4" name="Freeform 6322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6878638" y="3955856"/>
              <a:ext cx="240613" cy="214315"/>
            </a:xfrm>
            <a:custGeom>
              <a:avLst/>
              <a:gdLst>
                <a:gd name="T0" fmla="*/ 3 w 40"/>
                <a:gd name="T1" fmla="*/ 9 h 33"/>
                <a:gd name="T2" fmla="*/ 5 w 40"/>
                <a:gd name="T3" fmla="*/ 12 h 33"/>
                <a:gd name="T4" fmla="*/ 8 w 40"/>
                <a:gd name="T5" fmla="*/ 14 h 33"/>
                <a:gd name="T6" fmla="*/ 14 w 40"/>
                <a:gd name="T7" fmla="*/ 13 h 33"/>
                <a:gd name="T8" fmla="*/ 16 w 40"/>
                <a:gd name="T9" fmla="*/ 11 h 33"/>
                <a:gd name="T10" fmla="*/ 21 w 40"/>
                <a:gd name="T11" fmla="*/ 11 h 33"/>
                <a:gd name="T12" fmla="*/ 25 w 40"/>
                <a:gd name="T13" fmla="*/ 6 h 33"/>
                <a:gd name="T14" fmla="*/ 27 w 40"/>
                <a:gd name="T15" fmla="*/ 0 h 33"/>
                <a:gd name="T16" fmla="*/ 33 w 40"/>
                <a:gd name="T17" fmla="*/ 0 h 33"/>
                <a:gd name="T18" fmla="*/ 35 w 40"/>
                <a:gd name="T19" fmla="*/ 1 h 33"/>
                <a:gd name="T20" fmla="*/ 34 w 40"/>
                <a:gd name="T21" fmla="*/ 3 h 33"/>
                <a:gd name="T22" fmla="*/ 36 w 40"/>
                <a:gd name="T23" fmla="*/ 6 h 33"/>
                <a:gd name="T24" fmla="*/ 36 w 40"/>
                <a:gd name="T25" fmla="*/ 9 h 33"/>
                <a:gd name="T26" fmla="*/ 40 w 40"/>
                <a:gd name="T27" fmla="*/ 13 h 33"/>
                <a:gd name="T28" fmla="*/ 35 w 40"/>
                <a:gd name="T29" fmla="*/ 14 h 33"/>
                <a:gd name="T30" fmla="*/ 34 w 40"/>
                <a:gd name="T31" fmla="*/ 19 h 33"/>
                <a:gd name="T32" fmla="*/ 30 w 40"/>
                <a:gd name="T33" fmla="*/ 23 h 33"/>
                <a:gd name="T34" fmla="*/ 31 w 40"/>
                <a:gd name="T35" fmla="*/ 26 h 33"/>
                <a:gd name="T36" fmla="*/ 29 w 40"/>
                <a:gd name="T37" fmla="*/ 31 h 33"/>
                <a:gd name="T38" fmla="*/ 23 w 40"/>
                <a:gd name="T39" fmla="*/ 33 h 33"/>
                <a:gd name="T40" fmla="*/ 22 w 40"/>
                <a:gd name="T41" fmla="*/ 30 h 33"/>
                <a:gd name="T42" fmla="*/ 17 w 40"/>
                <a:gd name="T43" fmla="*/ 29 h 33"/>
                <a:gd name="T44" fmla="*/ 12 w 40"/>
                <a:gd name="T45" fmla="*/ 31 h 33"/>
                <a:gd name="T46" fmla="*/ 11 w 40"/>
                <a:gd name="T47" fmla="*/ 28 h 33"/>
                <a:gd name="T48" fmla="*/ 6 w 40"/>
                <a:gd name="T49" fmla="*/ 28 h 33"/>
                <a:gd name="T50" fmla="*/ 5 w 40"/>
                <a:gd name="T51" fmla="*/ 22 h 33"/>
                <a:gd name="T52" fmla="*/ 2 w 40"/>
                <a:gd name="T53" fmla="*/ 18 h 33"/>
                <a:gd name="T54" fmla="*/ 0 w 40"/>
                <a:gd name="T55" fmla="*/ 13 h 33"/>
                <a:gd name="T56" fmla="*/ 3 w 40"/>
                <a:gd name="T57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" h="33">
                  <a:moveTo>
                    <a:pt x="3" y="9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6" y="14"/>
                    <a:pt x="8" y="14"/>
                  </a:cubicBezTo>
                  <a:cubicBezTo>
                    <a:pt x="9" y="14"/>
                    <a:pt x="14" y="14"/>
                    <a:pt x="14" y="13"/>
                  </a:cubicBezTo>
                  <a:cubicBezTo>
                    <a:pt x="14" y="12"/>
                    <a:pt x="14" y="10"/>
                    <a:pt x="16" y="11"/>
                  </a:cubicBezTo>
                  <a:cubicBezTo>
                    <a:pt x="17" y="11"/>
                    <a:pt x="20" y="12"/>
                    <a:pt x="21" y="11"/>
                  </a:cubicBezTo>
                  <a:cubicBezTo>
                    <a:pt x="22" y="11"/>
                    <a:pt x="25" y="7"/>
                    <a:pt x="25" y="6"/>
                  </a:cubicBezTo>
                  <a:cubicBezTo>
                    <a:pt x="25" y="5"/>
                    <a:pt x="26" y="1"/>
                    <a:pt x="27" y="0"/>
                  </a:cubicBezTo>
                  <a:cubicBezTo>
                    <a:pt x="28" y="0"/>
                    <a:pt x="31" y="0"/>
                    <a:pt x="33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2"/>
                    <a:pt x="34" y="3"/>
                    <a:pt x="34" y="3"/>
                  </a:cubicBezTo>
                  <a:cubicBezTo>
                    <a:pt x="32" y="4"/>
                    <a:pt x="35" y="6"/>
                    <a:pt x="36" y="6"/>
                  </a:cubicBezTo>
                  <a:cubicBezTo>
                    <a:pt x="37" y="7"/>
                    <a:pt x="36" y="8"/>
                    <a:pt x="36" y="9"/>
                  </a:cubicBezTo>
                  <a:cubicBezTo>
                    <a:pt x="35" y="10"/>
                    <a:pt x="40" y="12"/>
                    <a:pt x="40" y="13"/>
                  </a:cubicBezTo>
                  <a:cubicBezTo>
                    <a:pt x="40" y="14"/>
                    <a:pt x="36" y="13"/>
                    <a:pt x="35" y="14"/>
                  </a:cubicBezTo>
                  <a:cubicBezTo>
                    <a:pt x="34" y="14"/>
                    <a:pt x="34" y="18"/>
                    <a:pt x="34" y="19"/>
                  </a:cubicBezTo>
                  <a:cubicBezTo>
                    <a:pt x="34" y="21"/>
                    <a:pt x="31" y="22"/>
                    <a:pt x="30" y="23"/>
                  </a:cubicBezTo>
                  <a:cubicBezTo>
                    <a:pt x="30" y="23"/>
                    <a:pt x="31" y="25"/>
                    <a:pt x="31" y="26"/>
                  </a:cubicBezTo>
                  <a:cubicBezTo>
                    <a:pt x="31" y="27"/>
                    <a:pt x="29" y="30"/>
                    <a:pt x="29" y="31"/>
                  </a:cubicBezTo>
                  <a:cubicBezTo>
                    <a:pt x="28" y="31"/>
                    <a:pt x="23" y="33"/>
                    <a:pt x="23" y="33"/>
                  </a:cubicBezTo>
                  <a:cubicBezTo>
                    <a:pt x="22" y="33"/>
                    <a:pt x="22" y="31"/>
                    <a:pt x="22" y="30"/>
                  </a:cubicBezTo>
                  <a:cubicBezTo>
                    <a:pt x="22" y="29"/>
                    <a:pt x="18" y="29"/>
                    <a:pt x="17" y="29"/>
                  </a:cubicBezTo>
                  <a:cubicBezTo>
                    <a:pt x="17" y="28"/>
                    <a:pt x="13" y="31"/>
                    <a:pt x="12" y="31"/>
                  </a:cubicBezTo>
                  <a:cubicBezTo>
                    <a:pt x="11" y="30"/>
                    <a:pt x="12" y="28"/>
                    <a:pt x="11" y="28"/>
                  </a:cubicBezTo>
                  <a:cubicBezTo>
                    <a:pt x="11" y="27"/>
                    <a:pt x="6" y="28"/>
                    <a:pt x="6" y="28"/>
                  </a:cubicBezTo>
                  <a:cubicBezTo>
                    <a:pt x="5" y="28"/>
                    <a:pt x="5" y="23"/>
                    <a:pt x="5" y="22"/>
                  </a:cubicBezTo>
                  <a:cubicBezTo>
                    <a:pt x="5" y="21"/>
                    <a:pt x="2" y="19"/>
                    <a:pt x="2" y="18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1"/>
                    <a:pt x="2" y="10"/>
                    <a:pt x="3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5" name="Freeform 6323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6800517" y="4210356"/>
              <a:ext cx="318735" cy="83717"/>
            </a:xfrm>
            <a:custGeom>
              <a:avLst/>
              <a:gdLst>
                <a:gd name="T0" fmla="*/ 1 w 53"/>
                <a:gd name="T1" fmla="*/ 4 h 13"/>
                <a:gd name="T2" fmla="*/ 6 w 53"/>
                <a:gd name="T3" fmla="*/ 1 h 13"/>
                <a:gd name="T4" fmla="*/ 9 w 53"/>
                <a:gd name="T5" fmla="*/ 1 h 13"/>
                <a:gd name="T6" fmla="*/ 13 w 53"/>
                <a:gd name="T7" fmla="*/ 4 h 13"/>
                <a:gd name="T8" fmla="*/ 20 w 53"/>
                <a:gd name="T9" fmla="*/ 4 h 13"/>
                <a:gd name="T10" fmla="*/ 22 w 53"/>
                <a:gd name="T11" fmla="*/ 3 h 13"/>
                <a:gd name="T12" fmla="*/ 27 w 53"/>
                <a:gd name="T13" fmla="*/ 4 h 13"/>
                <a:gd name="T14" fmla="*/ 29 w 53"/>
                <a:gd name="T15" fmla="*/ 7 h 13"/>
                <a:gd name="T16" fmla="*/ 35 w 53"/>
                <a:gd name="T17" fmla="*/ 7 h 13"/>
                <a:gd name="T18" fmla="*/ 39 w 53"/>
                <a:gd name="T19" fmla="*/ 9 h 13"/>
                <a:gd name="T20" fmla="*/ 45 w 53"/>
                <a:gd name="T21" fmla="*/ 10 h 13"/>
                <a:gd name="T22" fmla="*/ 50 w 53"/>
                <a:gd name="T23" fmla="*/ 10 h 13"/>
                <a:gd name="T24" fmla="*/ 53 w 53"/>
                <a:gd name="T25" fmla="*/ 11 h 13"/>
                <a:gd name="T26" fmla="*/ 50 w 53"/>
                <a:gd name="T27" fmla="*/ 13 h 13"/>
                <a:gd name="T28" fmla="*/ 42 w 53"/>
                <a:gd name="T29" fmla="*/ 13 h 13"/>
                <a:gd name="T30" fmla="*/ 36 w 53"/>
                <a:gd name="T31" fmla="*/ 12 h 13"/>
                <a:gd name="T32" fmla="*/ 28 w 53"/>
                <a:gd name="T33" fmla="*/ 11 h 13"/>
                <a:gd name="T34" fmla="*/ 20 w 53"/>
                <a:gd name="T35" fmla="*/ 10 h 13"/>
                <a:gd name="T36" fmla="*/ 14 w 53"/>
                <a:gd name="T37" fmla="*/ 8 h 13"/>
                <a:gd name="T38" fmla="*/ 5 w 53"/>
                <a:gd name="T39" fmla="*/ 7 h 13"/>
                <a:gd name="T40" fmla="*/ 1 w 53"/>
                <a:gd name="T4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13">
                  <a:moveTo>
                    <a:pt x="1" y="4"/>
                  </a:moveTo>
                  <a:cubicBezTo>
                    <a:pt x="3" y="4"/>
                    <a:pt x="6" y="2"/>
                    <a:pt x="6" y="1"/>
                  </a:cubicBezTo>
                  <a:cubicBezTo>
                    <a:pt x="6" y="0"/>
                    <a:pt x="9" y="1"/>
                    <a:pt x="9" y="1"/>
                  </a:cubicBezTo>
                  <a:cubicBezTo>
                    <a:pt x="11" y="2"/>
                    <a:pt x="11" y="4"/>
                    <a:pt x="13" y="4"/>
                  </a:cubicBezTo>
                  <a:cubicBezTo>
                    <a:pt x="14" y="4"/>
                    <a:pt x="18" y="4"/>
                    <a:pt x="20" y="4"/>
                  </a:cubicBezTo>
                  <a:cubicBezTo>
                    <a:pt x="21" y="4"/>
                    <a:pt x="20" y="3"/>
                    <a:pt x="22" y="3"/>
                  </a:cubicBezTo>
                  <a:cubicBezTo>
                    <a:pt x="24" y="3"/>
                    <a:pt x="26" y="3"/>
                    <a:pt x="27" y="4"/>
                  </a:cubicBezTo>
                  <a:cubicBezTo>
                    <a:pt x="29" y="5"/>
                    <a:pt x="27" y="7"/>
                    <a:pt x="29" y="7"/>
                  </a:cubicBezTo>
                  <a:cubicBezTo>
                    <a:pt x="30" y="7"/>
                    <a:pt x="34" y="6"/>
                    <a:pt x="35" y="7"/>
                  </a:cubicBezTo>
                  <a:cubicBezTo>
                    <a:pt x="36" y="8"/>
                    <a:pt x="38" y="9"/>
                    <a:pt x="39" y="9"/>
                  </a:cubicBezTo>
                  <a:cubicBezTo>
                    <a:pt x="40" y="9"/>
                    <a:pt x="43" y="10"/>
                    <a:pt x="45" y="10"/>
                  </a:cubicBezTo>
                  <a:cubicBezTo>
                    <a:pt x="47" y="10"/>
                    <a:pt x="48" y="10"/>
                    <a:pt x="50" y="10"/>
                  </a:cubicBezTo>
                  <a:cubicBezTo>
                    <a:pt x="51" y="10"/>
                    <a:pt x="53" y="9"/>
                    <a:pt x="53" y="11"/>
                  </a:cubicBezTo>
                  <a:cubicBezTo>
                    <a:pt x="53" y="12"/>
                    <a:pt x="52" y="13"/>
                    <a:pt x="50" y="13"/>
                  </a:cubicBezTo>
                  <a:cubicBezTo>
                    <a:pt x="48" y="13"/>
                    <a:pt x="44" y="13"/>
                    <a:pt x="42" y="13"/>
                  </a:cubicBezTo>
                  <a:cubicBezTo>
                    <a:pt x="41" y="13"/>
                    <a:pt x="38" y="11"/>
                    <a:pt x="36" y="12"/>
                  </a:cubicBezTo>
                  <a:cubicBezTo>
                    <a:pt x="34" y="12"/>
                    <a:pt x="30" y="11"/>
                    <a:pt x="28" y="11"/>
                  </a:cubicBezTo>
                  <a:cubicBezTo>
                    <a:pt x="25" y="11"/>
                    <a:pt x="22" y="11"/>
                    <a:pt x="20" y="10"/>
                  </a:cubicBezTo>
                  <a:cubicBezTo>
                    <a:pt x="18" y="9"/>
                    <a:pt x="16" y="8"/>
                    <a:pt x="14" y="8"/>
                  </a:cubicBezTo>
                  <a:cubicBezTo>
                    <a:pt x="11" y="8"/>
                    <a:pt x="7" y="7"/>
                    <a:pt x="5" y="7"/>
                  </a:cubicBezTo>
                  <a:cubicBezTo>
                    <a:pt x="3" y="6"/>
                    <a:pt x="0" y="5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6" name="Freeform 6324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6559903" y="3919021"/>
              <a:ext cx="259363" cy="298033"/>
            </a:xfrm>
            <a:custGeom>
              <a:avLst/>
              <a:gdLst>
                <a:gd name="T0" fmla="*/ 4 w 43"/>
                <a:gd name="T1" fmla="*/ 7 h 46"/>
                <a:gd name="T2" fmla="*/ 1 w 43"/>
                <a:gd name="T3" fmla="*/ 2 h 46"/>
                <a:gd name="T4" fmla="*/ 5 w 43"/>
                <a:gd name="T5" fmla="*/ 2 h 46"/>
                <a:gd name="T6" fmla="*/ 11 w 43"/>
                <a:gd name="T7" fmla="*/ 4 h 46"/>
                <a:gd name="T8" fmla="*/ 15 w 43"/>
                <a:gd name="T9" fmla="*/ 9 h 46"/>
                <a:gd name="T10" fmla="*/ 22 w 43"/>
                <a:gd name="T11" fmla="*/ 14 h 46"/>
                <a:gd name="T12" fmla="*/ 29 w 43"/>
                <a:gd name="T13" fmla="*/ 19 h 46"/>
                <a:gd name="T14" fmla="*/ 33 w 43"/>
                <a:gd name="T15" fmla="*/ 21 h 46"/>
                <a:gd name="T16" fmla="*/ 33 w 43"/>
                <a:gd name="T17" fmla="*/ 26 h 46"/>
                <a:gd name="T18" fmla="*/ 37 w 43"/>
                <a:gd name="T19" fmla="*/ 27 h 46"/>
                <a:gd name="T20" fmla="*/ 37 w 43"/>
                <a:gd name="T21" fmla="*/ 32 h 46"/>
                <a:gd name="T22" fmla="*/ 41 w 43"/>
                <a:gd name="T23" fmla="*/ 31 h 46"/>
                <a:gd name="T24" fmla="*/ 42 w 43"/>
                <a:gd name="T25" fmla="*/ 36 h 46"/>
                <a:gd name="T26" fmla="*/ 42 w 43"/>
                <a:gd name="T27" fmla="*/ 46 h 46"/>
                <a:gd name="T28" fmla="*/ 36 w 43"/>
                <a:gd name="T29" fmla="*/ 45 h 46"/>
                <a:gd name="T30" fmla="*/ 27 w 43"/>
                <a:gd name="T31" fmla="*/ 37 h 46"/>
                <a:gd name="T32" fmla="*/ 21 w 43"/>
                <a:gd name="T33" fmla="*/ 25 h 46"/>
                <a:gd name="T34" fmla="*/ 16 w 43"/>
                <a:gd name="T35" fmla="*/ 22 h 46"/>
                <a:gd name="T36" fmla="*/ 14 w 43"/>
                <a:gd name="T37" fmla="*/ 16 h 46"/>
                <a:gd name="T38" fmla="*/ 11 w 43"/>
                <a:gd name="T39" fmla="*/ 13 h 46"/>
                <a:gd name="T40" fmla="*/ 8 w 43"/>
                <a:gd name="T41" fmla="*/ 9 h 46"/>
                <a:gd name="T42" fmla="*/ 4 w 43"/>
                <a:gd name="T43" fmla="*/ 7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" h="46">
                  <a:moveTo>
                    <a:pt x="4" y="7"/>
                  </a:moveTo>
                  <a:cubicBezTo>
                    <a:pt x="3" y="6"/>
                    <a:pt x="0" y="2"/>
                    <a:pt x="1" y="2"/>
                  </a:cubicBezTo>
                  <a:cubicBezTo>
                    <a:pt x="2" y="0"/>
                    <a:pt x="4" y="2"/>
                    <a:pt x="5" y="2"/>
                  </a:cubicBezTo>
                  <a:cubicBezTo>
                    <a:pt x="6" y="2"/>
                    <a:pt x="10" y="2"/>
                    <a:pt x="11" y="4"/>
                  </a:cubicBezTo>
                  <a:cubicBezTo>
                    <a:pt x="11" y="4"/>
                    <a:pt x="14" y="8"/>
                    <a:pt x="15" y="9"/>
                  </a:cubicBezTo>
                  <a:cubicBezTo>
                    <a:pt x="15" y="9"/>
                    <a:pt x="20" y="13"/>
                    <a:pt x="22" y="14"/>
                  </a:cubicBezTo>
                  <a:cubicBezTo>
                    <a:pt x="24" y="15"/>
                    <a:pt x="28" y="18"/>
                    <a:pt x="29" y="19"/>
                  </a:cubicBezTo>
                  <a:cubicBezTo>
                    <a:pt x="30" y="20"/>
                    <a:pt x="33" y="21"/>
                    <a:pt x="33" y="21"/>
                  </a:cubicBezTo>
                  <a:cubicBezTo>
                    <a:pt x="33" y="22"/>
                    <a:pt x="32" y="25"/>
                    <a:pt x="33" y="26"/>
                  </a:cubicBezTo>
                  <a:cubicBezTo>
                    <a:pt x="34" y="26"/>
                    <a:pt x="36" y="26"/>
                    <a:pt x="37" y="27"/>
                  </a:cubicBezTo>
                  <a:cubicBezTo>
                    <a:pt x="37" y="29"/>
                    <a:pt x="35" y="31"/>
                    <a:pt x="37" y="32"/>
                  </a:cubicBezTo>
                  <a:cubicBezTo>
                    <a:pt x="39" y="32"/>
                    <a:pt x="40" y="31"/>
                    <a:pt x="41" y="31"/>
                  </a:cubicBezTo>
                  <a:cubicBezTo>
                    <a:pt x="42" y="32"/>
                    <a:pt x="42" y="35"/>
                    <a:pt x="42" y="36"/>
                  </a:cubicBezTo>
                  <a:cubicBezTo>
                    <a:pt x="42" y="38"/>
                    <a:pt x="43" y="45"/>
                    <a:pt x="42" y="46"/>
                  </a:cubicBezTo>
                  <a:cubicBezTo>
                    <a:pt x="41" y="46"/>
                    <a:pt x="37" y="45"/>
                    <a:pt x="36" y="45"/>
                  </a:cubicBezTo>
                  <a:cubicBezTo>
                    <a:pt x="35" y="44"/>
                    <a:pt x="28" y="40"/>
                    <a:pt x="27" y="37"/>
                  </a:cubicBezTo>
                  <a:cubicBezTo>
                    <a:pt x="26" y="35"/>
                    <a:pt x="22" y="26"/>
                    <a:pt x="21" y="25"/>
                  </a:cubicBezTo>
                  <a:cubicBezTo>
                    <a:pt x="19" y="24"/>
                    <a:pt x="16" y="23"/>
                    <a:pt x="16" y="22"/>
                  </a:cubicBezTo>
                  <a:cubicBezTo>
                    <a:pt x="16" y="21"/>
                    <a:pt x="16" y="18"/>
                    <a:pt x="14" y="16"/>
                  </a:cubicBezTo>
                  <a:cubicBezTo>
                    <a:pt x="13" y="14"/>
                    <a:pt x="13" y="15"/>
                    <a:pt x="11" y="13"/>
                  </a:cubicBezTo>
                  <a:cubicBezTo>
                    <a:pt x="9" y="12"/>
                    <a:pt x="9" y="10"/>
                    <a:pt x="8" y="9"/>
                  </a:cubicBezTo>
                  <a:cubicBezTo>
                    <a:pt x="7" y="9"/>
                    <a:pt x="4" y="7"/>
                    <a:pt x="4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7" name="Freeform 632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6494281" y="3329653"/>
              <a:ext cx="203115" cy="465466"/>
            </a:xfrm>
            <a:custGeom>
              <a:avLst/>
              <a:gdLst>
                <a:gd name="T0" fmla="*/ 0 w 34"/>
                <a:gd name="T1" fmla="*/ 30 h 72"/>
                <a:gd name="T2" fmla="*/ 2 w 34"/>
                <a:gd name="T3" fmla="*/ 30 h 72"/>
                <a:gd name="T4" fmla="*/ 2 w 34"/>
                <a:gd name="T5" fmla="*/ 27 h 72"/>
                <a:gd name="T6" fmla="*/ 4 w 34"/>
                <a:gd name="T7" fmla="*/ 27 h 72"/>
                <a:gd name="T8" fmla="*/ 5 w 34"/>
                <a:gd name="T9" fmla="*/ 19 h 72"/>
                <a:gd name="T10" fmla="*/ 8 w 34"/>
                <a:gd name="T11" fmla="*/ 19 h 72"/>
                <a:gd name="T12" fmla="*/ 11 w 34"/>
                <a:gd name="T13" fmla="*/ 12 h 72"/>
                <a:gd name="T14" fmla="*/ 12 w 34"/>
                <a:gd name="T15" fmla="*/ 9 h 72"/>
                <a:gd name="T16" fmla="*/ 16 w 34"/>
                <a:gd name="T17" fmla="*/ 6 h 72"/>
                <a:gd name="T18" fmla="*/ 18 w 34"/>
                <a:gd name="T19" fmla="*/ 6 h 72"/>
                <a:gd name="T20" fmla="*/ 20 w 34"/>
                <a:gd name="T21" fmla="*/ 3 h 72"/>
                <a:gd name="T22" fmla="*/ 19 w 34"/>
                <a:gd name="T23" fmla="*/ 1 h 72"/>
                <a:gd name="T24" fmla="*/ 21 w 34"/>
                <a:gd name="T25" fmla="*/ 0 h 72"/>
                <a:gd name="T26" fmla="*/ 23 w 34"/>
                <a:gd name="T27" fmla="*/ 3 h 72"/>
                <a:gd name="T28" fmla="*/ 25 w 34"/>
                <a:gd name="T29" fmla="*/ 4 h 72"/>
                <a:gd name="T30" fmla="*/ 25 w 34"/>
                <a:gd name="T31" fmla="*/ 11 h 72"/>
                <a:gd name="T32" fmla="*/ 21 w 34"/>
                <a:gd name="T33" fmla="*/ 16 h 72"/>
                <a:gd name="T34" fmla="*/ 21 w 34"/>
                <a:gd name="T35" fmla="*/ 19 h 72"/>
                <a:gd name="T36" fmla="*/ 24 w 34"/>
                <a:gd name="T37" fmla="*/ 19 h 72"/>
                <a:gd name="T38" fmla="*/ 25 w 34"/>
                <a:gd name="T39" fmla="*/ 20 h 72"/>
                <a:gd name="T40" fmla="*/ 28 w 34"/>
                <a:gd name="T41" fmla="*/ 23 h 72"/>
                <a:gd name="T42" fmla="*/ 27 w 34"/>
                <a:gd name="T43" fmla="*/ 26 h 72"/>
                <a:gd name="T44" fmla="*/ 30 w 34"/>
                <a:gd name="T45" fmla="*/ 28 h 72"/>
                <a:gd name="T46" fmla="*/ 32 w 34"/>
                <a:gd name="T47" fmla="*/ 28 h 72"/>
                <a:gd name="T48" fmla="*/ 34 w 34"/>
                <a:gd name="T49" fmla="*/ 30 h 72"/>
                <a:gd name="T50" fmla="*/ 32 w 34"/>
                <a:gd name="T51" fmla="*/ 31 h 72"/>
                <a:gd name="T52" fmla="*/ 31 w 34"/>
                <a:gd name="T53" fmla="*/ 34 h 72"/>
                <a:gd name="T54" fmla="*/ 31 w 34"/>
                <a:gd name="T55" fmla="*/ 34 h 72"/>
                <a:gd name="T56" fmla="*/ 28 w 34"/>
                <a:gd name="T57" fmla="*/ 34 h 72"/>
                <a:gd name="T58" fmla="*/ 25 w 34"/>
                <a:gd name="T59" fmla="*/ 36 h 72"/>
                <a:gd name="T60" fmla="*/ 22 w 34"/>
                <a:gd name="T61" fmla="*/ 37 h 72"/>
                <a:gd name="T62" fmla="*/ 21 w 34"/>
                <a:gd name="T63" fmla="*/ 42 h 72"/>
                <a:gd name="T64" fmla="*/ 25 w 34"/>
                <a:gd name="T65" fmla="*/ 48 h 72"/>
                <a:gd name="T66" fmla="*/ 25 w 34"/>
                <a:gd name="T67" fmla="*/ 54 h 72"/>
                <a:gd name="T68" fmla="*/ 25 w 34"/>
                <a:gd name="T69" fmla="*/ 58 h 72"/>
                <a:gd name="T70" fmla="*/ 27 w 34"/>
                <a:gd name="T71" fmla="*/ 62 h 72"/>
                <a:gd name="T72" fmla="*/ 27 w 34"/>
                <a:gd name="T73" fmla="*/ 67 h 72"/>
                <a:gd name="T74" fmla="*/ 23 w 34"/>
                <a:gd name="T75" fmla="*/ 72 h 72"/>
                <a:gd name="T76" fmla="*/ 24 w 34"/>
                <a:gd name="T77" fmla="*/ 66 h 72"/>
                <a:gd name="T78" fmla="*/ 23 w 34"/>
                <a:gd name="T79" fmla="*/ 61 h 72"/>
                <a:gd name="T80" fmla="*/ 22 w 34"/>
                <a:gd name="T81" fmla="*/ 56 h 72"/>
                <a:gd name="T82" fmla="*/ 20 w 34"/>
                <a:gd name="T83" fmla="*/ 50 h 72"/>
                <a:gd name="T84" fmla="*/ 19 w 34"/>
                <a:gd name="T85" fmla="*/ 46 h 72"/>
                <a:gd name="T86" fmla="*/ 17 w 34"/>
                <a:gd name="T87" fmla="*/ 49 h 72"/>
                <a:gd name="T88" fmla="*/ 12 w 34"/>
                <a:gd name="T89" fmla="*/ 53 h 72"/>
                <a:gd name="T90" fmla="*/ 8 w 34"/>
                <a:gd name="T91" fmla="*/ 51 h 72"/>
                <a:gd name="T92" fmla="*/ 9 w 34"/>
                <a:gd name="T93" fmla="*/ 42 h 72"/>
                <a:gd name="T94" fmla="*/ 6 w 34"/>
                <a:gd name="T95" fmla="*/ 36 h 72"/>
                <a:gd name="T96" fmla="*/ 2 w 34"/>
                <a:gd name="T97" fmla="*/ 34 h 72"/>
                <a:gd name="T98" fmla="*/ 0 w 34"/>
                <a:gd name="T99" fmla="*/ 3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" h="72">
                  <a:moveTo>
                    <a:pt x="0" y="30"/>
                  </a:move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28"/>
                    <a:pt x="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5" y="20"/>
                    <a:pt x="5" y="19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8" y="19"/>
                    <a:pt x="11" y="12"/>
                    <a:pt x="11" y="12"/>
                  </a:cubicBezTo>
                  <a:cubicBezTo>
                    <a:pt x="11" y="11"/>
                    <a:pt x="11" y="9"/>
                    <a:pt x="12" y="9"/>
                  </a:cubicBezTo>
                  <a:cubicBezTo>
                    <a:pt x="12" y="8"/>
                    <a:pt x="15" y="6"/>
                    <a:pt x="16" y="6"/>
                  </a:cubicBezTo>
                  <a:cubicBezTo>
                    <a:pt x="16" y="6"/>
                    <a:pt x="18" y="7"/>
                    <a:pt x="18" y="6"/>
                  </a:cubicBezTo>
                  <a:cubicBezTo>
                    <a:pt x="19" y="6"/>
                    <a:pt x="20" y="3"/>
                    <a:pt x="20" y="3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0" y="0"/>
                    <a:pt x="21" y="0"/>
                  </a:cubicBezTo>
                  <a:cubicBezTo>
                    <a:pt x="23" y="1"/>
                    <a:pt x="23" y="3"/>
                    <a:pt x="23" y="3"/>
                  </a:cubicBezTo>
                  <a:cubicBezTo>
                    <a:pt x="24" y="4"/>
                    <a:pt x="25" y="3"/>
                    <a:pt x="25" y="4"/>
                  </a:cubicBezTo>
                  <a:cubicBezTo>
                    <a:pt x="26" y="5"/>
                    <a:pt x="25" y="10"/>
                    <a:pt x="25" y="11"/>
                  </a:cubicBezTo>
                  <a:cubicBezTo>
                    <a:pt x="25" y="12"/>
                    <a:pt x="21" y="15"/>
                    <a:pt x="21" y="16"/>
                  </a:cubicBezTo>
                  <a:cubicBezTo>
                    <a:pt x="20" y="17"/>
                    <a:pt x="20" y="19"/>
                    <a:pt x="21" y="19"/>
                  </a:cubicBezTo>
                  <a:cubicBezTo>
                    <a:pt x="22" y="20"/>
                    <a:pt x="23" y="19"/>
                    <a:pt x="24" y="19"/>
                  </a:cubicBezTo>
                  <a:cubicBezTo>
                    <a:pt x="25" y="19"/>
                    <a:pt x="25" y="19"/>
                    <a:pt x="25" y="20"/>
                  </a:cubicBezTo>
                  <a:cubicBezTo>
                    <a:pt x="25" y="21"/>
                    <a:pt x="27" y="22"/>
                    <a:pt x="28" y="23"/>
                  </a:cubicBezTo>
                  <a:cubicBezTo>
                    <a:pt x="29" y="23"/>
                    <a:pt x="26" y="25"/>
                    <a:pt x="27" y="26"/>
                  </a:cubicBezTo>
                  <a:cubicBezTo>
                    <a:pt x="28" y="27"/>
                    <a:pt x="29" y="28"/>
                    <a:pt x="30" y="28"/>
                  </a:cubicBezTo>
                  <a:cubicBezTo>
                    <a:pt x="31" y="28"/>
                    <a:pt x="32" y="28"/>
                    <a:pt x="32" y="28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2" y="31"/>
                    <a:pt x="32" y="3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34"/>
                    <a:pt x="29" y="34"/>
                    <a:pt x="28" y="34"/>
                  </a:cubicBezTo>
                  <a:cubicBezTo>
                    <a:pt x="27" y="35"/>
                    <a:pt x="26" y="36"/>
                    <a:pt x="25" y="36"/>
                  </a:cubicBezTo>
                  <a:cubicBezTo>
                    <a:pt x="25" y="36"/>
                    <a:pt x="23" y="36"/>
                    <a:pt x="22" y="37"/>
                  </a:cubicBezTo>
                  <a:cubicBezTo>
                    <a:pt x="22" y="38"/>
                    <a:pt x="21" y="41"/>
                    <a:pt x="21" y="42"/>
                  </a:cubicBezTo>
                  <a:cubicBezTo>
                    <a:pt x="20" y="43"/>
                    <a:pt x="25" y="47"/>
                    <a:pt x="25" y="48"/>
                  </a:cubicBezTo>
                  <a:cubicBezTo>
                    <a:pt x="25" y="50"/>
                    <a:pt x="25" y="53"/>
                    <a:pt x="25" y="54"/>
                  </a:cubicBezTo>
                  <a:cubicBezTo>
                    <a:pt x="25" y="55"/>
                    <a:pt x="25" y="57"/>
                    <a:pt x="25" y="58"/>
                  </a:cubicBezTo>
                  <a:cubicBezTo>
                    <a:pt x="26" y="59"/>
                    <a:pt x="27" y="62"/>
                    <a:pt x="27" y="62"/>
                  </a:cubicBezTo>
                  <a:cubicBezTo>
                    <a:pt x="27" y="63"/>
                    <a:pt x="27" y="66"/>
                    <a:pt x="27" y="6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0"/>
                    <a:pt x="24" y="68"/>
                    <a:pt x="24" y="66"/>
                  </a:cubicBezTo>
                  <a:cubicBezTo>
                    <a:pt x="24" y="64"/>
                    <a:pt x="24" y="63"/>
                    <a:pt x="23" y="61"/>
                  </a:cubicBezTo>
                  <a:cubicBezTo>
                    <a:pt x="22" y="59"/>
                    <a:pt x="22" y="58"/>
                    <a:pt x="22" y="56"/>
                  </a:cubicBezTo>
                  <a:cubicBezTo>
                    <a:pt x="22" y="55"/>
                    <a:pt x="22" y="52"/>
                    <a:pt x="20" y="50"/>
                  </a:cubicBezTo>
                  <a:cubicBezTo>
                    <a:pt x="19" y="48"/>
                    <a:pt x="19" y="46"/>
                    <a:pt x="19" y="46"/>
                  </a:cubicBezTo>
                  <a:cubicBezTo>
                    <a:pt x="18" y="46"/>
                    <a:pt x="18" y="48"/>
                    <a:pt x="17" y="49"/>
                  </a:cubicBezTo>
                  <a:cubicBezTo>
                    <a:pt x="16" y="49"/>
                    <a:pt x="13" y="53"/>
                    <a:pt x="12" y="53"/>
                  </a:cubicBezTo>
                  <a:cubicBezTo>
                    <a:pt x="12" y="53"/>
                    <a:pt x="8" y="51"/>
                    <a:pt x="8" y="51"/>
                  </a:cubicBezTo>
                  <a:cubicBezTo>
                    <a:pt x="7" y="50"/>
                    <a:pt x="10" y="44"/>
                    <a:pt x="9" y="42"/>
                  </a:cubicBezTo>
                  <a:cubicBezTo>
                    <a:pt x="8" y="40"/>
                    <a:pt x="7" y="37"/>
                    <a:pt x="6" y="36"/>
                  </a:cubicBezTo>
                  <a:cubicBezTo>
                    <a:pt x="5" y="35"/>
                    <a:pt x="3" y="34"/>
                    <a:pt x="2" y="34"/>
                  </a:cubicBezTo>
                  <a:cubicBezTo>
                    <a:pt x="2" y="33"/>
                    <a:pt x="0" y="31"/>
                    <a:pt x="0" y="3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8" name="Freeform 632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6391161" y="3386582"/>
              <a:ext cx="112495" cy="137296"/>
            </a:xfrm>
            <a:custGeom>
              <a:avLst/>
              <a:gdLst>
                <a:gd name="T0" fmla="*/ 4 w 19"/>
                <a:gd name="T1" fmla="*/ 5 h 21"/>
                <a:gd name="T2" fmla="*/ 2 w 19"/>
                <a:gd name="T3" fmla="*/ 3 h 21"/>
                <a:gd name="T4" fmla="*/ 3 w 19"/>
                <a:gd name="T5" fmla="*/ 0 h 21"/>
                <a:gd name="T6" fmla="*/ 7 w 19"/>
                <a:gd name="T7" fmla="*/ 2 h 21"/>
                <a:gd name="T8" fmla="*/ 8 w 19"/>
                <a:gd name="T9" fmla="*/ 5 h 21"/>
                <a:gd name="T10" fmla="*/ 18 w 19"/>
                <a:gd name="T11" fmla="*/ 6 h 21"/>
                <a:gd name="T12" fmla="*/ 16 w 19"/>
                <a:gd name="T13" fmla="*/ 9 h 21"/>
                <a:gd name="T14" fmla="*/ 14 w 19"/>
                <a:gd name="T15" fmla="*/ 11 h 21"/>
                <a:gd name="T16" fmla="*/ 16 w 19"/>
                <a:gd name="T17" fmla="*/ 13 h 21"/>
                <a:gd name="T18" fmla="*/ 18 w 19"/>
                <a:gd name="T19" fmla="*/ 12 h 21"/>
                <a:gd name="T20" fmla="*/ 19 w 19"/>
                <a:gd name="T21" fmla="*/ 18 h 21"/>
                <a:gd name="T22" fmla="*/ 19 w 19"/>
                <a:gd name="T23" fmla="*/ 21 h 21"/>
                <a:gd name="T24" fmla="*/ 17 w 19"/>
                <a:gd name="T25" fmla="*/ 21 h 21"/>
                <a:gd name="T26" fmla="*/ 16 w 19"/>
                <a:gd name="T27" fmla="*/ 21 h 21"/>
                <a:gd name="T28" fmla="*/ 15 w 19"/>
                <a:gd name="T29" fmla="*/ 16 h 21"/>
                <a:gd name="T30" fmla="*/ 11 w 19"/>
                <a:gd name="T31" fmla="*/ 13 h 21"/>
                <a:gd name="T32" fmla="*/ 10 w 19"/>
                <a:gd name="T33" fmla="*/ 17 h 21"/>
                <a:gd name="T34" fmla="*/ 6 w 19"/>
                <a:gd name="T35" fmla="*/ 19 h 21"/>
                <a:gd name="T36" fmla="*/ 4 w 19"/>
                <a:gd name="T37" fmla="*/ 19 h 21"/>
                <a:gd name="T38" fmla="*/ 4 w 19"/>
                <a:gd name="T39" fmla="*/ 19 h 21"/>
                <a:gd name="T40" fmla="*/ 4 w 19"/>
                <a:gd name="T41" fmla="*/ 16 h 21"/>
                <a:gd name="T42" fmla="*/ 3 w 19"/>
                <a:gd name="T43" fmla="*/ 13 h 21"/>
                <a:gd name="T44" fmla="*/ 3 w 19"/>
                <a:gd name="T45" fmla="*/ 10 h 21"/>
                <a:gd name="T46" fmla="*/ 0 w 19"/>
                <a:gd name="T47" fmla="*/ 8 h 21"/>
                <a:gd name="T48" fmla="*/ 4 w 19"/>
                <a:gd name="T49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" h="21">
                  <a:moveTo>
                    <a:pt x="4" y="5"/>
                  </a:moveTo>
                  <a:cubicBezTo>
                    <a:pt x="4" y="5"/>
                    <a:pt x="1" y="3"/>
                    <a:pt x="2" y="3"/>
                  </a:cubicBezTo>
                  <a:cubicBezTo>
                    <a:pt x="2" y="3"/>
                    <a:pt x="3" y="0"/>
                    <a:pt x="3" y="0"/>
                  </a:cubicBezTo>
                  <a:cubicBezTo>
                    <a:pt x="4" y="0"/>
                    <a:pt x="7" y="1"/>
                    <a:pt x="7" y="2"/>
                  </a:cubicBezTo>
                  <a:cubicBezTo>
                    <a:pt x="8" y="2"/>
                    <a:pt x="7" y="5"/>
                    <a:pt x="8" y="5"/>
                  </a:cubicBezTo>
                  <a:cubicBezTo>
                    <a:pt x="9" y="5"/>
                    <a:pt x="17" y="5"/>
                    <a:pt x="18" y="6"/>
                  </a:cubicBezTo>
                  <a:cubicBezTo>
                    <a:pt x="18" y="6"/>
                    <a:pt x="16" y="9"/>
                    <a:pt x="16" y="9"/>
                  </a:cubicBezTo>
                  <a:cubicBezTo>
                    <a:pt x="15" y="9"/>
                    <a:pt x="13" y="10"/>
                    <a:pt x="14" y="11"/>
                  </a:cubicBezTo>
                  <a:cubicBezTo>
                    <a:pt x="14" y="12"/>
                    <a:pt x="15" y="13"/>
                    <a:pt x="16" y="13"/>
                  </a:cubicBezTo>
                  <a:cubicBezTo>
                    <a:pt x="17" y="13"/>
                    <a:pt x="17" y="12"/>
                    <a:pt x="18" y="12"/>
                  </a:cubicBezTo>
                  <a:cubicBezTo>
                    <a:pt x="18" y="12"/>
                    <a:pt x="18" y="16"/>
                    <a:pt x="19" y="18"/>
                  </a:cubicBezTo>
                  <a:cubicBezTo>
                    <a:pt x="19" y="19"/>
                    <a:pt x="19" y="21"/>
                    <a:pt x="19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6"/>
                    <a:pt x="15" y="16"/>
                  </a:cubicBezTo>
                  <a:cubicBezTo>
                    <a:pt x="14" y="15"/>
                    <a:pt x="11" y="14"/>
                    <a:pt x="11" y="13"/>
                  </a:cubicBezTo>
                  <a:cubicBezTo>
                    <a:pt x="11" y="12"/>
                    <a:pt x="11" y="16"/>
                    <a:pt x="10" y="17"/>
                  </a:cubicBezTo>
                  <a:cubicBezTo>
                    <a:pt x="10" y="18"/>
                    <a:pt x="7" y="19"/>
                    <a:pt x="6" y="19"/>
                  </a:cubicBezTo>
                  <a:cubicBezTo>
                    <a:pt x="5" y="19"/>
                    <a:pt x="5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3"/>
                    <a:pt x="3" y="13"/>
                  </a:cubicBezTo>
                  <a:cubicBezTo>
                    <a:pt x="3" y="12"/>
                    <a:pt x="3" y="11"/>
                    <a:pt x="3" y="10"/>
                  </a:cubicBezTo>
                  <a:cubicBezTo>
                    <a:pt x="3" y="9"/>
                    <a:pt x="0" y="8"/>
                    <a:pt x="0" y="8"/>
                  </a:cubicBezTo>
                  <a:cubicBezTo>
                    <a:pt x="0" y="7"/>
                    <a:pt x="4" y="6"/>
                    <a:pt x="4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79" name="Freeform 632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6413035" y="3333002"/>
              <a:ext cx="81246" cy="43533"/>
            </a:xfrm>
            <a:custGeom>
              <a:avLst/>
              <a:gdLst>
                <a:gd name="T0" fmla="*/ 2 w 13"/>
                <a:gd name="T1" fmla="*/ 6 h 6"/>
                <a:gd name="T2" fmla="*/ 1 w 13"/>
                <a:gd name="T3" fmla="*/ 5 h 6"/>
                <a:gd name="T4" fmla="*/ 0 w 13"/>
                <a:gd name="T5" fmla="*/ 3 h 6"/>
                <a:gd name="T6" fmla="*/ 2 w 13"/>
                <a:gd name="T7" fmla="*/ 1 h 6"/>
                <a:gd name="T8" fmla="*/ 6 w 13"/>
                <a:gd name="T9" fmla="*/ 0 h 6"/>
                <a:gd name="T10" fmla="*/ 10 w 13"/>
                <a:gd name="T11" fmla="*/ 0 h 6"/>
                <a:gd name="T12" fmla="*/ 12 w 13"/>
                <a:gd name="T13" fmla="*/ 2 h 6"/>
                <a:gd name="T14" fmla="*/ 13 w 13"/>
                <a:gd name="T15" fmla="*/ 2 h 6"/>
                <a:gd name="T16" fmla="*/ 12 w 13"/>
                <a:gd name="T17" fmla="*/ 5 h 6"/>
                <a:gd name="T18" fmla="*/ 12 w 13"/>
                <a:gd name="T19" fmla="*/ 6 h 6"/>
                <a:gd name="T20" fmla="*/ 9 w 13"/>
                <a:gd name="T21" fmla="*/ 6 h 6"/>
                <a:gd name="T22" fmla="*/ 2 w 13"/>
                <a:gd name="T2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6">
                  <a:moveTo>
                    <a:pt x="2" y="6"/>
                  </a:moveTo>
                  <a:cubicBezTo>
                    <a:pt x="1" y="6"/>
                    <a:pt x="1" y="5"/>
                    <a:pt x="1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1" y="2"/>
                    <a:pt x="12" y="2"/>
                  </a:cubicBezTo>
                  <a:cubicBezTo>
                    <a:pt x="12" y="2"/>
                    <a:pt x="12" y="2"/>
                    <a:pt x="13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3" y="6"/>
                    <a:pt x="12" y="6"/>
                  </a:cubicBezTo>
                  <a:cubicBezTo>
                    <a:pt x="12" y="6"/>
                    <a:pt x="10" y="6"/>
                    <a:pt x="9" y="6"/>
                  </a:cubicBezTo>
                  <a:cubicBezTo>
                    <a:pt x="8" y="6"/>
                    <a:pt x="3" y="6"/>
                    <a:pt x="2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0" name="Freeform 6329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6209920" y="3276075"/>
              <a:ext cx="187491" cy="103809"/>
            </a:xfrm>
            <a:custGeom>
              <a:avLst/>
              <a:gdLst>
                <a:gd name="T0" fmla="*/ 7 w 31"/>
                <a:gd name="T1" fmla="*/ 11 h 16"/>
                <a:gd name="T2" fmla="*/ 1 w 31"/>
                <a:gd name="T3" fmla="*/ 8 h 16"/>
                <a:gd name="T4" fmla="*/ 0 w 31"/>
                <a:gd name="T5" fmla="*/ 6 h 16"/>
                <a:gd name="T6" fmla="*/ 1 w 31"/>
                <a:gd name="T7" fmla="*/ 3 h 16"/>
                <a:gd name="T8" fmla="*/ 3 w 31"/>
                <a:gd name="T9" fmla="*/ 1 h 16"/>
                <a:gd name="T10" fmla="*/ 3 w 31"/>
                <a:gd name="T11" fmla="*/ 1 h 16"/>
                <a:gd name="T12" fmla="*/ 5 w 31"/>
                <a:gd name="T13" fmla="*/ 0 h 16"/>
                <a:gd name="T14" fmla="*/ 7 w 31"/>
                <a:gd name="T15" fmla="*/ 0 h 16"/>
                <a:gd name="T16" fmla="*/ 10 w 31"/>
                <a:gd name="T17" fmla="*/ 2 h 16"/>
                <a:gd name="T18" fmla="*/ 12 w 31"/>
                <a:gd name="T19" fmla="*/ 4 h 16"/>
                <a:gd name="T20" fmla="*/ 15 w 31"/>
                <a:gd name="T21" fmla="*/ 5 h 16"/>
                <a:gd name="T22" fmla="*/ 18 w 31"/>
                <a:gd name="T23" fmla="*/ 8 h 16"/>
                <a:gd name="T24" fmla="*/ 24 w 31"/>
                <a:gd name="T25" fmla="*/ 10 h 16"/>
                <a:gd name="T26" fmla="*/ 30 w 31"/>
                <a:gd name="T27" fmla="*/ 11 h 16"/>
                <a:gd name="T28" fmla="*/ 30 w 31"/>
                <a:gd name="T29" fmla="*/ 16 h 16"/>
                <a:gd name="T30" fmla="*/ 24 w 31"/>
                <a:gd name="T31" fmla="*/ 16 h 16"/>
                <a:gd name="T32" fmla="*/ 19 w 31"/>
                <a:gd name="T33" fmla="*/ 15 h 16"/>
                <a:gd name="T34" fmla="*/ 17 w 31"/>
                <a:gd name="T35" fmla="*/ 12 h 16"/>
                <a:gd name="T36" fmla="*/ 12 w 31"/>
                <a:gd name="T37" fmla="*/ 12 h 16"/>
                <a:gd name="T38" fmla="*/ 7 w 31"/>
                <a:gd name="T3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" h="16">
                  <a:moveTo>
                    <a:pt x="7" y="11"/>
                  </a:moveTo>
                  <a:cubicBezTo>
                    <a:pt x="6" y="10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1" y="3"/>
                    <a:pt x="1" y="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9" y="2"/>
                    <a:pt x="10" y="2"/>
                  </a:cubicBezTo>
                  <a:cubicBezTo>
                    <a:pt x="11" y="3"/>
                    <a:pt x="12" y="4"/>
                    <a:pt x="12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7" y="7"/>
                    <a:pt x="18" y="8"/>
                  </a:cubicBezTo>
                  <a:cubicBezTo>
                    <a:pt x="20" y="9"/>
                    <a:pt x="22" y="9"/>
                    <a:pt x="24" y="10"/>
                  </a:cubicBezTo>
                  <a:cubicBezTo>
                    <a:pt x="26" y="10"/>
                    <a:pt x="28" y="11"/>
                    <a:pt x="30" y="11"/>
                  </a:cubicBezTo>
                  <a:cubicBezTo>
                    <a:pt x="30" y="11"/>
                    <a:pt x="31" y="16"/>
                    <a:pt x="30" y="16"/>
                  </a:cubicBezTo>
                  <a:cubicBezTo>
                    <a:pt x="28" y="16"/>
                    <a:pt x="25" y="16"/>
                    <a:pt x="24" y="16"/>
                  </a:cubicBezTo>
                  <a:cubicBezTo>
                    <a:pt x="23" y="16"/>
                    <a:pt x="19" y="15"/>
                    <a:pt x="19" y="15"/>
                  </a:cubicBezTo>
                  <a:cubicBezTo>
                    <a:pt x="18" y="14"/>
                    <a:pt x="18" y="12"/>
                    <a:pt x="17" y="12"/>
                  </a:cubicBezTo>
                  <a:cubicBezTo>
                    <a:pt x="17" y="12"/>
                    <a:pt x="14" y="12"/>
                    <a:pt x="12" y="12"/>
                  </a:cubicBezTo>
                  <a:cubicBezTo>
                    <a:pt x="11" y="12"/>
                    <a:pt x="8" y="11"/>
                    <a:pt x="7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1" name="Freeform 633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6200545" y="3821909"/>
              <a:ext cx="56247" cy="90414"/>
            </a:xfrm>
            <a:custGeom>
              <a:avLst/>
              <a:gdLst>
                <a:gd name="T0" fmla="*/ 9 w 9"/>
                <a:gd name="T1" fmla="*/ 11 h 14"/>
                <a:gd name="T2" fmla="*/ 3 w 9"/>
                <a:gd name="T3" fmla="*/ 14 h 14"/>
                <a:gd name="T4" fmla="*/ 1 w 9"/>
                <a:gd name="T5" fmla="*/ 13 h 14"/>
                <a:gd name="T6" fmla="*/ 0 w 9"/>
                <a:gd name="T7" fmla="*/ 9 h 14"/>
                <a:gd name="T8" fmla="*/ 1 w 9"/>
                <a:gd name="T9" fmla="*/ 1 h 14"/>
                <a:gd name="T10" fmla="*/ 5 w 9"/>
                <a:gd name="T11" fmla="*/ 4 h 14"/>
                <a:gd name="T12" fmla="*/ 9 w 9"/>
                <a:gd name="T1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8" y="12"/>
                    <a:pt x="6" y="14"/>
                    <a:pt x="3" y="14"/>
                  </a:cubicBezTo>
                  <a:cubicBezTo>
                    <a:pt x="1" y="14"/>
                    <a:pt x="1" y="14"/>
                    <a:pt x="1" y="13"/>
                  </a:cubicBezTo>
                  <a:cubicBezTo>
                    <a:pt x="0" y="12"/>
                    <a:pt x="0" y="9"/>
                    <a:pt x="0" y="9"/>
                  </a:cubicBezTo>
                  <a:cubicBezTo>
                    <a:pt x="0" y="7"/>
                    <a:pt x="1" y="1"/>
                    <a:pt x="1" y="1"/>
                  </a:cubicBezTo>
                  <a:cubicBezTo>
                    <a:pt x="2" y="0"/>
                    <a:pt x="5" y="2"/>
                    <a:pt x="5" y="4"/>
                  </a:cubicBezTo>
                  <a:cubicBezTo>
                    <a:pt x="6" y="6"/>
                    <a:pt x="9" y="9"/>
                    <a:pt x="9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2" name="Freeform 6331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6159922" y="3122036"/>
              <a:ext cx="56247" cy="63625"/>
            </a:xfrm>
            <a:custGeom>
              <a:avLst/>
              <a:gdLst>
                <a:gd name="T0" fmla="*/ 0 w 9"/>
                <a:gd name="T1" fmla="*/ 3 h 10"/>
                <a:gd name="T2" fmla="*/ 3 w 9"/>
                <a:gd name="T3" fmla="*/ 0 h 10"/>
                <a:gd name="T4" fmla="*/ 5 w 9"/>
                <a:gd name="T5" fmla="*/ 0 h 10"/>
                <a:gd name="T6" fmla="*/ 9 w 9"/>
                <a:gd name="T7" fmla="*/ 2 h 10"/>
                <a:gd name="T8" fmla="*/ 8 w 9"/>
                <a:gd name="T9" fmla="*/ 6 h 10"/>
                <a:gd name="T10" fmla="*/ 6 w 9"/>
                <a:gd name="T11" fmla="*/ 9 h 10"/>
                <a:gd name="T12" fmla="*/ 3 w 9"/>
                <a:gd name="T13" fmla="*/ 10 h 10"/>
                <a:gd name="T14" fmla="*/ 2 w 9"/>
                <a:gd name="T15" fmla="*/ 7 h 10"/>
                <a:gd name="T16" fmla="*/ 1 w 9"/>
                <a:gd name="T17" fmla="*/ 6 h 10"/>
                <a:gd name="T18" fmla="*/ 1 w 9"/>
                <a:gd name="T19" fmla="*/ 7 h 10"/>
                <a:gd name="T20" fmla="*/ 0 w 9"/>
                <a:gd name="T21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8" y="2"/>
                    <a:pt x="9" y="2"/>
                  </a:cubicBezTo>
                  <a:cubicBezTo>
                    <a:pt x="9" y="3"/>
                    <a:pt x="9" y="5"/>
                    <a:pt x="8" y="6"/>
                  </a:cubicBezTo>
                  <a:cubicBezTo>
                    <a:pt x="8" y="6"/>
                    <a:pt x="6" y="9"/>
                    <a:pt x="6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8"/>
                    <a:pt x="2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7"/>
                    <a:pt x="1" y="7"/>
                  </a:cubicBezTo>
                  <a:cubicBezTo>
                    <a:pt x="1" y="6"/>
                    <a:pt x="0" y="3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3" name="Freeform 6332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878638" y="3560713"/>
              <a:ext cx="62497" cy="53579"/>
            </a:xfrm>
            <a:custGeom>
              <a:avLst/>
              <a:gdLst>
                <a:gd name="T0" fmla="*/ 6 w 10"/>
                <a:gd name="T1" fmla="*/ 6 h 8"/>
                <a:gd name="T2" fmla="*/ 1 w 10"/>
                <a:gd name="T3" fmla="*/ 5 h 8"/>
                <a:gd name="T4" fmla="*/ 3 w 10"/>
                <a:gd name="T5" fmla="*/ 0 h 8"/>
                <a:gd name="T6" fmla="*/ 10 w 10"/>
                <a:gd name="T7" fmla="*/ 0 h 8"/>
                <a:gd name="T8" fmla="*/ 6 w 10"/>
                <a:gd name="T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8">
                  <a:moveTo>
                    <a:pt x="6" y="6"/>
                  </a:moveTo>
                  <a:cubicBezTo>
                    <a:pt x="4" y="8"/>
                    <a:pt x="3" y="6"/>
                    <a:pt x="1" y="5"/>
                  </a:cubicBezTo>
                  <a:cubicBezTo>
                    <a:pt x="0" y="3"/>
                    <a:pt x="2" y="1"/>
                    <a:pt x="3" y="0"/>
                  </a:cubicBezTo>
                  <a:cubicBezTo>
                    <a:pt x="3" y="0"/>
                    <a:pt x="9" y="0"/>
                    <a:pt x="10" y="0"/>
                  </a:cubicBezTo>
                  <a:cubicBezTo>
                    <a:pt x="10" y="1"/>
                    <a:pt x="6" y="5"/>
                    <a:pt x="6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4" name="Freeform 6334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5956807" y="2907720"/>
              <a:ext cx="259363" cy="117204"/>
            </a:xfrm>
            <a:custGeom>
              <a:avLst/>
              <a:gdLst>
                <a:gd name="T0" fmla="*/ 4 w 43"/>
                <a:gd name="T1" fmla="*/ 18 h 18"/>
                <a:gd name="T2" fmla="*/ 0 w 43"/>
                <a:gd name="T3" fmla="*/ 18 h 18"/>
                <a:gd name="T4" fmla="*/ 1 w 43"/>
                <a:gd name="T5" fmla="*/ 15 h 18"/>
                <a:gd name="T6" fmla="*/ 4 w 43"/>
                <a:gd name="T7" fmla="*/ 15 h 18"/>
                <a:gd name="T8" fmla="*/ 5 w 43"/>
                <a:gd name="T9" fmla="*/ 14 h 18"/>
                <a:gd name="T10" fmla="*/ 8 w 43"/>
                <a:gd name="T11" fmla="*/ 14 h 18"/>
                <a:gd name="T12" fmla="*/ 11 w 43"/>
                <a:gd name="T13" fmla="*/ 13 h 18"/>
                <a:gd name="T14" fmla="*/ 15 w 43"/>
                <a:gd name="T15" fmla="*/ 11 h 18"/>
                <a:gd name="T16" fmla="*/ 11 w 43"/>
                <a:gd name="T17" fmla="*/ 10 h 18"/>
                <a:gd name="T18" fmla="*/ 6 w 43"/>
                <a:gd name="T19" fmla="*/ 9 h 18"/>
                <a:gd name="T20" fmla="*/ 5 w 43"/>
                <a:gd name="T21" fmla="*/ 8 h 18"/>
                <a:gd name="T22" fmla="*/ 7 w 43"/>
                <a:gd name="T23" fmla="*/ 6 h 18"/>
                <a:gd name="T24" fmla="*/ 5 w 43"/>
                <a:gd name="T25" fmla="*/ 4 h 18"/>
                <a:gd name="T26" fmla="*/ 8 w 43"/>
                <a:gd name="T27" fmla="*/ 2 h 18"/>
                <a:gd name="T28" fmla="*/ 16 w 43"/>
                <a:gd name="T29" fmla="*/ 4 h 18"/>
                <a:gd name="T30" fmla="*/ 18 w 43"/>
                <a:gd name="T31" fmla="*/ 0 h 18"/>
                <a:gd name="T32" fmla="*/ 24 w 43"/>
                <a:gd name="T33" fmla="*/ 2 h 18"/>
                <a:gd name="T34" fmla="*/ 33 w 43"/>
                <a:gd name="T35" fmla="*/ 2 h 18"/>
                <a:gd name="T36" fmla="*/ 39 w 43"/>
                <a:gd name="T37" fmla="*/ 3 h 18"/>
                <a:gd name="T38" fmla="*/ 43 w 43"/>
                <a:gd name="T39" fmla="*/ 5 h 18"/>
                <a:gd name="T40" fmla="*/ 42 w 43"/>
                <a:gd name="T41" fmla="*/ 6 h 18"/>
                <a:gd name="T42" fmla="*/ 35 w 43"/>
                <a:gd name="T43" fmla="*/ 10 h 18"/>
                <a:gd name="T44" fmla="*/ 30 w 43"/>
                <a:gd name="T45" fmla="*/ 10 h 18"/>
                <a:gd name="T46" fmla="*/ 28 w 43"/>
                <a:gd name="T47" fmla="*/ 14 h 18"/>
                <a:gd name="T48" fmla="*/ 25 w 43"/>
                <a:gd name="T49" fmla="*/ 14 h 18"/>
                <a:gd name="T50" fmla="*/ 24 w 43"/>
                <a:gd name="T51" fmla="*/ 12 h 18"/>
                <a:gd name="T52" fmla="*/ 17 w 43"/>
                <a:gd name="T53" fmla="*/ 17 h 18"/>
                <a:gd name="T54" fmla="*/ 17 w 43"/>
                <a:gd name="T55" fmla="*/ 18 h 18"/>
                <a:gd name="T56" fmla="*/ 17 w 43"/>
                <a:gd name="T57" fmla="*/ 18 h 18"/>
                <a:gd name="T58" fmla="*/ 9 w 43"/>
                <a:gd name="T59" fmla="*/ 18 h 18"/>
                <a:gd name="T60" fmla="*/ 4 w 43"/>
                <a:gd name="T6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3" h="18">
                  <a:moveTo>
                    <a:pt x="4" y="18"/>
                  </a:moveTo>
                  <a:cubicBezTo>
                    <a:pt x="4" y="18"/>
                    <a:pt x="0" y="18"/>
                    <a:pt x="0" y="18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3" y="15"/>
                    <a:pt x="4" y="15"/>
                  </a:cubicBezTo>
                  <a:cubicBezTo>
                    <a:pt x="4" y="15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1" y="13"/>
                    <a:pt x="11" y="13"/>
                  </a:cubicBezTo>
                  <a:cubicBezTo>
                    <a:pt x="12" y="12"/>
                    <a:pt x="15" y="12"/>
                    <a:pt x="15" y="11"/>
                  </a:cubicBezTo>
                  <a:cubicBezTo>
                    <a:pt x="15" y="11"/>
                    <a:pt x="12" y="10"/>
                    <a:pt x="11" y="10"/>
                  </a:cubicBezTo>
                  <a:cubicBezTo>
                    <a:pt x="10" y="9"/>
                    <a:pt x="7" y="10"/>
                    <a:pt x="6" y="9"/>
                  </a:cubicBezTo>
                  <a:cubicBezTo>
                    <a:pt x="6" y="9"/>
                    <a:pt x="5" y="8"/>
                    <a:pt x="5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7" y="2"/>
                    <a:pt x="8" y="2"/>
                  </a:cubicBezTo>
                  <a:cubicBezTo>
                    <a:pt x="8" y="2"/>
                    <a:pt x="15" y="4"/>
                    <a:pt x="16" y="4"/>
                  </a:cubicBezTo>
                  <a:cubicBezTo>
                    <a:pt x="16" y="4"/>
                    <a:pt x="16" y="0"/>
                    <a:pt x="18" y="0"/>
                  </a:cubicBezTo>
                  <a:cubicBezTo>
                    <a:pt x="19" y="0"/>
                    <a:pt x="23" y="2"/>
                    <a:pt x="24" y="2"/>
                  </a:cubicBezTo>
                  <a:cubicBezTo>
                    <a:pt x="24" y="2"/>
                    <a:pt x="31" y="2"/>
                    <a:pt x="33" y="2"/>
                  </a:cubicBezTo>
                  <a:cubicBezTo>
                    <a:pt x="35" y="2"/>
                    <a:pt x="39" y="3"/>
                    <a:pt x="39" y="3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2" y="6"/>
                  </a:cubicBezTo>
                  <a:cubicBezTo>
                    <a:pt x="42" y="7"/>
                    <a:pt x="37" y="9"/>
                    <a:pt x="35" y="10"/>
                  </a:cubicBezTo>
                  <a:cubicBezTo>
                    <a:pt x="34" y="10"/>
                    <a:pt x="31" y="10"/>
                    <a:pt x="30" y="10"/>
                  </a:cubicBezTo>
                  <a:cubicBezTo>
                    <a:pt x="28" y="10"/>
                    <a:pt x="30" y="13"/>
                    <a:pt x="28" y="14"/>
                  </a:cubicBezTo>
                  <a:cubicBezTo>
                    <a:pt x="28" y="14"/>
                    <a:pt x="26" y="14"/>
                    <a:pt x="25" y="14"/>
                  </a:cubicBezTo>
                  <a:cubicBezTo>
                    <a:pt x="25" y="14"/>
                    <a:pt x="25" y="12"/>
                    <a:pt x="24" y="12"/>
                  </a:cubicBezTo>
                  <a:cubicBezTo>
                    <a:pt x="23" y="12"/>
                    <a:pt x="18" y="16"/>
                    <a:pt x="17" y="17"/>
                  </a:cubicBezTo>
                  <a:cubicBezTo>
                    <a:pt x="17" y="17"/>
                    <a:pt x="17" y="17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5" y="18"/>
                    <a:pt x="4" y="1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5" name="Freeform 6335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934933" y="3135430"/>
              <a:ext cx="678093" cy="730011"/>
            </a:xfrm>
            <a:custGeom>
              <a:avLst/>
              <a:gdLst>
                <a:gd name="T0" fmla="*/ 2 w 112"/>
                <a:gd name="T1" fmla="*/ 56 h 113"/>
                <a:gd name="T2" fmla="*/ 2 w 112"/>
                <a:gd name="T3" fmla="*/ 52 h 113"/>
                <a:gd name="T4" fmla="*/ 2 w 112"/>
                <a:gd name="T5" fmla="*/ 48 h 113"/>
                <a:gd name="T6" fmla="*/ 8 w 112"/>
                <a:gd name="T7" fmla="*/ 42 h 113"/>
                <a:gd name="T8" fmla="*/ 8 w 112"/>
                <a:gd name="T9" fmla="*/ 32 h 113"/>
                <a:gd name="T10" fmla="*/ 13 w 112"/>
                <a:gd name="T11" fmla="*/ 33 h 113"/>
                <a:gd name="T12" fmla="*/ 23 w 112"/>
                <a:gd name="T13" fmla="*/ 20 h 113"/>
                <a:gd name="T14" fmla="*/ 27 w 112"/>
                <a:gd name="T15" fmla="*/ 14 h 113"/>
                <a:gd name="T16" fmla="*/ 21 w 112"/>
                <a:gd name="T17" fmla="*/ 5 h 113"/>
                <a:gd name="T18" fmla="*/ 35 w 112"/>
                <a:gd name="T19" fmla="*/ 3 h 113"/>
                <a:gd name="T20" fmla="*/ 35 w 112"/>
                <a:gd name="T21" fmla="*/ 0 h 113"/>
                <a:gd name="T22" fmla="*/ 38 w 112"/>
                <a:gd name="T23" fmla="*/ 5 h 113"/>
                <a:gd name="T24" fmla="*/ 39 w 112"/>
                <a:gd name="T25" fmla="*/ 5 h 113"/>
                <a:gd name="T26" fmla="*/ 43 w 112"/>
                <a:gd name="T27" fmla="*/ 12 h 113"/>
                <a:gd name="T28" fmla="*/ 40 w 112"/>
                <a:gd name="T29" fmla="*/ 18 h 113"/>
                <a:gd name="T30" fmla="*/ 46 w 112"/>
                <a:gd name="T31" fmla="*/ 25 h 113"/>
                <a:gd name="T32" fmla="*/ 46 w 112"/>
                <a:gd name="T33" fmla="*/ 30 h 113"/>
                <a:gd name="T34" fmla="*/ 57 w 112"/>
                <a:gd name="T35" fmla="*/ 34 h 113"/>
                <a:gd name="T36" fmla="*/ 64 w 112"/>
                <a:gd name="T37" fmla="*/ 37 h 113"/>
                <a:gd name="T38" fmla="*/ 75 w 112"/>
                <a:gd name="T39" fmla="*/ 39 h 113"/>
                <a:gd name="T40" fmla="*/ 78 w 112"/>
                <a:gd name="T41" fmla="*/ 31 h 113"/>
                <a:gd name="T42" fmla="*/ 80 w 112"/>
                <a:gd name="T43" fmla="*/ 36 h 113"/>
                <a:gd name="T44" fmla="*/ 88 w 112"/>
                <a:gd name="T45" fmla="*/ 37 h 113"/>
                <a:gd name="T46" fmla="*/ 91 w 112"/>
                <a:gd name="T47" fmla="*/ 36 h 113"/>
                <a:gd name="T48" fmla="*/ 96 w 112"/>
                <a:gd name="T49" fmla="*/ 31 h 113"/>
                <a:gd name="T50" fmla="*/ 103 w 112"/>
                <a:gd name="T51" fmla="*/ 27 h 113"/>
                <a:gd name="T52" fmla="*/ 108 w 112"/>
                <a:gd name="T53" fmla="*/ 31 h 113"/>
                <a:gd name="T54" fmla="*/ 112 w 112"/>
                <a:gd name="T55" fmla="*/ 33 h 113"/>
                <a:gd name="T56" fmla="*/ 108 w 112"/>
                <a:gd name="T57" fmla="*/ 35 h 113"/>
                <a:gd name="T58" fmla="*/ 103 w 112"/>
                <a:gd name="T59" fmla="*/ 42 h 113"/>
                <a:gd name="T60" fmla="*/ 97 w 112"/>
                <a:gd name="T61" fmla="*/ 49 h 113"/>
                <a:gd name="T62" fmla="*/ 94 w 112"/>
                <a:gd name="T63" fmla="*/ 57 h 113"/>
                <a:gd name="T64" fmla="*/ 91 w 112"/>
                <a:gd name="T65" fmla="*/ 52 h 113"/>
                <a:gd name="T66" fmla="*/ 91 w 112"/>
                <a:gd name="T67" fmla="*/ 48 h 113"/>
                <a:gd name="T68" fmla="*/ 83 w 112"/>
                <a:gd name="T69" fmla="*/ 44 h 113"/>
                <a:gd name="T70" fmla="*/ 78 w 112"/>
                <a:gd name="T71" fmla="*/ 39 h 113"/>
                <a:gd name="T72" fmla="*/ 79 w 112"/>
                <a:gd name="T73" fmla="*/ 44 h 113"/>
                <a:gd name="T74" fmla="*/ 78 w 112"/>
                <a:gd name="T75" fmla="*/ 49 h 113"/>
                <a:gd name="T76" fmla="*/ 79 w 112"/>
                <a:gd name="T77" fmla="*/ 55 h 113"/>
                <a:gd name="T78" fmla="*/ 79 w 112"/>
                <a:gd name="T79" fmla="*/ 58 h 113"/>
                <a:gd name="T80" fmla="*/ 71 w 112"/>
                <a:gd name="T81" fmla="*/ 60 h 113"/>
                <a:gd name="T82" fmla="*/ 66 w 112"/>
                <a:gd name="T83" fmla="*/ 67 h 113"/>
                <a:gd name="T84" fmla="*/ 54 w 112"/>
                <a:gd name="T85" fmla="*/ 77 h 113"/>
                <a:gd name="T86" fmla="*/ 45 w 112"/>
                <a:gd name="T87" fmla="*/ 83 h 113"/>
                <a:gd name="T88" fmla="*/ 44 w 112"/>
                <a:gd name="T89" fmla="*/ 98 h 113"/>
                <a:gd name="T90" fmla="*/ 42 w 112"/>
                <a:gd name="T91" fmla="*/ 105 h 113"/>
                <a:gd name="T92" fmla="*/ 38 w 112"/>
                <a:gd name="T93" fmla="*/ 109 h 113"/>
                <a:gd name="T94" fmla="*/ 33 w 112"/>
                <a:gd name="T95" fmla="*/ 110 h 113"/>
                <a:gd name="T96" fmla="*/ 24 w 112"/>
                <a:gd name="T97" fmla="*/ 92 h 113"/>
                <a:gd name="T98" fmla="*/ 18 w 112"/>
                <a:gd name="T99" fmla="*/ 74 h 113"/>
                <a:gd name="T100" fmla="*/ 15 w 112"/>
                <a:gd name="T101" fmla="*/ 56 h 113"/>
                <a:gd name="T102" fmla="*/ 9 w 112"/>
                <a:gd name="T103" fmla="*/ 6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" h="113">
                  <a:moveTo>
                    <a:pt x="9" y="62"/>
                  </a:moveTo>
                  <a:cubicBezTo>
                    <a:pt x="8" y="61"/>
                    <a:pt x="2" y="57"/>
                    <a:pt x="2" y="56"/>
                  </a:cubicBezTo>
                  <a:cubicBezTo>
                    <a:pt x="2" y="55"/>
                    <a:pt x="7" y="55"/>
                    <a:pt x="7" y="54"/>
                  </a:cubicBezTo>
                  <a:cubicBezTo>
                    <a:pt x="7" y="53"/>
                    <a:pt x="3" y="53"/>
                    <a:pt x="2" y="52"/>
                  </a:cubicBezTo>
                  <a:cubicBezTo>
                    <a:pt x="1" y="52"/>
                    <a:pt x="1" y="52"/>
                    <a:pt x="0" y="51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8" y="48"/>
                    <a:pt x="9" y="48"/>
                  </a:cubicBezTo>
                  <a:cubicBezTo>
                    <a:pt x="10" y="47"/>
                    <a:pt x="9" y="44"/>
                    <a:pt x="8" y="42"/>
                  </a:cubicBezTo>
                  <a:cubicBezTo>
                    <a:pt x="7" y="41"/>
                    <a:pt x="3" y="38"/>
                    <a:pt x="4" y="37"/>
                  </a:cubicBezTo>
                  <a:cubicBezTo>
                    <a:pt x="4" y="36"/>
                    <a:pt x="7" y="32"/>
                    <a:pt x="8" y="32"/>
                  </a:cubicBezTo>
                  <a:cubicBezTo>
                    <a:pt x="9" y="32"/>
                    <a:pt x="9" y="34"/>
                    <a:pt x="10" y="34"/>
                  </a:cubicBezTo>
                  <a:cubicBezTo>
                    <a:pt x="11" y="34"/>
                    <a:pt x="13" y="33"/>
                    <a:pt x="13" y="33"/>
                  </a:cubicBezTo>
                  <a:cubicBezTo>
                    <a:pt x="14" y="32"/>
                    <a:pt x="18" y="26"/>
                    <a:pt x="18" y="25"/>
                  </a:cubicBezTo>
                  <a:cubicBezTo>
                    <a:pt x="19" y="25"/>
                    <a:pt x="23" y="21"/>
                    <a:pt x="23" y="20"/>
                  </a:cubicBezTo>
                  <a:cubicBezTo>
                    <a:pt x="23" y="19"/>
                    <a:pt x="23" y="18"/>
                    <a:pt x="23" y="17"/>
                  </a:cubicBezTo>
                  <a:cubicBezTo>
                    <a:pt x="23" y="17"/>
                    <a:pt x="27" y="17"/>
                    <a:pt x="27" y="14"/>
                  </a:cubicBezTo>
                  <a:cubicBezTo>
                    <a:pt x="27" y="12"/>
                    <a:pt x="23" y="12"/>
                    <a:pt x="23" y="12"/>
                  </a:cubicBezTo>
                  <a:cubicBezTo>
                    <a:pt x="22" y="11"/>
                    <a:pt x="20" y="5"/>
                    <a:pt x="21" y="5"/>
                  </a:cubicBezTo>
                  <a:cubicBezTo>
                    <a:pt x="22" y="4"/>
                    <a:pt x="27" y="5"/>
                    <a:pt x="27" y="5"/>
                  </a:cubicBezTo>
                  <a:cubicBezTo>
                    <a:pt x="29" y="5"/>
                    <a:pt x="34" y="3"/>
                    <a:pt x="35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0"/>
                    <a:pt x="37" y="0"/>
                  </a:cubicBezTo>
                  <a:cubicBezTo>
                    <a:pt x="37" y="1"/>
                    <a:pt x="38" y="3"/>
                    <a:pt x="38" y="5"/>
                  </a:cubicBezTo>
                  <a:cubicBezTo>
                    <a:pt x="39" y="5"/>
                    <a:pt x="38" y="4"/>
                    <a:pt x="38" y="4"/>
                  </a:cubicBezTo>
                  <a:cubicBezTo>
                    <a:pt x="38" y="4"/>
                    <a:pt x="38" y="4"/>
                    <a:pt x="39" y="5"/>
                  </a:cubicBezTo>
                  <a:cubicBezTo>
                    <a:pt x="40" y="6"/>
                    <a:pt x="40" y="8"/>
                    <a:pt x="40" y="8"/>
                  </a:cubicBezTo>
                  <a:cubicBezTo>
                    <a:pt x="40" y="8"/>
                    <a:pt x="43" y="12"/>
                    <a:pt x="43" y="12"/>
                  </a:cubicBezTo>
                  <a:cubicBezTo>
                    <a:pt x="42" y="13"/>
                    <a:pt x="39" y="13"/>
                    <a:pt x="39" y="13"/>
                  </a:cubicBezTo>
                  <a:cubicBezTo>
                    <a:pt x="39" y="13"/>
                    <a:pt x="40" y="17"/>
                    <a:pt x="40" y="18"/>
                  </a:cubicBezTo>
                  <a:cubicBezTo>
                    <a:pt x="40" y="18"/>
                    <a:pt x="46" y="22"/>
                    <a:pt x="48" y="23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5" y="28"/>
                    <a:pt x="45" y="28"/>
                  </a:cubicBezTo>
                  <a:cubicBezTo>
                    <a:pt x="45" y="29"/>
                    <a:pt x="45" y="30"/>
                    <a:pt x="46" y="30"/>
                  </a:cubicBezTo>
                  <a:cubicBezTo>
                    <a:pt x="46" y="30"/>
                    <a:pt x="51" y="32"/>
                    <a:pt x="52" y="33"/>
                  </a:cubicBezTo>
                  <a:cubicBezTo>
                    <a:pt x="53" y="33"/>
                    <a:pt x="56" y="34"/>
                    <a:pt x="57" y="34"/>
                  </a:cubicBezTo>
                  <a:cubicBezTo>
                    <a:pt x="59" y="34"/>
                    <a:pt x="62" y="34"/>
                    <a:pt x="62" y="34"/>
                  </a:cubicBezTo>
                  <a:cubicBezTo>
                    <a:pt x="63" y="34"/>
                    <a:pt x="63" y="36"/>
                    <a:pt x="64" y="37"/>
                  </a:cubicBezTo>
                  <a:cubicBezTo>
                    <a:pt x="64" y="37"/>
                    <a:pt x="68" y="38"/>
                    <a:pt x="69" y="38"/>
                  </a:cubicBezTo>
                  <a:cubicBezTo>
                    <a:pt x="70" y="39"/>
                    <a:pt x="73" y="39"/>
                    <a:pt x="75" y="39"/>
                  </a:cubicBezTo>
                  <a:cubicBezTo>
                    <a:pt x="76" y="39"/>
                    <a:pt x="75" y="33"/>
                    <a:pt x="75" y="33"/>
                  </a:cubicBezTo>
                  <a:cubicBezTo>
                    <a:pt x="77" y="33"/>
                    <a:pt x="77" y="31"/>
                    <a:pt x="78" y="31"/>
                  </a:cubicBezTo>
                  <a:cubicBezTo>
                    <a:pt x="79" y="32"/>
                    <a:pt x="78" y="34"/>
                    <a:pt x="79" y="3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7"/>
                    <a:pt x="81" y="37"/>
                  </a:cubicBezTo>
                  <a:cubicBezTo>
                    <a:pt x="82" y="37"/>
                    <a:pt x="87" y="37"/>
                    <a:pt x="88" y="37"/>
                  </a:cubicBezTo>
                  <a:cubicBezTo>
                    <a:pt x="89" y="37"/>
                    <a:pt x="91" y="37"/>
                    <a:pt x="91" y="37"/>
                  </a:cubicBezTo>
                  <a:cubicBezTo>
                    <a:pt x="91" y="37"/>
                    <a:pt x="91" y="36"/>
                    <a:pt x="91" y="36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3" y="32"/>
                    <a:pt x="95" y="31"/>
                    <a:pt x="96" y="31"/>
                  </a:cubicBezTo>
                  <a:cubicBezTo>
                    <a:pt x="98" y="30"/>
                    <a:pt x="100" y="28"/>
                    <a:pt x="101" y="27"/>
                  </a:cubicBezTo>
                  <a:cubicBezTo>
                    <a:pt x="102" y="27"/>
                    <a:pt x="102" y="27"/>
                    <a:pt x="103" y="27"/>
                  </a:cubicBezTo>
                  <a:cubicBezTo>
                    <a:pt x="104" y="28"/>
                    <a:pt x="107" y="26"/>
                    <a:pt x="107" y="27"/>
                  </a:cubicBezTo>
                  <a:cubicBezTo>
                    <a:pt x="108" y="27"/>
                    <a:pt x="107" y="30"/>
                    <a:pt x="108" y="31"/>
                  </a:cubicBezTo>
                  <a:cubicBezTo>
                    <a:pt x="108" y="31"/>
                    <a:pt x="110" y="31"/>
                    <a:pt x="111" y="31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1" y="35"/>
                    <a:pt x="110" y="36"/>
                  </a:cubicBezTo>
                  <a:cubicBezTo>
                    <a:pt x="110" y="36"/>
                    <a:pt x="108" y="35"/>
                    <a:pt x="108" y="35"/>
                  </a:cubicBezTo>
                  <a:cubicBezTo>
                    <a:pt x="107" y="35"/>
                    <a:pt x="104" y="38"/>
                    <a:pt x="104" y="39"/>
                  </a:cubicBezTo>
                  <a:cubicBezTo>
                    <a:pt x="103" y="39"/>
                    <a:pt x="103" y="40"/>
                    <a:pt x="103" y="42"/>
                  </a:cubicBezTo>
                  <a:cubicBezTo>
                    <a:pt x="103" y="42"/>
                    <a:pt x="100" y="49"/>
                    <a:pt x="100" y="49"/>
                  </a:cubicBezTo>
                  <a:cubicBezTo>
                    <a:pt x="99" y="49"/>
                    <a:pt x="97" y="49"/>
                    <a:pt x="97" y="49"/>
                  </a:cubicBezTo>
                  <a:cubicBezTo>
                    <a:pt x="97" y="50"/>
                    <a:pt x="96" y="57"/>
                    <a:pt x="96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3" y="55"/>
                    <a:pt x="93" y="51"/>
                    <a:pt x="93" y="51"/>
                  </a:cubicBezTo>
                  <a:cubicBezTo>
                    <a:pt x="92" y="51"/>
                    <a:pt x="91" y="52"/>
                    <a:pt x="91" y="52"/>
                  </a:cubicBezTo>
                  <a:cubicBezTo>
                    <a:pt x="90" y="52"/>
                    <a:pt x="89" y="51"/>
                    <a:pt x="88" y="50"/>
                  </a:cubicBezTo>
                  <a:cubicBezTo>
                    <a:pt x="88" y="49"/>
                    <a:pt x="90" y="48"/>
                    <a:pt x="91" y="48"/>
                  </a:cubicBezTo>
                  <a:cubicBezTo>
                    <a:pt x="91" y="48"/>
                    <a:pt x="93" y="45"/>
                    <a:pt x="93" y="45"/>
                  </a:cubicBezTo>
                  <a:cubicBezTo>
                    <a:pt x="92" y="44"/>
                    <a:pt x="84" y="44"/>
                    <a:pt x="83" y="44"/>
                  </a:cubicBezTo>
                  <a:cubicBezTo>
                    <a:pt x="82" y="44"/>
                    <a:pt x="83" y="41"/>
                    <a:pt x="82" y="41"/>
                  </a:cubicBezTo>
                  <a:cubicBezTo>
                    <a:pt x="82" y="40"/>
                    <a:pt x="79" y="39"/>
                    <a:pt x="78" y="39"/>
                  </a:cubicBezTo>
                  <a:cubicBezTo>
                    <a:pt x="78" y="39"/>
                    <a:pt x="77" y="42"/>
                    <a:pt x="77" y="42"/>
                  </a:cubicBezTo>
                  <a:cubicBezTo>
                    <a:pt x="76" y="42"/>
                    <a:pt x="79" y="44"/>
                    <a:pt x="79" y="44"/>
                  </a:cubicBezTo>
                  <a:cubicBezTo>
                    <a:pt x="79" y="45"/>
                    <a:pt x="75" y="46"/>
                    <a:pt x="75" y="47"/>
                  </a:cubicBezTo>
                  <a:cubicBezTo>
                    <a:pt x="75" y="47"/>
                    <a:pt x="78" y="48"/>
                    <a:pt x="78" y="49"/>
                  </a:cubicBezTo>
                  <a:cubicBezTo>
                    <a:pt x="78" y="50"/>
                    <a:pt x="78" y="51"/>
                    <a:pt x="78" y="52"/>
                  </a:cubicBezTo>
                  <a:cubicBezTo>
                    <a:pt x="79" y="52"/>
                    <a:pt x="79" y="54"/>
                    <a:pt x="79" y="55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7" y="58"/>
                    <a:pt x="76" y="58"/>
                  </a:cubicBezTo>
                  <a:cubicBezTo>
                    <a:pt x="75" y="58"/>
                    <a:pt x="71" y="59"/>
                    <a:pt x="71" y="60"/>
                  </a:cubicBezTo>
                  <a:cubicBezTo>
                    <a:pt x="71" y="62"/>
                    <a:pt x="72" y="62"/>
                    <a:pt x="72" y="63"/>
                  </a:cubicBezTo>
                  <a:cubicBezTo>
                    <a:pt x="71" y="64"/>
                    <a:pt x="66" y="66"/>
                    <a:pt x="66" y="67"/>
                  </a:cubicBezTo>
                  <a:cubicBezTo>
                    <a:pt x="65" y="68"/>
                    <a:pt x="61" y="71"/>
                    <a:pt x="60" y="73"/>
                  </a:cubicBezTo>
                  <a:cubicBezTo>
                    <a:pt x="59" y="74"/>
                    <a:pt x="55" y="76"/>
                    <a:pt x="54" y="77"/>
                  </a:cubicBezTo>
                  <a:cubicBezTo>
                    <a:pt x="54" y="78"/>
                    <a:pt x="54" y="80"/>
                    <a:pt x="53" y="80"/>
                  </a:cubicBezTo>
                  <a:cubicBezTo>
                    <a:pt x="51" y="80"/>
                    <a:pt x="46" y="81"/>
                    <a:pt x="45" y="83"/>
                  </a:cubicBezTo>
                  <a:cubicBezTo>
                    <a:pt x="45" y="85"/>
                    <a:pt x="46" y="92"/>
                    <a:pt x="46" y="93"/>
                  </a:cubicBezTo>
                  <a:cubicBezTo>
                    <a:pt x="45" y="94"/>
                    <a:pt x="44" y="97"/>
                    <a:pt x="44" y="98"/>
                  </a:cubicBezTo>
                  <a:cubicBezTo>
                    <a:pt x="44" y="99"/>
                    <a:pt x="45" y="103"/>
                    <a:pt x="44" y="103"/>
                  </a:cubicBezTo>
                  <a:cubicBezTo>
                    <a:pt x="44" y="104"/>
                    <a:pt x="43" y="104"/>
                    <a:pt x="42" y="105"/>
                  </a:cubicBezTo>
                  <a:cubicBezTo>
                    <a:pt x="41" y="105"/>
                    <a:pt x="40" y="107"/>
                    <a:pt x="40" y="108"/>
                  </a:cubicBezTo>
                  <a:cubicBezTo>
                    <a:pt x="40" y="108"/>
                    <a:pt x="38" y="108"/>
                    <a:pt x="38" y="109"/>
                  </a:cubicBezTo>
                  <a:cubicBezTo>
                    <a:pt x="38" y="110"/>
                    <a:pt x="38" y="113"/>
                    <a:pt x="36" y="113"/>
                  </a:cubicBezTo>
                  <a:cubicBezTo>
                    <a:pt x="34" y="113"/>
                    <a:pt x="33" y="112"/>
                    <a:pt x="33" y="110"/>
                  </a:cubicBezTo>
                  <a:cubicBezTo>
                    <a:pt x="32" y="108"/>
                    <a:pt x="30" y="104"/>
                    <a:pt x="29" y="101"/>
                  </a:cubicBezTo>
                  <a:cubicBezTo>
                    <a:pt x="27" y="98"/>
                    <a:pt x="25" y="96"/>
                    <a:pt x="24" y="92"/>
                  </a:cubicBezTo>
                  <a:cubicBezTo>
                    <a:pt x="24" y="89"/>
                    <a:pt x="23" y="87"/>
                    <a:pt x="21" y="85"/>
                  </a:cubicBezTo>
                  <a:cubicBezTo>
                    <a:pt x="20" y="83"/>
                    <a:pt x="18" y="77"/>
                    <a:pt x="18" y="74"/>
                  </a:cubicBezTo>
                  <a:cubicBezTo>
                    <a:pt x="17" y="71"/>
                    <a:pt x="17" y="60"/>
                    <a:pt x="16" y="58"/>
                  </a:cubicBezTo>
                  <a:cubicBezTo>
                    <a:pt x="16" y="57"/>
                    <a:pt x="16" y="56"/>
                    <a:pt x="15" y="56"/>
                  </a:cubicBezTo>
                  <a:cubicBezTo>
                    <a:pt x="15" y="56"/>
                    <a:pt x="14" y="60"/>
                    <a:pt x="14" y="60"/>
                  </a:cubicBezTo>
                  <a:cubicBezTo>
                    <a:pt x="13" y="60"/>
                    <a:pt x="10" y="63"/>
                    <a:pt x="9" y="6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6" name="Freeform 6336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906809" y="2978043"/>
              <a:ext cx="181241" cy="117204"/>
            </a:xfrm>
            <a:custGeom>
              <a:avLst/>
              <a:gdLst>
                <a:gd name="T0" fmla="*/ 5 w 30"/>
                <a:gd name="T1" fmla="*/ 12 h 18"/>
                <a:gd name="T2" fmla="*/ 1 w 30"/>
                <a:gd name="T3" fmla="*/ 7 h 18"/>
                <a:gd name="T4" fmla="*/ 5 w 30"/>
                <a:gd name="T5" fmla="*/ 5 h 18"/>
                <a:gd name="T6" fmla="*/ 8 w 30"/>
                <a:gd name="T7" fmla="*/ 1 h 18"/>
                <a:gd name="T8" fmla="*/ 12 w 30"/>
                <a:gd name="T9" fmla="*/ 0 h 18"/>
                <a:gd name="T10" fmla="*/ 13 w 30"/>
                <a:gd name="T11" fmla="*/ 2 h 18"/>
                <a:gd name="T12" fmla="*/ 13 w 30"/>
                <a:gd name="T13" fmla="*/ 3 h 18"/>
                <a:gd name="T14" fmla="*/ 12 w 30"/>
                <a:gd name="T15" fmla="*/ 4 h 18"/>
                <a:gd name="T16" fmla="*/ 9 w 30"/>
                <a:gd name="T17" fmla="*/ 4 h 18"/>
                <a:gd name="T18" fmla="*/ 8 w 30"/>
                <a:gd name="T19" fmla="*/ 7 h 18"/>
                <a:gd name="T20" fmla="*/ 12 w 30"/>
                <a:gd name="T21" fmla="*/ 7 h 18"/>
                <a:gd name="T22" fmla="*/ 17 w 30"/>
                <a:gd name="T23" fmla="*/ 7 h 18"/>
                <a:gd name="T24" fmla="*/ 25 w 30"/>
                <a:gd name="T25" fmla="*/ 7 h 18"/>
                <a:gd name="T26" fmla="*/ 25 w 30"/>
                <a:gd name="T27" fmla="*/ 7 h 18"/>
                <a:gd name="T28" fmla="*/ 26 w 30"/>
                <a:gd name="T29" fmla="*/ 10 h 18"/>
                <a:gd name="T30" fmla="*/ 30 w 30"/>
                <a:gd name="T31" fmla="*/ 11 h 18"/>
                <a:gd name="T32" fmla="*/ 30 w 30"/>
                <a:gd name="T33" fmla="*/ 15 h 18"/>
                <a:gd name="T34" fmla="*/ 27 w 30"/>
                <a:gd name="T35" fmla="*/ 15 h 18"/>
                <a:gd name="T36" fmla="*/ 22 w 30"/>
                <a:gd name="T37" fmla="*/ 16 h 18"/>
                <a:gd name="T38" fmla="*/ 17 w 30"/>
                <a:gd name="T39" fmla="*/ 17 h 18"/>
                <a:gd name="T40" fmla="*/ 17 w 30"/>
                <a:gd name="T41" fmla="*/ 13 h 18"/>
                <a:gd name="T42" fmla="*/ 14 w 30"/>
                <a:gd name="T43" fmla="*/ 11 h 18"/>
                <a:gd name="T44" fmla="*/ 11 w 30"/>
                <a:gd name="T45" fmla="*/ 15 h 18"/>
                <a:gd name="T46" fmla="*/ 4 w 30"/>
                <a:gd name="T47" fmla="*/ 18 h 18"/>
                <a:gd name="T48" fmla="*/ 1 w 30"/>
                <a:gd name="T49" fmla="*/ 16 h 18"/>
                <a:gd name="T50" fmla="*/ 3 w 30"/>
                <a:gd name="T51" fmla="*/ 14 h 18"/>
                <a:gd name="T52" fmla="*/ 5 w 30"/>
                <a:gd name="T5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" h="18">
                  <a:moveTo>
                    <a:pt x="5" y="12"/>
                  </a:moveTo>
                  <a:cubicBezTo>
                    <a:pt x="4" y="11"/>
                    <a:pt x="0" y="8"/>
                    <a:pt x="1" y="7"/>
                  </a:cubicBezTo>
                  <a:cubicBezTo>
                    <a:pt x="2" y="6"/>
                    <a:pt x="4" y="6"/>
                    <a:pt x="5" y="5"/>
                  </a:cubicBezTo>
                  <a:cubicBezTo>
                    <a:pt x="5" y="4"/>
                    <a:pt x="8" y="2"/>
                    <a:pt x="8" y="1"/>
                  </a:cubicBezTo>
                  <a:cubicBezTo>
                    <a:pt x="9" y="1"/>
                    <a:pt x="12" y="0"/>
                    <a:pt x="12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3" y="2"/>
                    <a:pt x="13" y="2"/>
                    <a:pt x="13" y="3"/>
                  </a:cubicBezTo>
                  <a:cubicBezTo>
                    <a:pt x="13" y="3"/>
                    <a:pt x="12" y="4"/>
                    <a:pt x="12" y="4"/>
                  </a:cubicBezTo>
                  <a:cubicBezTo>
                    <a:pt x="11" y="4"/>
                    <a:pt x="9" y="4"/>
                    <a:pt x="9" y="4"/>
                  </a:cubicBezTo>
                  <a:cubicBezTo>
                    <a:pt x="8" y="5"/>
                    <a:pt x="8" y="6"/>
                    <a:pt x="8" y="7"/>
                  </a:cubicBezTo>
                  <a:cubicBezTo>
                    <a:pt x="8" y="7"/>
                    <a:pt x="12" y="7"/>
                    <a:pt x="12" y="7"/>
                  </a:cubicBezTo>
                  <a:cubicBezTo>
                    <a:pt x="13" y="7"/>
                    <a:pt x="16" y="7"/>
                    <a:pt x="17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5" y="10"/>
                    <a:pt x="26" y="10"/>
                  </a:cubicBezTo>
                  <a:cubicBezTo>
                    <a:pt x="27" y="11"/>
                    <a:pt x="29" y="11"/>
                    <a:pt x="30" y="11"/>
                  </a:cubicBezTo>
                  <a:cubicBezTo>
                    <a:pt x="30" y="11"/>
                    <a:pt x="30" y="13"/>
                    <a:pt x="30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3" y="15"/>
                    <a:pt x="22" y="16"/>
                  </a:cubicBezTo>
                  <a:cubicBezTo>
                    <a:pt x="21" y="16"/>
                    <a:pt x="18" y="17"/>
                    <a:pt x="17" y="17"/>
                  </a:cubicBezTo>
                  <a:cubicBezTo>
                    <a:pt x="16" y="18"/>
                    <a:pt x="17" y="13"/>
                    <a:pt x="17" y="13"/>
                  </a:cubicBezTo>
                  <a:cubicBezTo>
                    <a:pt x="17" y="12"/>
                    <a:pt x="15" y="10"/>
                    <a:pt x="14" y="11"/>
                  </a:cubicBezTo>
                  <a:cubicBezTo>
                    <a:pt x="13" y="11"/>
                    <a:pt x="12" y="14"/>
                    <a:pt x="11" y="15"/>
                  </a:cubicBezTo>
                  <a:cubicBezTo>
                    <a:pt x="11" y="15"/>
                    <a:pt x="5" y="17"/>
                    <a:pt x="4" y="18"/>
                  </a:cubicBezTo>
                  <a:cubicBezTo>
                    <a:pt x="4" y="18"/>
                    <a:pt x="2" y="16"/>
                    <a:pt x="1" y="16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5" y="13"/>
                    <a:pt x="5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7" name="Freeform 6337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766191" y="3095247"/>
              <a:ext cx="381232" cy="371703"/>
            </a:xfrm>
            <a:custGeom>
              <a:avLst/>
              <a:gdLst>
                <a:gd name="T0" fmla="*/ 3 w 63"/>
                <a:gd name="T1" fmla="*/ 47 h 57"/>
                <a:gd name="T2" fmla="*/ 5 w 63"/>
                <a:gd name="T3" fmla="*/ 45 h 57"/>
                <a:gd name="T4" fmla="*/ 8 w 63"/>
                <a:gd name="T5" fmla="*/ 45 h 57"/>
                <a:gd name="T6" fmla="*/ 9 w 63"/>
                <a:gd name="T7" fmla="*/ 42 h 57"/>
                <a:gd name="T8" fmla="*/ 7 w 63"/>
                <a:gd name="T9" fmla="*/ 41 h 57"/>
                <a:gd name="T10" fmla="*/ 6 w 63"/>
                <a:gd name="T11" fmla="*/ 37 h 57"/>
                <a:gd name="T12" fmla="*/ 2 w 63"/>
                <a:gd name="T13" fmla="*/ 36 h 57"/>
                <a:gd name="T14" fmla="*/ 0 w 63"/>
                <a:gd name="T15" fmla="*/ 33 h 57"/>
                <a:gd name="T16" fmla="*/ 3 w 63"/>
                <a:gd name="T17" fmla="*/ 33 h 57"/>
                <a:gd name="T18" fmla="*/ 15 w 63"/>
                <a:gd name="T19" fmla="*/ 32 h 57"/>
                <a:gd name="T20" fmla="*/ 19 w 63"/>
                <a:gd name="T21" fmla="*/ 30 h 57"/>
                <a:gd name="T22" fmla="*/ 21 w 63"/>
                <a:gd name="T23" fmla="*/ 25 h 57"/>
                <a:gd name="T24" fmla="*/ 27 w 63"/>
                <a:gd name="T25" fmla="*/ 23 h 57"/>
                <a:gd name="T26" fmla="*/ 29 w 63"/>
                <a:gd name="T27" fmla="*/ 23 h 57"/>
                <a:gd name="T28" fmla="*/ 32 w 63"/>
                <a:gd name="T29" fmla="*/ 21 h 57"/>
                <a:gd name="T30" fmla="*/ 32 w 63"/>
                <a:gd name="T31" fmla="*/ 18 h 57"/>
                <a:gd name="T32" fmla="*/ 34 w 63"/>
                <a:gd name="T33" fmla="*/ 16 h 57"/>
                <a:gd name="T34" fmla="*/ 33 w 63"/>
                <a:gd name="T35" fmla="*/ 13 h 57"/>
                <a:gd name="T36" fmla="*/ 35 w 63"/>
                <a:gd name="T37" fmla="*/ 12 h 57"/>
                <a:gd name="T38" fmla="*/ 38 w 63"/>
                <a:gd name="T39" fmla="*/ 13 h 57"/>
                <a:gd name="T40" fmla="*/ 40 w 63"/>
                <a:gd name="T41" fmla="*/ 9 h 57"/>
                <a:gd name="T42" fmla="*/ 39 w 63"/>
                <a:gd name="T43" fmla="*/ 5 h 57"/>
                <a:gd name="T44" fmla="*/ 43 w 63"/>
                <a:gd name="T45" fmla="*/ 3 h 57"/>
                <a:gd name="T46" fmla="*/ 46 w 63"/>
                <a:gd name="T47" fmla="*/ 1 h 57"/>
                <a:gd name="T48" fmla="*/ 50 w 63"/>
                <a:gd name="T49" fmla="*/ 1 h 57"/>
                <a:gd name="T50" fmla="*/ 54 w 63"/>
                <a:gd name="T51" fmla="*/ 0 h 57"/>
                <a:gd name="T52" fmla="*/ 57 w 63"/>
                <a:gd name="T53" fmla="*/ 3 h 57"/>
                <a:gd name="T54" fmla="*/ 61 w 63"/>
                <a:gd name="T55" fmla="*/ 6 h 57"/>
                <a:gd name="T56" fmla="*/ 63 w 63"/>
                <a:gd name="T57" fmla="*/ 6 h 57"/>
                <a:gd name="T58" fmla="*/ 63 w 63"/>
                <a:gd name="T59" fmla="*/ 6 h 57"/>
                <a:gd name="T60" fmla="*/ 63 w 63"/>
                <a:gd name="T61" fmla="*/ 9 h 57"/>
                <a:gd name="T62" fmla="*/ 56 w 63"/>
                <a:gd name="T63" fmla="*/ 11 h 57"/>
                <a:gd name="T64" fmla="*/ 49 w 63"/>
                <a:gd name="T65" fmla="*/ 11 h 57"/>
                <a:gd name="T66" fmla="*/ 51 w 63"/>
                <a:gd name="T67" fmla="*/ 18 h 57"/>
                <a:gd name="T68" fmla="*/ 55 w 63"/>
                <a:gd name="T69" fmla="*/ 20 h 57"/>
                <a:gd name="T70" fmla="*/ 52 w 63"/>
                <a:gd name="T71" fmla="*/ 23 h 57"/>
                <a:gd name="T72" fmla="*/ 51 w 63"/>
                <a:gd name="T73" fmla="*/ 26 h 57"/>
                <a:gd name="T74" fmla="*/ 46 w 63"/>
                <a:gd name="T75" fmla="*/ 32 h 57"/>
                <a:gd name="T76" fmla="*/ 41 w 63"/>
                <a:gd name="T77" fmla="*/ 39 h 57"/>
                <a:gd name="T78" fmla="*/ 38 w 63"/>
                <a:gd name="T79" fmla="*/ 40 h 57"/>
                <a:gd name="T80" fmla="*/ 36 w 63"/>
                <a:gd name="T81" fmla="*/ 39 h 57"/>
                <a:gd name="T82" fmla="*/ 32 w 63"/>
                <a:gd name="T83" fmla="*/ 43 h 57"/>
                <a:gd name="T84" fmla="*/ 36 w 63"/>
                <a:gd name="T85" fmla="*/ 48 h 57"/>
                <a:gd name="T86" fmla="*/ 37 w 63"/>
                <a:gd name="T87" fmla="*/ 54 h 57"/>
                <a:gd name="T88" fmla="*/ 30 w 63"/>
                <a:gd name="T89" fmla="*/ 54 h 57"/>
                <a:gd name="T90" fmla="*/ 28 w 63"/>
                <a:gd name="T91" fmla="*/ 57 h 57"/>
                <a:gd name="T92" fmla="*/ 24 w 63"/>
                <a:gd name="T93" fmla="*/ 54 h 57"/>
                <a:gd name="T94" fmla="*/ 21 w 63"/>
                <a:gd name="T95" fmla="*/ 49 h 57"/>
                <a:gd name="T96" fmla="*/ 14 w 63"/>
                <a:gd name="T97" fmla="*/ 50 h 57"/>
                <a:gd name="T98" fmla="*/ 2 w 63"/>
                <a:gd name="T99" fmla="*/ 50 h 57"/>
                <a:gd name="T100" fmla="*/ 1 w 63"/>
                <a:gd name="T101" fmla="*/ 50 h 57"/>
                <a:gd name="T102" fmla="*/ 3 w 63"/>
                <a:gd name="T103" fmla="*/ 4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" h="57">
                  <a:moveTo>
                    <a:pt x="3" y="47"/>
                  </a:moveTo>
                  <a:cubicBezTo>
                    <a:pt x="3" y="47"/>
                    <a:pt x="4" y="46"/>
                    <a:pt x="5" y="45"/>
                  </a:cubicBezTo>
                  <a:cubicBezTo>
                    <a:pt x="5" y="45"/>
                    <a:pt x="7" y="45"/>
                    <a:pt x="8" y="45"/>
                  </a:cubicBezTo>
                  <a:cubicBezTo>
                    <a:pt x="8" y="44"/>
                    <a:pt x="9" y="42"/>
                    <a:pt x="9" y="42"/>
                  </a:cubicBezTo>
                  <a:cubicBezTo>
                    <a:pt x="9" y="41"/>
                    <a:pt x="7" y="41"/>
                    <a:pt x="7" y="41"/>
                  </a:cubicBezTo>
                  <a:cubicBezTo>
                    <a:pt x="7" y="40"/>
                    <a:pt x="6" y="38"/>
                    <a:pt x="6" y="37"/>
                  </a:cubicBezTo>
                  <a:cubicBezTo>
                    <a:pt x="6" y="37"/>
                    <a:pt x="3" y="36"/>
                    <a:pt x="2" y="36"/>
                  </a:cubicBezTo>
                  <a:cubicBezTo>
                    <a:pt x="1" y="36"/>
                    <a:pt x="1" y="34"/>
                    <a:pt x="0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4" y="33"/>
                    <a:pt x="14" y="32"/>
                    <a:pt x="15" y="32"/>
                  </a:cubicBezTo>
                  <a:cubicBezTo>
                    <a:pt x="16" y="32"/>
                    <a:pt x="19" y="31"/>
                    <a:pt x="19" y="30"/>
                  </a:cubicBezTo>
                  <a:cubicBezTo>
                    <a:pt x="20" y="30"/>
                    <a:pt x="20" y="26"/>
                    <a:pt x="21" y="25"/>
                  </a:cubicBezTo>
                  <a:cubicBezTo>
                    <a:pt x="22" y="25"/>
                    <a:pt x="26" y="23"/>
                    <a:pt x="27" y="23"/>
                  </a:cubicBezTo>
                  <a:cubicBezTo>
                    <a:pt x="28" y="22"/>
                    <a:pt x="29" y="24"/>
                    <a:pt x="29" y="23"/>
                  </a:cubicBezTo>
                  <a:cubicBezTo>
                    <a:pt x="30" y="23"/>
                    <a:pt x="32" y="22"/>
                    <a:pt x="32" y="21"/>
                  </a:cubicBezTo>
                  <a:cubicBezTo>
                    <a:pt x="32" y="20"/>
                    <a:pt x="31" y="19"/>
                    <a:pt x="32" y="18"/>
                  </a:cubicBezTo>
                  <a:cubicBezTo>
                    <a:pt x="33" y="17"/>
                    <a:pt x="33" y="16"/>
                    <a:pt x="34" y="16"/>
                  </a:cubicBezTo>
                  <a:cubicBezTo>
                    <a:pt x="35" y="16"/>
                    <a:pt x="33" y="13"/>
                    <a:pt x="33" y="13"/>
                  </a:cubicBezTo>
                  <a:cubicBezTo>
                    <a:pt x="34" y="12"/>
                    <a:pt x="35" y="12"/>
                    <a:pt x="35" y="12"/>
                  </a:cubicBezTo>
                  <a:cubicBezTo>
                    <a:pt x="36" y="12"/>
                    <a:pt x="37" y="13"/>
                    <a:pt x="38" y="13"/>
                  </a:cubicBezTo>
                  <a:cubicBezTo>
                    <a:pt x="39" y="12"/>
                    <a:pt x="40" y="10"/>
                    <a:pt x="40" y="9"/>
                  </a:cubicBezTo>
                  <a:cubicBezTo>
                    <a:pt x="40" y="8"/>
                    <a:pt x="39" y="5"/>
                    <a:pt x="39" y="5"/>
                  </a:cubicBezTo>
                  <a:cubicBezTo>
                    <a:pt x="40" y="4"/>
                    <a:pt x="43" y="3"/>
                    <a:pt x="43" y="3"/>
                  </a:cubicBezTo>
                  <a:cubicBezTo>
                    <a:pt x="44" y="2"/>
                    <a:pt x="45" y="1"/>
                    <a:pt x="46" y="1"/>
                  </a:cubicBezTo>
                  <a:cubicBezTo>
                    <a:pt x="48" y="1"/>
                    <a:pt x="49" y="1"/>
                    <a:pt x="50" y="1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6" y="1"/>
                    <a:pt x="57" y="3"/>
                  </a:cubicBezTo>
                  <a:cubicBezTo>
                    <a:pt x="58" y="5"/>
                    <a:pt x="59" y="5"/>
                    <a:pt x="61" y="6"/>
                  </a:cubicBezTo>
                  <a:cubicBezTo>
                    <a:pt x="61" y="6"/>
                    <a:pt x="62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2" y="9"/>
                    <a:pt x="57" y="11"/>
                    <a:pt x="56" y="11"/>
                  </a:cubicBezTo>
                  <a:cubicBezTo>
                    <a:pt x="55" y="11"/>
                    <a:pt x="50" y="10"/>
                    <a:pt x="49" y="11"/>
                  </a:cubicBezTo>
                  <a:cubicBezTo>
                    <a:pt x="49" y="11"/>
                    <a:pt x="51" y="17"/>
                    <a:pt x="51" y="18"/>
                  </a:cubicBezTo>
                  <a:cubicBezTo>
                    <a:pt x="51" y="18"/>
                    <a:pt x="55" y="18"/>
                    <a:pt x="55" y="20"/>
                  </a:cubicBezTo>
                  <a:cubicBezTo>
                    <a:pt x="55" y="23"/>
                    <a:pt x="52" y="23"/>
                    <a:pt x="52" y="23"/>
                  </a:cubicBezTo>
                  <a:cubicBezTo>
                    <a:pt x="52" y="24"/>
                    <a:pt x="52" y="25"/>
                    <a:pt x="51" y="26"/>
                  </a:cubicBezTo>
                  <a:cubicBezTo>
                    <a:pt x="51" y="27"/>
                    <a:pt x="47" y="31"/>
                    <a:pt x="46" y="32"/>
                  </a:cubicBezTo>
                  <a:cubicBezTo>
                    <a:pt x="46" y="33"/>
                    <a:pt x="42" y="39"/>
                    <a:pt x="41" y="39"/>
                  </a:cubicBezTo>
                  <a:cubicBezTo>
                    <a:pt x="41" y="39"/>
                    <a:pt x="39" y="40"/>
                    <a:pt x="38" y="40"/>
                  </a:cubicBezTo>
                  <a:cubicBezTo>
                    <a:pt x="37" y="40"/>
                    <a:pt x="37" y="39"/>
                    <a:pt x="36" y="39"/>
                  </a:cubicBezTo>
                  <a:cubicBezTo>
                    <a:pt x="35" y="39"/>
                    <a:pt x="32" y="42"/>
                    <a:pt x="32" y="43"/>
                  </a:cubicBezTo>
                  <a:cubicBezTo>
                    <a:pt x="31" y="44"/>
                    <a:pt x="35" y="47"/>
                    <a:pt x="36" y="48"/>
                  </a:cubicBezTo>
                  <a:cubicBezTo>
                    <a:pt x="37" y="50"/>
                    <a:pt x="38" y="53"/>
                    <a:pt x="37" y="54"/>
                  </a:cubicBezTo>
                  <a:cubicBezTo>
                    <a:pt x="36" y="54"/>
                    <a:pt x="30" y="54"/>
                    <a:pt x="30" y="54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7" y="56"/>
                    <a:pt x="25" y="55"/>
                    <a:pt x="24" y="54"/>
                  </a:cubicBezTo>
                  <a:cubicBezTo>
                    <a:pt x="23" y="53"/>
                    <a:pt x="22" y="50"/>
                    <a:pt x="21" y="49"/>
                  </a:cubicBezTo>
                  <a:cubicBezTo>
                    <a:pt x="20" y="49"/>
                    <a:pt x="17" y="49"/>
                    <a:pt x="14" y="50"/>
                  </a:cubicBezTo>
                  <a:cubicBezTo>
                    <a:pt x="12" y="50"/>
                    <a:pt x="5" y="50"/>
                    <a:pt x="2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3" y="47"/>
                    <a:pt x="3" y="47"/>
                    <a:pt x="3" y="47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8" name="Freeform 6338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5747442" y="3049684"/>
              <a:ext cx="346858" cy="267466"/>
            </a:xfrm>
            <a:custGeom>
              <a:avLst/>
              <a:gdLst>
                <a:gd name="T0" fmla="*/ 6 w 57"/>
                <a:gd name="T1" fmla="*/ 15 h 40"/>
                <a:gd name="T2" fmla="*/ 10 w 57"/>
                <a:gd name="T3" fmla="*/ 15 h 40"/>
                <a:gd name="T4" fmla="*/ 15 w 57"/>
                <a:gd name="T5" fmla="*/ 12 h 40"/>
                <a:gd name="T6" fmla="*/ 17 w 57"/>
                <a:gd name="T7" fmla="*/ 7 h 40"/>
                <a:gd name="T8" fmla="*/ 23 w 57"/>
                <a:gd name="T9" fmla="*/ 7 h 40"/>
                <a:gd name="T10" fmla="*/ 27 w 57"/>
                <a:gd name="T11" fmla="*/ 7 h 40"/>
                <a:gd name="T12" fmla="*/ 30 w 57"/>
                <a:gd name="T13" fmla="*/ 8 h 40"/>
                <a:gd name="T14" fmla="*/ 37 w 57"/>
                <a:gd name="T15" fmla="*/ 5 h 40"/>
                <a:gd name="T16" fmla="*/ 40 w 57"/>
                <a:gd name="T17" fmla="*/ 1 h 40"/>
                <a:gd name="T18" fmla="*/ 43 w 57"/>
                <a:gd name="T19" fmla="*/ 3 h 40"/>
                <a:gd name="T20" fmla="*/ 43 w 57"/>
                <a:gd name="T21" fmla="*/ 8 h 40"/>
                <a:gd name="T22" fmla="*/ 48 w 57"/>
                <a:gd name="T23" fmla="*/ 6 h 40"/>
                <a:gd name="T24" fmla="*/ 53 w 57"/>
                <a:gd name="T25" fmla="*/ 5 h 40"/>
                <a:gd name="T26" fmla="*/ 56 w 57"/>
                <a:gd name="T27" fmla="*/ 5 h 40"/>
                <a:gd name="T28" fmla="*/ 56 w 57"/>
                <a:gd name="T29" fmla="*/ 6 h 40"/>
                <a:gd name="T30" fmla="*/ 57 w 57"/>
                <a:gd name="T31" fmla="*/ 8 h 40"/>
                <a:gd name="T32" fmla="*/ 53 w 57"/>
                <a:gd name="T33" fmla="*/ 10 h 40"/>
                <a:gd name="T34" fmla="*/ 50 w 57"/>
                <a:gd name="T35" fmla="*/ 10 h 40"/>
                <a:gd name="T36" fmla="*/ 46 w 57"/>
                <a:gd name="T37" fmla="*/ 11 h 40"/>
                <a:gd name="T38" fmla="*/ 42 w 57"/>
                <a:gd name="T39" fmla="*/ 13 h 40"/>
                <a:gd name="T40" fmla="*/ 43 w 57"/>
                <a:gd name="T41" fmla="*/ 17 h 40"/>
                <a:gd name="T42" fmla="*/ 42 w 57"/>
                <a:gd name="T43" fmla="*/ 21 h 40"/>
                <a:gd name="T44" fmla="*/ 38 w 57"/>
                <a:gd name="T45" fmla="*/ 20 h 40"/>
                <a:gd name="T46" fmla="*/ 36 w 57"/>
                <a:gd name="T47" fmla="*/ 21 h 40"/>
                <a:gd name="T48" fmla="*/ 37 w 57"/>
                <a:gd name="T49" fmla="*/ 24 h 40"/>
                <a:gd name="T50" fmla="*/ 35 w 57"/>
                <a:gd name="T51" fmla="*/ 26 h 40"/>
                <a:gd name="T52" fmla="*/ 35 w 57"/>
                <a:gd name="T53" fmla="*/ 29 h 40"/>
                <a:gd name="T54" fmla="*/ 32 w 57"/>
                <a:gd name="T55" fmla="*/ 31 h 40"/>
                <a:gd name="T56" fmla="*/ 30 w 57"/>
                <a:gd name="T57" fmla="*/ 31 h 40"/>
                <a:gd name="T58" fmla="*/ 24 w 57"/>
                <a:gd name="T59" fmla="*/ 33 h 40"/>
                <a:gd name="T60" fmla="*/ 22 w 57"/>
                <a:gd name="T61" fmla="*/ 38 h 40"/>
                <a:gd name="T62" fmla="*/ 18 w 57"/>
                <a:gd name="T63" fmla="*/ 40 h 40"/>
                <a:gd name="T64" fmla="*/ 6 w 57"/>
                <a:gd name="T65" fmla="*/ 40 h 40"/>
                <a:gd name="T66" fmla="*/ 3 w 57"/>
                <a:gd name="T67" fmla="*/ 40 h 40"/>
                <a:gd name="T68" fmla="*/ 2 w 57"/>
                <a:gd name="T69" fmla="*/ 39 h 40"/>
                <a:gd name="T70" fmla="*/ 6 w 57"/>
                <a:gd name="T71" fmla="*/ 35 h 40"/>
                <a:gd name="T72" fmla="*/ 6 w 57"/>
                <a:gd name="T73" fmla="*/ 32 h 40"/>
                <a:gd name="T74" fmla="*/ 1 w 57"/>
                <a:gd name="T75" fmla="*/ 31 h 40"/>
                <a:gd name="T76" fmla="*/ 0 w 57"/>
                <a:gd name="T77" fmla="*/ 21 h 40"/>
                <a:gd name="T78" fmla="*/ 3 w 57"/>
                <a:gd name="T79" fmla="*/ 18 h 40"/>
                <a:gd name="T80" fmla="*/ 3 w 57"/>
                <a:gd name="T81" fmla="*/ 14 h 40"/>
                <a:gd name="T82" fmla="*/ 6 w 57"/>
                <a:gd name="T83" fmla="*/ 15 h 40"/>
                <a:gd name="connsiteX0" fmla="*/ 1053 w 10000"/>
                <a:gd name="connsiteY0" fmla="*/ 3569 h 10373"/>
                <a:gd name="connsiteX1" fmla="*/ 1754 w 10000"/>
                <a:gd name="connsiteY1" fmla="*/ 3569 h 10373"/>
                <a:gd name="connsiteX2" fmla="*/ 2632 w 10000"/>
                <a:gd name="connsiteY2" fmla="*/ 2819 h 10373"/>
                <a:gd name="connsiteX3" fmla="*/ 2982 w 10000"/>
                <a:gd name="connsiteY3" fmla="*/ 1569 h 10373"/>
                <a:gd name="connsiteX4" fmla="*/ 4035 w 10000"/>
                <a:gd name="connsiteY4" fmla="*/ 1569 h 10373"/>
                <a:gd name="connsiteX5" fmla="*/ 4737 w 10000"/>
                <a:gd name="connsiteY5" fmla="*/ 1569 h 10373"/>
                <a:gd name="connsiteX6" fmla="*/ 5263 w 10000"/>
                <a:gd name="connsiteY6" fmla="*/ 1819 h 10373"/>
                <a:gd name="connsiteX7" fmla="*/ 6491 w 10000"/>
                <a:gd name="connsiteY7" fmla="*/ 1069 h 10373"/>
                <a:gd name="connsiteX8" fmla="*/ 7018 w 10000"/>
                <a:gd name="connsiteY8" fmla="*/ 69 h 10373"/>
                <a:gd name="connsiteX9" fmla="*/ 7544 w 10000"/>
                <a:gd name="connsiteY9" fmla="*/ 569 h 10373"/>
                <a:gd name="connsiteX10" fmla="*/ 7544 w 10000"/>
                <a:gd name="connsiteY10" fmla="*/ 1819 h 10373"/>
                <a:gd name="connsiteX11" fmla="*/ 8421 w 10000"/>
                <a:gd name="connsiteY11" fmla="*/ 1319 h 10373"/>
                <a:gd name="connsiteX12" fmla="*/ 9298 w 10000"/>
                <a:gd name="connsiteY12" fmla="*/ 1069 h 10373"/>
                <a:gd name="connsiteX13" fmla="*/ 9825 w 10000"/>
                <a:gd name="connsiteY13" fmla="*/ 1069 h 10373"/>
                <a:gd name="connsiteX14" fmla="*/ 9825 w 10000"/>
                <a:gd name="connsiteY14" fmla="*/ 1319 h 10373"/>
                <a:gd name="connsiteX15" fmla="*/ 10000 w 10000"/>
                <a:gd name="connsiteY15" fmla="*/ 1819 h 10373"/>
                <a:gd name="connsiteX16" fmla="*/ 9298 w 10000"/>
                <a:gd name="connsiteY16" fmla="*/ 2319 h 10373"/>
                <a:gd name="connsiteX17" fmla="*/ 8772 w 10000"/>
                <a:gd name="connsiteY17" fmla="*/ 2319 h 10373"/>
                <a:gd name="connsiteX18" fmla="*/ 8070 w 10000"/>
                <a:gd name="connsiteY18" fmla="*/ 2569 h 10373"/>
                <a:gd name="connsiteX19" fmla="*/ 7368 w 10000"/>
                <a:gd name="connsiteY19" fmla="*/ 3069 h 10373"/>
                <a:gd name="connsiteX20" fmla="*/ 7544 w 10000"/>
                <a:gd name="connsiteY20" fmla="*/ 4069 h 10373"/>
                <a:gd name="connsiteX21" fmla="*/ 7368 w 10000"/>
                <a:gd name="connsiteY21" fmla="*/ 5069 h 10373"/>
                <a:gd name="connsiteX22" fmla="*/ 6667 w 10000"/>
                <a:gd name="connsiteY22" fmla="*/ 4819 h 10373"/>
                <a:gd name="connsiteX23" fmla="*/ 6316 w 10000"/>
                <a:gd name="connsiteY23" fmla="*/ 5069 h 10373"/>
                <a:gd name="connsiteX24" fmla="*/ 6491 w 10000"/>
                <a:gd name="connsiteY24" fmla="*/ 5819 h 10373"/>
                <a:gd name="connsiteX25" fmla="*/ 6140 w 10000"/>
                <a:gd name="connsiteY25" fmla="*/ 6319 h 10373"/>
                <a:gd name="connsiteX26" fmla="*/ 6140 w 10000"/>
                <a:gd name="connsiteY26" fmla="*/ 7069 h 10373"/>
                <a:gd name="connsiteX27" fmla="*/ 5614 w 10000"/>
                <a:gd name="connsiteY27" fmla="*/ 7569 h 10373"/>
                <a:gd name="connsiteX28" fmla="*/ 5263 w 10000"/>
                <a:gd name="connsiteY28" fmla="*/ 7569 h 10373"/>
                <a:gd name="connsiteX29" fmla="*/ 4211 w 10000"/>
                <a:gd name="connsiteY29" fmla="*/ 8069 h 10373"/>
                <a:gd name="connsiteX30" fmla="*/ 3860 w 10000"/>
                <a:gd name="connsiteY30" fmla="*/ 9319 h 10373"/>
                <a:gd name="connsiteX31" fmla="*/ 3158 w 10000"/>
                <a:gd name="connsiteY31" fmla="*/ 9819 h 10373"/>
                <a:gd name="connsiteX32" fmla="*/ 1328 w 10000"/>
                <a:gd name="connsiteY32" fmla="*/ 10373 h 10373"/>
                <a:gd name="connsiteX33" fmla="*/ 526 w 10000"/>
                <a:gd name="connsiteY33" fmla="*/ 9819 h 10373"/>
                <a:gd name="connsiteX34" fmla="*/ 351 w 10000"/>
                <a:gd name="connsiteY34" fmla="*/ 9569 h 10373"/>
                <a:gd name="connsiteX35" fmla="*/ 1053 w 10000"/>
                <a:gd name="connsiteY35" fmla="*/ 8569 h 10373"/>
                <a:gd name="connsiteX36" fmla="*/ 1053 w 10000"/>
                <a:gd name="connsiteY36" fmla="*/ 7819 h 10373"/>
                <a:gd name="connsiteX37" fmla="*/ 175 w 10000"/>
                <a:gd name="connsiteY37" fmla="*/ 7569 h 10373"/>
                <a:gd name="connsiteX38" fmla="*/ 0 w 10000"/>
                <a:gd name="connsiteY38" fmla="*/ 5069 h 10373"/>
                <a:gd name="connsiteX39" fmla="*/ 526 w 10000"/>
                <a:gd name="connsiteY39" fmla="*/ 4319 h 10373"/>
                <a:gd name="connsiteX40" fmla="*/ 526 w 10000"/>
                <a:gd name="connsiteY40" fmla="*/ 3319 h 10373"/>
                <a:gd name="connsiteX41" fmla="*/ 1053 w 10000"/>
                <a:gd name="connsiteY41" fmla="*/ 3569 h 10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0000" h="10373">
                  <a:moveTo>
                    <a:pt x="1053" y="3569"/>
                  </a:moveTo>
                  <a:cubicBezTo>
                    <a:pt x="1228" y="3569"/>
                    <a:pt x="1404" y="3819"/>
                    <a:pt x="1754" y="3569"/>
                  </a:cubicBezTo>
                  <a:cubicBezTo>
                    <a:pt x="1930" y="3319"/>
                    <a:pt x="2456" y="2819"/>
                    <a:pt x="2632" y="2819"/>
                  </a:cubicBezTo>
                  <a:cubicBezTo>
                    <a:pt x="2807" y="2569"/>
                    <a:pt x="2807" y="1819"/>
                    <a:pt x="2982" y="1569"/>
                  </a:cubicBezTo>
                  <a:lnTo>
                    <a:pt x="4035" y="1569"/>
                  </a:lnTo>
                  <a:lnTo>
                    <a:pt x="4737" y="1569"/>
                  </a:lnTo>
                  <a:cubicBezTo>
                    <a:pt x="4912" y="1569"/>
                    <a:pt x="5263" y="1819"/>
                    <a:pt x="5263" y="1819"/>
                  </a:cubicBezTo>
                  <a:cubicBezTo>
                    <a:pt x="5439" y="1819"/>
                    <a:pt x="6491" y="1069"/>
                    <a:pt x="6491" y="1069"/>
                  </a:cubicBezTo>
                  <a:cubicBezTo>
                    <a:pt x="6667" y="819"/>
                    <a:pt x="6842" y="319"/>
                    <a:pt x="7018" y="69"/>
                  </a:cubicBezTo>
                  <a:cubicBezTo>
                    <a:pt x="7193" y="-181"/>
                    <a:pt x="7544" y="319"/>
                    <a:pt x="7544" y="569"/>
                  </a:cubicBezTo>
                  <a:cubicBezTo>
                    <a:pt x="7544" y="569"/>
                    <a:pt x="7368" y="1819"/>
                    <a:pt x="7544" y="1819"/>
                  </a:cubicBezTo>
                  <a:cubicBezTo>
                    <a:pt x="7895" y="1819"/>
                    <a:pt x="8246" y="1569"/>
                    <a:pt x="8421" y="1319"/>
                  </a:cubicBezTo>
                  <a:cubicBezTo>
                    <a:pt x="8596" y="1069"/>
                    <a:pt x="9298" y="1069"/>
                    <a:pt x="9298" y="1069"/>
                  </a:cubicBezTo>
                  <a:lnTo>
                    <a:pt x="9825" y="1069"/>
                  </a:lnTo>
                  <a:lnTo>
                    <a:pt x="9825" y="1319"/>
                  </a:lnTo>
                  <a:cubicBezTo>
                    <a:pt x="9825" y="1819"/>
                    <a:pt x="9825" y="1819"/>
                    <a:pt x="10000" y="1819"/>
                  </a:cubicBezTo>
                  <a:lnTo>
                    <a:pt x="9298" y="2319"/>
                  </a:lnTo>
                  <a:lnTo>
                    <a:pt x="8772" y="2319"/>
                  </a:lnTo>
                  <a:cubicBezTo>
                    <a:pt x="8421" y="2319"/>
                    <a:pt x="8246" y="2319"/>
                    <a:pt x="8070" y="2569"/>
                  </a:cubicBezTo>
                  <a:cubicBezTo>
                    <a:pt x="8070" y="2569"/>
                    <a:pt x="7544" y="2819"/>
                    <a:pt x="7368" y="3069"/>
                  </a:cubicBezTo>
                  <a:cubicBezTo>
                    <a:pt x="7368" y="3069"/>
                    <a:pt x="7544" y="3819"/>
                    <a:pt x="7544" y="4069"/>
                  </a:cubicBezTo>
                  <a:cubicBezTo>
                    <a:pt x="7544" y="4319"/>
                    <a:pt x="7368" y="4819"/>
                    <a:pt x="7368" y="5069"/>
                  </a:cubicBezTo>
                  <a:cubicBezTo>
                    <a:pt x="7018" y="5069"/>
                    <a:pt x="6842" y="4819"/>
                    <a:pt x="6667" y="4819"/>
                  </a:cubicBezTo>
                  <a:cubicBezTo>
                    <a:pt x="6667" y="4819"/>
                    <a:pt x="6491" y="4819"/>
                    <a:pt x="6316" y="5069"/>
                  </a:cubicBezTo>
                  <a:cubicBezTo>
                    <a:pt x="6316" y="5069"/>
                    <a:pt x="6667" y="5819"/>
                    <a:pt x="6491" y="5819"/>
                  </a:cubicBezTo>
                  <a:cubicBezTo>
                    <a:pt x="6316" y="5819"/>
                    <a:pt x="6316" y="6069"/>
                    <a:pt x="6140" y="6319"/>
                  </a:cubicBezTo>
                  <a:cubicBezTo>
                    <a:pt x="5965" y="6569"/>
                    <a:pt x="6140" y="6819"/>
                    <a:pt x="6140" y="7069"/>
                  </a:cubicBezTo>
                  <a:cubicBezTo>
                    <a:pt x="6140" y="7319"/>
                    <a:pt x="5789" y="7569"/>
                    <a:pt x="5614" y="7569"/>
                  </a:cubicBezTo>
                  <a:cubicBezTo>
                    <a:pt x="5614" y="7819"/>
                    <a:pt x="5439" y="7319"/>
                    <a:pt x="5263" y="7569"/>
                  </a:cubicBezTo>
                  <a:cubicBezTo>
                    <a:pt x="5088" y="7569"/>
                    <a:pt x="4386" y="8069"/>
                    <a:pt x="4211" y="8069"/>
                  </a:cubicBezTo>
                  <a:cubicBezTo>
                    <a:pt x="4035" y="8319"/>
                    <a:pt x="4035" y="9319"/>
                    <a:pt x="3860" y="9319"/>
                  </a:cubicBezTo>
                  <a:cubicBezTo>
                    <a:pt x="3860" y="9569"/>
                    <a:pt x="3580" y="9643"/>
                    <a:pt x="3158" y="9819"/>
                  </a:cubicBezTo>
                  <a:cubicBezTo>
                    <a:pt x="2736" y="9995"/>
                    <a:pt x="1503" y="10373"/>
                    <a:pt x="1328" y="10373"/>
                  </a:cubicBezTo>
                  <a:cubicBezTo>
                    <a:pt x="801" y="10373"/>
                    <a:pt x="689" y="9953"/>
                    <a:pt x="526" y="9819"/>
                  </a:cubicBezTo>
                  <a:cubicBezTo>
                    <a:pt x="363" y="9685"/>
                    <a:pt x="351" y="9569"/>
                    <a:pt x="351" y="9569"/>
                  </a:cubicBezTo>
                  <a:lnTo>
                    <a:pt x="1053" y="8569"/>
                  </a:lnTo>
                  <a:lnTo>
                    <a:pt x="1053" y="7819"/>
                  </a:lnTo>
                  <a:cubicBezTo>
                    <a:pt x="877" y="7569"/>
                    <a:pt x="175" y="7819"/>
                    <a:pt x="175" y="7569"/>
                  </a:cubicBezTo>
                  <a:cubicBezTo>
                    <a:pt x="175" y="7319"/>
                    <a:pt x="175" y="5319"/>
                    <a:pt x="0" y="5069"/>
                  </a:cubicBezTo>
                  <a:cubicBezTo>
                    <a:pt x="0" y="4819"/>
                    <a:pt x="351" y="4569"/>
                    <a:pt x="526" y="4319"/>
                  </a:cubicBezTo>
                  <a:lnTo>
                    <a:pt x="526" y="3319"/>
                  </a:lnTo>
                  <a:lnTo>
                    <a:pt x="1053" y="3569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89" name="Freeform 6339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5641197" y="2834050"/>
              <a:ext cx="403106" cy="247802"/>
            </a:xfrm>
            <a:custGeom>
              <a:avLst/>
              <a:gdLst>
                <a:gd name="T0" fmla="*/ 5 w 67"/>
                <a:gd name="T1" fmla="*/ 20 h 38"/>
                <a:gd name="T2" fmla="*/ 0 w 67"/>
                <a:gd name="T3" fmla="*/ 20 h 38"/>
                <a:gd name="T4" fmla="*/ 0 w 67"/>
                <a:gd name="T5" fmla="*/ 2 h 38"/>
                <a:gd name="T6" fmla="*/ 11 w 67"/>
                <a:gd name="T7" fmla="*/ 0 h 38"/>
                <a:gd name="T8" fmla="*/ 10 w 67"/>
                <a:gd name="T9" fmla="*/ 3 h 38"/>
                <a:gd name="T10" fmla="*/ 11 w 67"/>
                <a:gd name="T11" fmla="*/ 7 h 38"/>
                <a:gd name="T12" fmla="*/ 15 w 67"/>
                <a:gd name="T13" fmla="*/ 8 h 38"/>
                <a:gd name="T14" fmla="*/ 19 w 67"/>
                <a:gd name="T15" fmla="*/ 6 h 38"/>
                <a:gd name="T16" fmla="*/ 21 w 67"/>
                <a:gd name="T17" fmla="*/ 7 h 38"/>
                <a:gd name="T18" fmla="*/ 24 w 67"/>
                <a:gd name="T19" fmla="*/ 10 h 38"/>
                <a:gd name="T20" fmla="*/ 36 w 67"/>
                <a:gd name="T21" fmla="*/ 9 h 38"/>
                <a:gd name="T22" fmla="*/ 40 w 67"/>
                <a:gd name="T23" fmla="*/ 17 h 38"/>
                <a:gd name="T24" fmla="*/ 42 w 67"/>
                <a:gd name="T25" fmla="*/ 18 h 38"/>
                <a:gd name="T26" fmla="*/ 42 w 67"/>
                <a:gd name="T27" fmla="*/ 21 h 38"/>
                <a:gd name="T28" fmla="*/ 49 w 67"/>
                <a:gd name="T29" fmla="*/ 21 h 38"/>
                <a:gd name="T30" fmla="*/ 56 w 67"/>
                <a:gd name="T31" fmla="*/ 16 h 38"/>
                <a:gd name="T32" fmla="*/ 57 w 67"/>
                <a:gd name="T33" fmla="*/ 15 h 38"/>
                <a:gd name="T34" fmla="*/ 60 w 67"/>
                <a:gd name="T35" fmla="*/ 17 h 38"/>
                <a:gd name="T36" fmla="*/ 57 w 67"/>
                <a:gd name="T37" fmla="*/ 19 h 38"/>
                <a:gd name="T38" fmla="*/ 58 w 67"/>
                <a:gd name="T39" fmla="*/ 20 h 38"/>
                <a:gd name="T40" fmla="*/ 64 w 67"/>
                <a:gd name="T41" fmla="*/ 21 h 38"/>
                <a:gd name="T42" fmla="*/ 67 w 67"/>
                <a:gd name="T43" fmla="*/ 22 h 38"/>
                <a:gd name="T44" fmla="*/ 64 w 67"/>
                <a:gd name="T45" fmla="*/ 24 h 38"/>
                <a:gd name="T46" fmla="*/ 60 w 67"/>
                <a:gd name="T47" fmla="*/ 25 h 38"/>
                <a:gd name="T48" fmla="*/ 57 w 67"/>
                <a:gd name="T49" fmla="*/ 25 h 38"/>
                <a:gd name="T50" fmla="*/ 57 w 67"/>
                <a:gd name="T51" fmla="*/ 24 h 38"/>
                <a:gd name="T52" fmla="*/ 56 w 67"/>
                <a:gd name="T53" fmla="*/ 22 h 38"/>
                <a:gd name="T54" fmla="*/ 52 w 67"/>
                <a:gd name="T55" fmla="*/ 23 h 38"/>
                <a:gd name="T56" fmla="*/ 49 w 67"/>
                <a:gd name="T57" fmla="*/ 27 h 38"/>
                <a:gd name="T58" fmla="*/ 45 w 67"/>
                <a:gd name="T59" fmla="*/ 29 h 38"/>
                <a:gd name="T60" fmla="*/ 49 w 67"/>
                <a:gd name="T61" fmla="*/ 34 h 38"/>
                <a:gd name="T62" fmla="*/ 47 w 67"/>
                <a:gd name="T63" fmla="*/ 36 h 38"/>
                <a:gd name="T64" fmla="*/ 45 w 67"/>
                <a:gd name="T65" fmla="*/ 38 h 38"/>
                <a:gd name="T66" fmla="*/ 41 w 67"/>
                <a:gd name="T67" fmla="*/ 38 h 38"/>
                <a:gd name="T68" fmla="*/ 42 w 67"/>
                <a:gd name="T69" fmla="*/ 35 h 38"/>
                <a:gd name="T70" fmla="*/ 26 w 67"/>
                <a:gd name="T71" fmla="*/ 26 h 38"/>
                <a:gd name="T72" fmla="*/ 23 w 67"/>
                <a:gd name="T73" fmla="*/ 21 h 38"/>
                <a:gd name="T74" fmla="*/ 17 w 67"/>
                <a:gd name="T75" fmla="*/ 20 h 38"/>
                <a:gd name="T76" fmla="*/ 16 w 67"/>
                <a:gd name="T77" fmla="*/ 16 h 38"/>
                <a:gd name="T78" fmla="*/ 11 w 67"/>
                <a:gd name="T79" fmla="*/ 14 h 38"/>
                <a:gd name="T80" fmla="*/ 6 w 67"/>
                <a:gd name="T81" fmla="*/ 16 h 38"/>
                <a:gd name="T82" fmla="*/ 5 w 67"/>
                <a:gd name="T83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7" h="38">
                  <a:moveTo>
                    <a:pt x="5" y="20"/>
                  </a:moveTo>
                  <a:cubicBezTo>
                    <a:pt x="4" y="20"/>
                    <a:pt x="2" y="20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1"/>
                    <a:pt x="10" y="2"/>
                    <a:pt x="10" y="3"/>
                  </a:cubicBezTo>
                  <a:cubicBezTo>
                    <a:pt x="9" y="5"/>
                    <a:pt x="10" y="7"/>
                    <a:pt x="11" y="7"/>
                  </a:cubicBezTo>
                  <a:cubicBezTo>
                    <a:pt x="11" y="7"/>
                    <a:pt x="14" y="8"/>
                    <a:pt x="15" y="8"/>
                  </a:cubicBezTo>
                  <a:cubicBezTo>
                    <a:pt x="16" y="8"/>
                    <a:pt x="17" y="7"/>
                    <a:pt x="19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3" y="10"/>
                    <a:pt x="24" y="10"/>
                  </a:cubicBezTo>
                  <a:cubicBezTo>
                    <a:pt x="24" y="10"/>
                    <a:pt x="36" y="9"/>
                    <a:pt x="36" y="9"/>
                  </a:cubicBezTo>
                  <a:cubicBezTo>
                    <a:pt x="37" y="9"/>
                    <a:pt x="40" y="16"/>
                    <a:pt x="40" y="17"/>
                  </a:cubicBezTo>
                  <a:cubicBezTo>
                    <a:pt x="39" y="17"/>
                    <a:pt x="42" y="18"/>
                    <a:pt x="42" y="18"/>
                  </a:cubicBezTo>
                  <a:cubicBezTo>
                    <a:pt x="42" y="18"/>
                    <a:pt x="42" y="21"/>
                    <a:pt x="42" y="21"/>
                  </a:cubicBezTo>
                  <a:cubicBezTo>
                    <a:pt x="43" y="21"/>
                    <a:pt x="49" y="21"/>
                    <a:pt x="49" y="21"/>
                  </a:cubicBezTo>
                  <a:cubicBezTo>
                    <a:pt x="50" y="21"/>
                    <a:pt x="55" y="17"/>
                    <a:pt x="56" y="16"/>
                  </a:cubicBezTo>
                  <a:cubicBezTo>
                    <a:pt x="57" y="16"/>
                    <a:pt x="57" y="16"/>
                    <a:pt x="57" y="15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8" y="20"/>
                    <a:pt x="58" y="20"/>
                  </a:cubicBezTo>
                  <a:cubicBezTo>
                    <a:pt x="60" y="21"/>
                    <a:pt x="63" y="20"/>
                    <a:pt x="64" y="21"/>
                  </a:cubicBezTo>
                  <a:cubicBezTo>
                    <a:pt x="65" y="21"/>
                    <a:pt x="67" y="22"/>
                    <a:pt x="67" y="22"/>
                  </a:cubicBezTo>
                  <a:cubicBezTo>
                    <a:pt x="67" y="23"/>
                    <a:pt x="65" y="23"/>
                    <a:pt x="64" y="24"/>
                  </a:cubicBezTo>
                  <a:cubicBezTo>
                    <a:pt x="63" y="24"/>
                    <a:pt x="62" y="25"/>
                    <a:pt x="60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3"/>
                    <a:pt x="56" y="22"/>
                    <a:pt x="56" y="22"/>
                  </a:cubicBezTo>
                  <a:cubicBezTo>
                    <a:pt x="56" y="22"/>
                    <a:pt x="53" y="23"/>
                    <a:pt x="52" y="23"/>
                  </a:cubicBezTo>
                  <a:cubicBezTo>
                    <a:pt x="52" y="24"/>
                    <a:pt x="49" y="26"/>
                    <a:pt x="49" y="27"/>
                  </a:cubicBezTo>
                  <a:cubicBezTo>
                    <a:pt x="48" y="28"/>
                    <a:pt x="46" y="28"/>
                    <a:pt x="45" y="29"/>
                  </a:cubicBezTo>
                  <a:cubicBezTo>
                    <a:pt x="44" y="30"/>
                    <a:pt x="48" y="33"/>
                    <a:pt x="49" y="34"/>
                  </a:cubicBezTo>
                  <a:cubicBezTo>
                    <a:pt x="49" y="35"/>
                    <a:pt x="48" y="35"/>
                    <a:pt x="47" y="36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3" y="38"/>
                    <a:pt x="41" y="38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1" y="35"/>
                    <a:pt x="26" y="26"/>
                    <a:pt x="26" y="26"/>
                  </a:cubicBezTo>
                  <a:cubicBezTo>
                    <a:pt x="25" y="26"/>
                    <a:pt x="24" y="21"/>
                    <a:pt x="23" y="21"/>
                  </a:cubicBezTo>
                  <a:cubicBezTo>
                    <a:pt x="22" y="20"/>
                    <a:pt x="18" y="20"/>
                    <a:pt x="17" y="20"/>
                  </a:cubicBezTo>
                  <a:cubicBezTo>
                    <a:pt x="16" y="20"/>
                    <a:pt x="16" y="16"/>
                    <a:pt x="16" y="16"/>
                  </a:cubicBezTo>
                  <a:cubicBezTo>
                    <a:pt x="15" y="16"/>
                    <a:pt x="12" y="14"/>
                    <a:pt x="11" y="14"/>
                  </a:cubicBezTo>
                  <a:cubicBezTo>
                    <a:pt x="10" y="14"/>
                    <a:pt x="8" y="15"/>
                    <a:pt x="6" y="16"/>
                  </a:cubicBezTo>
                  <a:cubicBezTo>
                    <a:pt x="4" y="16"/>
                    <a:pt x="5" y="20"/>
                    <a:pt x="5" y="2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0" name="Freeform 6340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563076" y="2927812"/>
              <a:ext cx="340774" cy="217388"/>
            </a:xfrm>
            <a:custGeom>
              <a:avLst/>
              <a:gdLst>
                <a:gd name="T0" fmla="*/ 3 w 55"/>
                <a:gd name="T1" fmla="*/ 2 h 34"/>
                <a:gd name="T2" fmla="*/ 8 w 55"/>
                <a:gd name="T3" fmla="*/ 2 h 34"/>
                <a:gd name="T4" fmla="*/ 12 w 55"/>
                <a:gd name="T5" fmla="*/ 7 h 34"/>
                <a:gd name="T6" fmla="*/ 14 w 55"/>
                <a:gd name="T7" fmla="*/ 7 h 34"/>
                <a:gd name="T8" fmla="*/ 18 w 55"/>
                <a:gd name="T9" fmla="*/ 7 h 34"/>
                <a:gd name="T10" fmla="*/ 19 w 55"/>
                <a:gd name="T11" fmla="*/ 2 h 34"/>
                <a:gd name="T12" fmla="*/ 24 w 55"/>
                <a:gd name="T13" fmla="*/ 0 h 34"/>
                <a:gd name="T14" fmla="*/ 29 w 55"/>
                <a:gd name="T15" fmla="*/ 2 h 34"/>
                <a:gd name="T16" fmla="*/ 30 w 55"/>
                <a:gd name="T17" fmla="*/ 7 h 34"/>
                <a:gd name="T18" fmla="*/ 36 w 55"/>
                <a:gd name="T19" fmla="*/ 7 h 34"/>
                <a:gd name="T20" fmla="*/ 39 w 55"/>
                <a:gd name="T21" fmla="*/ 13 h 34"/>
                <a:gd name="T22" fmla="*/ 55 w 55"/>
                <a:gd name="T23" fmla="*/ 22 h 34"/>
                <a:gd name="T24" fmla="*/ 54 w 55"/>
                <a:gd name="T25" fmla="*/ 25 h 34"/>
                <a:gd name="T26" fmla="*/ 48 w 55"/>
                <a:gd name="T27" fmla="*/ 25 h 34"/>
                <a:gd name="T28" fmla="*/ 45 w 55"/>
                <a:gd name="T29" fmla="*/ 30 h 34"/>
                <a:gd name="T30" fmla="*/ 40 w 55"/>
                <a:gd name="T31" fmla="*/ 33 h 34"/>
                <a:gd name="T32" fmla="*/ 37 w 55"/>
                <a:gd name="T33" fmla="*/ 33 h 34"/>
                <a:gd name="T34" fmla="*/ 34 w 55"/>
                <a:gd name="T35" fmla="*/ 32 h 34"/>
                <a:gd name="T36" fmla="*/ 34 w 55"/>
                <a:gd name="T37" fmla="*/ 28 h 34"/>
                <a:gd name="T38" fmla="*/ 30 w 55"/>
                <a:gd name="T39" fmla="*/ 27 h 34"/>
                <a:gd name="T40" fmla="*/ 25 w 55"/>
                <a:gd name="T41" fmla="*/ 24 h 34"/>
                <a:gd name="T42" fmla="*/ 19 w 55"/>
                <a:gd name="T43" fmla="*/ 21 h 34"/>
                <a:gd name="T44" fmla="*/ 13 w 55"/>
                <a:gd name="T45" fmla="*/ 21 h 34"/>
                <a:gd name="T46" fmla="*/ 9 w 55"/>
                <a:gd name="T47" fmla="*/ 24 h 34"/>
                <a:gd name="T48" fmla="*/ 6 w 55"/>
                <a:gd name="T49" fmla="*/ 24 h 34"/>
                <a:gd name="T50" fmla="*/ 6 w 55"/>
                <a:gd name="T51" fmla="*/ 17 h 34"/>
                <a:gd name="T52" fmla="*/ 1 w 55"/>
                <a:gd name="T53" fmla="*/ 13 h 34"/>
                <a:gd name="T54" fmla="*/ 1 w 55"/>
                <a:gd name="T55" fmla="*/ 8 h 34"/>
                <a:gd name="T56" fmla="*/ 0 w 55"/>
                <a:gd name="T57" fmla="*/ 4 h 34"/>
                <a:gd name="T58" fmla="*/ 3 w 55"/>
                <a:gd name="T59" fmla="*/ 2 h 34"/>
                <a:gd name="connsiteX0" fmla="*/ 545 w 10000"/>
                <a:gd name="connsiteY0" fmla="*/ 588 h 9836"/>
                <a:gd name="connsiteX1" fmla="*/ 1455 w 10000"/>
                <a:gd name="connsiteY1" fmla="*/ 588 h 9836"/>
                <a:gd name="connsiteX2" fmla="*/ 2182 w 10000"/>
                <a:gd name="connsiteY2" fmla="*/ 2059 h 9836"/>
                <a:gd name="connsiteX3" fmla="*/ 2545 w 10000"/>
                <a:gd name="connsiteY3" fmla="*/ 2059 h 9836"/>
                <a:gd name="connsiteX4" fmla="*/ 3273 w 10000"/>
                <a:gd name="connsiteY4" fmla="*/ 2059 h 9836"/>
                <a:gd name="connsiteX5" fmla="*/ 3455 w 10000"/>
                <a:gd name="connsiteY5" fmla="*/ 588 h 9836"/>
                <a:gd name="connsiteX6" fmla="*/ 4364 w 10000"/>
                <a:gd name="connsiteY6" fmla="*/ 0 h 9836"/>
                <a:gd name="connsiteX7" fmla="*/ 5273 w 10000"/>
                <a:gd name="connsiteY7" fmla="*/ 588 h 9836"/>
                <a:gd name="connsiteX8" fmla="*/ 5455 w 10000"/>
                <a:gd name="connsiteY8" fmla="*/ 2059 h 9836"/>
                <a:gd name="connsiteX9" fmla="*/ 6545 w 10000"/>
                <a:gd name="connsiteY9" fmla="*/ 2059 h 9836"/>
                <a:gd name="connsiteX10" fmla="*/ 7738 w 10000"/>
                <a:gd name="connsiteY10" fmla="*/ 3939 h 9836"/>
                <a:gd name="connsiteX11" fmla="*/ 10000 w 10000"/>
                <a:gd name="connsiteY11" fmla="*/ 6471 h 9836"/>
                <a:gd name="connsiteX12" fmla="*/ 9818 w 10000"/>
                <a:gd name="connsiteY12" fmla="*/ 7353 h 9836"/>
                <a:gd name="connsiteX13" fmla="*/ 8727 w 10000"/>
                <a:gd name="connsiteY13" fmla="*/ 7353 h 9836"/>
                <a:gd name="connsiteX14" fmla="*/ 8182 w 10000"/>
                <a:gd name="connsiteY14" fmla="*/ 8824 h 9836"/>
                <a:gd name="connsiteX15" fmla="*/ 7273 w 10000"/>
                <a:gd name="connsiteY15" fmla="*/ 9706 h 9836"/>
                <a:gd name="connsiteX16" fmla="*/ 6727 w 10000"/>
                <a:gd name="connsiteY16" fmla="*/ 9706 h 9836"/>
                <a:gd name="connsiteX17" fmla="*/ 6182 w 10000"/>
                <a:gd name="connsiteY17" fmla="*/ 9412 h 9836"/>
                <a:gd name="connsiteX18" fmla="*/ 6182 w 10000"/>
                <a:gd name="connsiteY18" fmla="*/ 8235 h 9836"/>
                <a:gd name="connsiteX19" fmla="*/ 5455 w 10000"/>
                <a:gd name="connsiteY19" fmla="*/ 7941 h 9836"/>
                <a:gd name="connsiteX20" fmla="*/ 4545 w 10000"/>
                <a:gd name="connsiteY20" fmla="*/ 7059 h 9836"/>
                <a:gd name="connsiteX21" fmla="*/ 3455 w 10000"/>
                <a:gd name="connsiteY21" fmla="*/ 6176 h 9836"/>
                <a:gd name="connsiteX22" fmla="*/ 2364 w 10000"/>
                <a:gd name="connsiteY22" fmla="*/ 6176 h 9836"/>
                <a:gd name="connsiteX23" fmla="*/ 1636 w 10000"/>
                <a:gd name="connsiteY23" fmla="*/ 7059 h 9836"/>
                <a:gd name="connsiteX24" fmla="*/ 1091 w 10000"/>
                <a:gd name="connsiteY24" fmla="*/ 7059 h 9836"/>
                <a:gd name="connsiteX25" fmla="*/ 1091 w 10000"/>
                <a:gd name="connsiteY25" fmla="*/ 5000 h 9836"/>
                <a:gd name="connsiteX26" fmla="*/ 182 w 10000"/>
                <a:gd name="connsiteY26" fmla="*/ 3824 h 9836"/>
                <a:gd name="connsiteX27" fmla="*/ 182 w 10000"/>
                <a:gd name="connsiteY27" fmla="*/ 2353 h 9836"/>
                <a:gd name="connsiteX28" fmla="*/ 0 w 10000"/>
                <a:gd name="connsiteY28" fmla="*/ 1176 h 9836"/>
                <a:gd name="connsiteX29" fmla="*/ 545 w 10000"/>
                <a:gd name="connsiteY29" fmla="*/ 588 h 9836"/>
                <a:gd name="connsiteX0" fmla="*/ 545 w 10288"/>
                <a:gd name="connsiteY0" fmla="*/ 598 h 10000"/>
                <a:gd name="connsiteX1" fmla="*/ 1455 w 10288"/>
                <a:gd name="connsiteY1" fmla="*/ 598 h 10000"/>
                <a:gd name="connsiteX2" fmla="*/ 2182 w 10288"/>
                <a:gd name="connsiteY2" fmla="*/ 2093 h 10000"/>
                <a:gd name="connsiteX3" fmla="*/ 2545 w 10288"/>
                <a:gd name="connsiteY3" fmla="*/ 2093 h 10000"/>
                <a:gd name="connsiteX4" fmla="*/ 3273 w 10288"/>
                <a:gd name="connsiteY4" fmla="*/ 2093 h 10000"/>
                <a:gd name="connsiteX5" fmla="*/ 3455 w 10288"/>
                <a:gd name="connsiteY5" fmla="*/ 598 h 10000"/>
                <a:gd name="connsiteX6" fmla="*/ 4364 w 10288"/>
                <a:gd name="connsiteY6" fmla="*/ 0 h 10000"/>
                <a:gd name="connsiteX7" fmla="*/ 5273 w 10288"/>
                <a:gd name="connsiteY7" fmla="*/ 598 h 10000"/>
                <a:gd name="connsiteX8" fmla="*/ 5455 w 10288"/>
                <a:gd name="connsiteY8" fmla="*/ 2093 h 10000"/>
                <a:gd name="connsiteX9" fmla="*/ 6545 w 10288"/>
                <a:gd name="connsiteY9" fmla="*/ 2093 h 10000"/>
                <a:gd name="connsiteX10" fmla="*/ 7738 w 10288"/>
                <a:gd name="connsiteY10" fmla="*/ 4005 h 10000"/>
                <a:gd name="connsiteX11" fmla="*/ 10288 w 10288"/>
                <a:gd name="connsiteY11" fmla="*/ 6344 h 10000"/>
                <a:gd name="connsiteX12" fmla="*/ 9818 w 10288"/>
                <a:gd name="connsiteY12" fmla="*/ 7476 h 10000"/>
                <a:gd name="connsiteX13" fmla="*/ 8727 w 10288"/>
                <a:gd name="connsiteY13" fmla="*/ 7476 h 10000"/>
                <a:gd name="connsiteX14" fmla="*/ 8182 w 10288"/>
                <a:gd name="connsiteY14" fmla="*/ 8971 h 10000"/>
                <a:gd name="connsiteX15" fmla="*/ 7273 w 10288"/>
                <a:gd name="connsiteY15" fmla="*/ 9868 h 10000"/>
                <a:gd name="connsiteX16" fmla="*/ 6727 w 10288"/>
                <a:gd name="connsiteY16" fmla="*/ 9868 h 10000"/>
                <a:gd name="connsiteX17" fmla="*/ 6182 w 10288"/>
                <a:gd name="connsiteY17" fmla="*/ 9569 h 10000"/>
                <a:gd name="connsiteX18" fmla="*/ 6182 w 10288"/>
                <a:gd name="connsiteY18" fmla="*/ 8372 h 10000"/>
                <a:gd name="connsiteX19" fmla="*/ 5455 w 10288"/>
                <a:gd name="connsiteY19" fmla="*/ 8073 h 10000"/>
                <a:gd name="connsiteX20" fmla="*/ 4545 w 10288"/>
                <a:gd name="connsiteY20" fmla="*/ 7177 h 10000"/>
                <a:gd name="connsiteX21" fmla="*/ 3455 w 10288"/>
                <a:gd name="connsiteY21" fmla="*/ 6279 h 10000"/>
                <a:gd name="connsiteX22" fmla="*/ 2364 w 10288"/>
                <a:gd name="connsiteY22" fmla="*/ 6279 h 10000"/>
                <a:gd name="connsiteX23" fmla="*/ 1636 w 10288"/>
                <a:gd name="connsiteY23" fmla="*/ 7177 h 10000"/>
                <a:gd name="connsiteX24" fmla="*/ 1091 w 10288"/>
                <a:gd name="connsiteY24" fmla="*/ 7177 h 10000"/>
                <a:gd name="connsiteX25" fmla="*/ 1091 w 10288"/>
                <a:gd name="connsiteY25" fmla="*/ 5083 h 10000"/>
                <a:gd name="connsiteX26" fmla="*/ 182 w 10288"/>
                <a:gd name="connsiteY26" fmla="*/ 3888 h 10000"/>
                <a:gd name="connsiteX27" fmla="*/ 182 w 10288"/>
                <a:gd name="connsiteY27" fmla="*/ 2392 h 10000"/>
                <a:gd name="connsiteX28" fmla="*/ 0 w 10288"/>
                <a:gd name="connsiteY28" fmla="*/ 1196 h 10000"/>
                <a:gd name="connsiteX29" fmla="*/ 545 w 10288"/>
                <a:gd name="connsiteY29" fmla="*/ 598 h 10000"/>
                <a:gd name="connsiteX0" fmla="*/ 545 w 10288"/>
                <a:gd name="connsiteY0" fmla="*/ 598 h 10000"/>
                <a:gd name="connsiteX1" fmla="*/ 1455 w 10288"/>
                <a:gd name="connsiteY1" fmla="*/ 598 h 10000"/>
                <a:gd name="connsiteX2" fmla="*/ 2182 w 10288"/>
                <a:gd name="connsiteY2" fmla="*/ 2093 h 10000"/>
                <a:gd name="connsiteX3" fmla="*/ 2545 w 10288"/>
                <a:gd name="connsiteY3" fmla="*/ 2093 h 10000"/>
                <a:gd name="connsiteX4" fmla="*/ 3129 w 10288"/>
                <a:gd name="connsiteY4" fmla="*/ 1623 h 10000"/>
                <a:gd name="connsiteX5" fmla="*/ 3455 w 10288"/>
                <a:gd name="connsiteY5" fmla="*/ 598 h 10000"/>
                <a:gd name="connsiteX6" fmla="*/ 4364 w 10288"/>
                <a:gd name="connsiteY6" fmla="*/ 0 h 10000"/>
                <a:gd name="connsiteX7" fmla="*/ 5273 w 10288"/>
                <a:gd name="connsiteY7" fmla="*/ 598 h 10000"/>
                <a:gd name="connsiteX8" fmla="*/ 5455 w 10288"/>
                <a:gd name="connsiteY8" fmla="*/ 2093 h 10000"/>
                <a:gd name="connsiteX9" fmla="*/ 6545 w 10288"/>
                <a:gd name="connsiteY9" fmla="*/ 2093 h 10000"/>
                <a:gd name="connsiteX10" fmla="*/ 7738 w 10288"/>
                <a:gd name="connsiteY10" fmla="*/ 4005 h 10000"/>
                <a:gd name="connsiteX11" fmla="*/ 10288 w 10288"/>
                <a:gd name="connsiteY11" fmla="*/ 6344 h 10000"/>
                <a:gd name="connsiteX12" fmla="*/ 9818 w 10288"/>
                <a:gd name="connsiteY12" fmla="*/ 7476 h 10000"/>
                <a:gd name="connsiteX13" fmla="*/ 8727 w 10288"/>
                <a:gd name="connsiteY13" fmla="*/ 7476 h 10000"/>
                <a:gd name="connsiteX14" fmla="*/ 8182 w 10288"/>
                <a:gd name="connsiteY14" fmla="*/ 8971 h 10000"/>
                <a:gd name="connsiteX15" fmla="*/ 7273 w 10288"/>
                <a:gd name="connsiteY15" fmla="*/ 9868 h 10000"/>
                <a:gd name="connsiteX16" fmla="*/ 6727 w 10288"/>
                <a:gd name="connsiteY16" fmla="*/ 9868 h 10000"/>
                <a:gd name="connsiteX17" fmla="*/ 6182 w 10288"/>
                <a:gd name="connsiteY17" fmla="*/ 9569 h 10000"/>
                <a:gd name="connsiteX18" fmla="*/ 6182 w 10288"/>
                <a:gd name="connsiteY18" fmla="*/ 8372 h 10000"/>
                <a:gd name="connsiteX19" fmla="*/ 5455 w 10288"/>
                <a:gd name="connsiteY19" fmla="*/ 8073 h 10000"/>
                <a:gd name="connsiteX20" fmla="*/ 4545 w 10288"/>
                <a:gd name="connsiteY20" fmla="*/ 7177 h 10000"/>
                <a:gd name="connsiteX21" fmla="*/ 3455 w 10288"/>
                <a:gd name="connsiteY21" fmla="*/ 6279 h 10000"/>
                <a:gd name="connsiteX22" fmla="*/ 2364 w 10288"/>
                <a:gd name="connsiteY22" fmla="*/ 6279 h 10000"/>
                <a:gd name="connsiteX23" fmla="*/ 1636 w 10288"/>
                <a:gd name="connsiteY23" fmla="*/ 7177 h 10000"/>
                <a:gd name="connsiteX24" fmla="*/ 1091 w 10288"/>
                <a:gd name="connsiteY24" fmla="*/ 7177 h 10000"/>
                <a:gd name="connsiteX25" fmla="*/ 1091 w 10288"/>
                <a:gd name="connsiteY25" fmla="*/ 5083 h 10000"/>
                <a:gd name="connsiteX26" fmla="*/ 182 w 10288"/>
                <a:gd name="connsiteY26" fmla="*/ 3888 h 10000"/>
                <a:gd name="connsiteX27" fmla="*/ 182 w 10288"/>
                <a:gd name="connsiteY27" fmla="*/ 2392 h 10000"/>
                <a:gd name="connsiteX28" fmla="*/ 0 w 10288"/>
                <a:gd name="connsiteY28" fmla="*/ 1196 h 10000"/>
                <a:gd name="connsiteX29" fmla="*/ 545 w 10288"/>
                <a:gd name="connsiteY29" fmla="*/ 598 h 10000"/>
                <a:gd name="connsiteX0" fmla="*/ 545 w 10288"/>
                <a:gd name="connsiteY0" fmla="*/ 598 h 10000"/>
                <a:gd name="connsiteX1" fmla="*/ 1455 w 10288"/>
                <a:gd name="connsiteY1" fmla="*/ 598 h 10000"/>
                <a:gd name="connsiteX2" fmla="*/ 2398 w 10288"/>
                <a:gd name="connsiteY2" fmla="*/ 1389 h 10000"/>
                <a:gd name="connsiteX3" fmla="*/ 2545 w 10288"/>
                <a:gd name="connsiteY3" fmla="*/ 2093 h 10000"/>
                <a:gd name="connsiteX4" fmla="*/ 3129 w 10288"/>
                <a:gd name="connsiteY4" fmla="*/ 1623 h 10000"/>
                <a:gd name="connsiteX5" fmla="*/ 3455 w 10288"/>
                <a:gd name="connsiteY5" fmla="*/ 598 h 10000"/>
                <a:gd name="connsiteX6" fmla="*/ 4364 w 10288"/>
                <a:gd name="connsiteY6" fmla="*/ 0 h 10000"/>
                <a:gd name="connsiteX7" fmla="*/ 5273 w 10288"/>
                <a:gd name="connsiteY7" fmla="*/ 598 h 10000"/>
                <a:gd name="connsiteX8" fmla="*/ 5455 w 10288"/>
                <a:gd name="connsiteY8" fmla="*/ 2093 h 10000"/>
                <a:gd name="connsiteX9" fmla="*/ 6545 w 10288"/>
                <a:gd name="connsiteY9" fmla="*/ 2093 h 10000"/>
                <a:gd name="connsiteX10" fmla="*/ 7738 w 10288"/>
                <a:gd name="connsiteY10" fmla="*/ 4005 h 10000"/>
                <a:gd name="connsiteX11" fmla="*/ 10288 w 10288"/>
                <a:gd name="connsiteY11" fmla="*/ 6344 h 10000"/>
                <a:gd name="connsiteX12" fmla="*/ 9818 w 10288"/>
                <a:gd name="connsiteY12" fmla="*/ 7476 h 10000"/>
                <a:gd name="connsiteX13" fmla="*/ 8727 w 10288"/>
                <a:gd name="connsiteY13" fmla="*/ 7476 h 10000"/>
                <a:gd name="connsiteX14" fmla="*/ 8182 w 10288"/>
                <a:gd name="connsiteY14" fmla="*/ 8971 h 10000"/>
                <a:gd name="connsiteX15" fmla="*/ 7273 w 10288"/>
                <a:gd name="connsiteY15" fmla="*/ 9868 h 10000"/>
                <a:gd name="connsiteX16" fmla="*/ 6727 w 10288"/>
                <a:gd name="connsiteY16" fmla="*/ 9868 h 10000"/>
                <a:gd name="connsiteX17" fmla="*/ 6182 w 10288"/>
                <a:gd name="connsiteY17" fmla="*/ 9569 h 10000"/>
                <a:gd name="connsiteX18" fmla="*/ 6182 w 10288"/>
                <a:gd name="connsiteY18" fmla="*/ 8372 h 10000"/>
                <a:gd name="connsiteX19" fmla="*/ 5455 w 10288"/>
                <a:gd name="connsiteY19" fmla="*/ 8073 h 10000"/>
                <a:gd name="connsiteX20" fmla="*/ 4545 w 10288"/>
                <a:gd name="connsiteY20" fmla="*/ 7177 h 10000"/>
                <a:gd name="connsiteX21" fmla="*/ 3455 w 10288"/>
                <a:gd name="connsiteY21" fmla="*/ 6279 h 10000"/>
                <a:gd name="connsiteX22" fmla="*/ 2364 w 10288"/>
                <a:gd name="connsiteY22" fmla="*/ 6279 h 10000"/>
                <a:gd name="connsiteX23" fmla="*/ 1636 w 10288"/>
                <a:gd name="connsiteY23" fmla="*/ 7177 h 10000"/>
                <a:gd name="connsiteX24" fmla="*/ 1091 w 10288"/>
                <a:gd name="connsiteY24" fmla="*/ 7177 h 10000"/>
                <a:gd name="connsiteX25" fmla="*/ 1091 w 10288"/>
                <a:gd name="connsiteY25" fmla="*/ 5083 h 10000"/>
                <a:gd name="connsiteX26" fmla="*/ 182 w 10288"/>
                <a:gd name="connsiteY26" fmla="*/ 3888 h 10000"/>
                <a:gd name="connsiteX27" fmla="*/ 182 w 10288"/>
                <a:gd name="connsiteY27" fmla="*/ 2392 h 10000"/>
                <a:gd name="connsiteX28" fmla="*/ 0 w 10288"/>
                <a:gd name="connsiteY28" fmla="*/ 1196 h 10000"/>
                <a:gd name="connsiteX29" fmla="*/ 545 w 10288"/>
                <a:gd name="connsiteY29" fmla="*/ 598 h 10000"/>
                <a:gd name="connsiteX0" fmla="*/ 545 w 10288"/>
                <a:gd name="connsiteY0" fmla="*/ 598 h 10000"/>
                <a:gd name="connsiteX1" fmla="*/ 1455 w 10288"/>
                <a:gd name="connsiteY1" fmla="*/ 598 h 10000"/>
                <a:gd name="connsiteX2" fmla="*/ 2398 w 10288"/>
                <a:gd name="connsiteY2" fmla="*/ 1389 h 10000"/>
                <a:gd name="connsiteX3" fmla="*/ 2545 w 10288"/>
                <a:gd name="connsiteY3" fmla="*/ 2093 h 10000"/>
                <a:gd name="connsiteX4" fmla="*/ 3129 w 10288"/>
                <a:gd name="connsiteY4" fmla="*/ 1623 h 10000"/>
                <a:gd name="connsiteX5" fmla="*/ 3455 w 10288"/>
                <a:gd name="connsiteY5" fmla="*/ 598 h 10000"/>
                <a:gd name="connsiteX6" fmla="*/ 4364 w 10288"/>
                <a:gd name="connsiteY6" fmla="*/ 0 h 10000"/>
                <a:gd name="connsiteX7" fmla="*/ 5273 w 10288"/>
                <a:gd name="connsiteY7" fmla="*/ 598 h 10000"/>
                <a:gd name="connsiteX8" fmla="*/ 5814 w 10288"/>
                <a:gd name="connsiteY8" fmla="*/ 1545 h 10000"/>
                <a:gd name="connsiteX9" fmla="*/ 6545 w 10288"/>
                <a:gd name="connsiteY9" fmla="*/ 2093 h 10000"/>
                <a:gd name="connsiteX10" fmla="*/ 7738 w 10288"/>
                <a:gd name="connsiteY10" fmla="*/ 4005 h 10000"/>
                <a:gd name="connsiteX11" fmla="*/ 10288 w 10288"/>
                <a:gd name="connsiteY11" fmla="*/ 6344 h 10000"/>
                <a:gd name="connsiteX12" fmla="*/ 9818 w 10288"/>
                <a:gd name="connsiteY12" fmla="*/ 7476 h 10000"/>
                <a:gd name="connsiteX13" fmla="*/ 8727 w 10288"/>
                <a:gd name="connsiteY13" fmla="*/ 7476 h 10000"/>
                <a:gd name="connsiteX14" fmla="*/ 8182 w 10288"/>
                <a:gd name="connsiteY14" fmla="*/ 8971 h 10000"/>
                <a:gd name="connsiteX15" fmla="*/ 7273 w 10288"/>
                <a:gd name="connsiteY15" fmla="*/ 9868 h 10000"/>
                <a:gd name="connsiteX16" fmla="*/ 6727 w 10288"/>
                <a:gd name="connsiteY16" fmla="*/ 9868 h 10000"/>
                <a:gd name="connsiteX17" fmla="*/ 6182 w 10288"/>
                <a:gd name="connsiteY17" fmla="*/ 9569 h 10000"/>
                <a:gd name="connsiteX18" fmla="*/ 6182 w 10288"/>
                <a:gd name="connsiteY18" fmla="*/ 8372 h 10000"/>
                <a:gd name="connsiteX19" fmla="*/ 5455 w 10288"/>
                <a:gd name="connsiteY19" fmla="*/ 8073 h 10000"/>
                <a:gd name="connsiteX20" fmla="*/ 4545 w 10288"/>
                <a:gd name="connsiteY20" fmla="*/ 7177 h 10000"/>
                <a:gd name="connsiteX21" fmla="*/ 3455 w 10288"/>
                <a:gd name="connsiteY21" fmla="*/ 6279 h 10000"/>
                <a:gd name="connsiteX22" fmla="*/ 2364 w 10288"/>
                <a:gd name="connsiteY22" fmla="*/ 6279 h 10000"/>
                <a:gd name="connsiteX23" fmla="*/ 1636 w 10288"/>
                <a:gd name="connsiteY23" fmla="*/ 7177 h 10000"/>
                <a:gd name="connsiteX24" fmla="*/ 1091 w 10288"/>
                <a:gd name="connsiteY24" fmla="*/ 7177 h 10000"/>
                <a:gd name="connsiteX25" fmla="*/ 1091 w 10288"/>
                <a:gd name="connsiteY25" fmla="*/ 5083 h 10000"/>
                <a:gd name="connsiteX26" fmla="*/ 182 w 10288"/>
                <a:gd name="connsiteY26" fmla="*/ 3888 h 10000"/>
                <a:gd name="connsiteX27" fmla="*/ 182 w 10288"/>
                <a:gd name="connsiteY27" fmla="*/ 2392 h 10000"/>
                <a:gd name="connsiteX28" fmla="*/ 0 w 10288"/>
                <a:gd name="connsiteY28" fmla="*/ 1196 h 10000"/>
                <a:gd name="connsiteX29" fmla="*/ 545 w 10288"/>
                <a:gd name="connsiteY29" fmla="*/ 59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88" h="10000">
                  <a:moveTo>
                    <a:pt x="545" y="598"/>
                  </a:moveTo>
                  <a:lnTo>
                    <a:pt x="1455" y="598"/>
                  </a:lnTo>
                  <a:cubicBezTo>
                    <a:pt x="1636" y="1196"/>
                    <a:pt x="2216" y="1090"/>
                    <a:pt x="2398" y="1389"/>
                  </a:cubicBezTo>
                  <a:cubicBezTo>
                    <a:pt x="2519" y="1389"/>
                    <a:pt x="2423" y="2054"/>
                    <a:pt x="2545" y="2093"/>
                  </a:cubicBezTo>
                  <a:cubicBezTo>
                    <a:pt x="2667" y="2132"/>
                    <a:pt x="2934" y="1780"/>
                    <a:pt x="3129" y="1623"/>
                  </a:cubicBezTo>
                  <a:cubicBezTo>
                    <a:pt x="3190" y="1125"/>
                    <a:pt x="3249" y="868"/>
                    <a:pt x="3455" y="598"/>
                  </a:cubicBezTo>
                  <a:cubicBezTo>
                    <a:pt x="3661" y="328"/>
                    <a:pt x="4182" y="0"/>
                    <a:pt x="4364" y="0"/>
                  </a:cubicBezTo>
                  <a:cubicBezTo>
                    <a:pt x="4545" y="0"/>
                    <a:pt x="5031" y="341"/>
                    <a:pt x="5273" y="598"/>
                  </a:cubicBezTo>
                  <a:cubicBezTo>
                    <a:pt x="5515" y="855"/>
                    <a:pt x="5632" y="1246"/>
                    <a:pt x="5814" y="1545"/>
                  </a:cubicBezTo>
                  <a:lnTo>
                    <a:pt x="6545" y="2093"/>
                  </a:lnTo>
                  <a:cubicBezTo>
                    <a:pt x="6727" y="2392"/>
                    <a:pt x="7114" y="3297"/>
                    <a:pt x="7738" y="4005"/>
                  </a:cubicBezTo>
                  <a:cubicBezTo>
                    <a:pt x="8362" y="4714"/>
                    <a:pt x="10106" y="6044"/>
                    <a:pt x="10288" y="6344"/>
                  </a:cubicBezTo>
                  <a:cubicBezTo>
                    <a:pt x="10131" y="6721"/>
                    <a:pt x="10078" y="7287"/>
                    <a:pt x="9818" y="7476"/>
                  </a:cubicBezTo>
                  <a:cubicBezTo>
                    <a:pt x="9558" y="7665"/>
                    <a:pt x="9091" y="7476"/>
                    <a:pt x="8727" y="7476"/>
                  </a:cubicBezTo>
                  <a:cubicBezTo>
                    <a:pt x="8364" y="7775"/>
                    <a:pt x="8364" y="8671"/>
                    <a:pt x="8182" y="8971"/>
                  </a:cubicBezTo>
                  <a:cubicBezTo>
                    <a:pt x="8182" y="8971"/>
                    <a:pt x="7636" y="9569"/>
                    <a:pt x="7273" y="9868"/>
                  </a:cubicBezTo>
                  <a:cubicBezTo>
                    <a:pt x="7091" y="10167"/>
                    <a:pt x="6909" y="9868"/>
                    <a:pt x="6727" y="9868"/>
                  </a:cubicBezTo>
                  <a:lnTo>
                    <a:pt x="6182" y="9569"/>
                  </a:lnTo>
                  <a:lnTo>
                    <a:pt x="6182" y="8372"/>
                  </a:lnTo>
                  <a:cubicBezTo>
                    <a:pt x="6000" y="8372"/>
                    <a:pt x="5636" y="8372"/>
                    <a:pt x="5455" y="8073"/>
                  </a:cubicBezTo>
                  <a:cubicBezTo>
                    <a:pt x="5273" y="8073"/>
                    <a:pt x="4727" y="7177"/>
                    <a:pt x="4545" y="7177"/>
                  </a:cubicBezTo>
                  <a:cubicBezTo>
                    <a:pt x="4364" y="6878"/>
                    <a:pt x="3818" y="6579"/>
                    <a:pt x="3455" y="6279"/>
                  </a:cubicBezTo>
                  <a:lnTo>
                    <a:pt x="2364" y="6279"/>
                  </a:lnTo>
                  <a:cubicBezTo>
                    <a:pt x="2000" y="6279"/>
                    <a:pt x="1636" y="7177"/>
                    <a:pt x="1636" y="7177"/>
                  </a:cubicBezTo>
                  <a:lnTo>
                    <a:pt x="1091" y="7177"/>
                  </a:lnTo>
                  <a:lnTo>
                    <a:pt x="1091" y="5083"/>
                  </a:lnTo>
                  <a:cubicBezTo>
                    <a:pt x="1091" y="4784"/>
                    <a:pt x="182" y="4187"/>
                    <a:pt x="182" y="3888"/>
                  </a:cubicBezTo>
                  <a:cubicBezTo>
                    <a:pt x="0" y="3289"/>
                    <a:pt x="182" y="2691"/>
                    <a:pt x="182" y="2392"/>
                  </a:cubicBezTo>
                  <a:cubicBezTo>
                    <a:pt x="182" y="2093"/>
                    <a:pt x="0" y="1496"/>
                    <a:pt x="0" y="1196"/>
                  </a:cubicBezTo>
                  <a:lnTo>
                    <a:pt x="545" y="598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1" name="Freeform 6341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556826" y="3379884"/>
              <a:ext cx="103120" cy="103809"/>
            </a:xfrm>
            <a:custGeom>
              <a:avLst/>
              <a:gdLst>
                <a:gd name="T0" fmla="*/ 1 w 17"/>
                <a:gd name="T1" fmla="*/ 15 h 16"/>
                <a:gd name="T2" fmla="*/ 0 w 17"/>
                <a:gd name="T3" fmla="*/ 11 h 16"/>
                <a:gd name="T4" fmla="*/ 5 w 17"/>
                <a:gd name="T5" fmla="*/ 10 h 16"/>
                <a:gd name="T6" fmla="*/ 10 w 17"/>
                <a:gd name="T7" fmla="*/ 8 h 16"/>
                <a:gd name="T8" fmla="*/ 15 w 17"/>
                <a:gd name="T9" fmla="*/ 1 h 16"/>
                <a:gd name="T10" fmla="*/ 16 w 17"/>
                <a:gd name="T11" fmla="*/ 7 h 16"/>
                <a:gd name="T12" fmla="*/ 17 w 17"/>
                <a:gd name="T13" fmla="*/ 8 h 16"/>
                <a:gd name="T14" fmla="*/ 14 w 17"/>
                <a:gd name="T15" fmla="*/ 9 h 16"/>
                <a:gd name="T16" fmla="*/ 11 w 17"/>
                <a:gd name="T17" fmla="*/ 16 h 16"/>
                <a:gd name="T18" fmla="*/ 1 w 17"/>
                <a:gd name="T1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6">
                  <a:moveTo>
                    <a:pt x="1" y="15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2" y="11"/>
                    <a:pt x="4" y="10"/>
                    <a:pt x="5" y="10"/>
                  </a:cubicBezTo>
                  <a:cubicBezTo>
                    <a:pt x="7" y="10"/>
                    <a:pt x="9" y="8"/>
                    <a:pt x="10" y="8"/>
                  </a:cubicBezTo>
                  <a:cubicBezTo>
                    <a:pt x="11" y="7"/>
                    <a:pt x="15" y="0"/>
                    <a:pt x="15" y="1"/>
                  </a:cubicBezTo>
                  <a:cubicBezTo>
                    <a:pt x="16" y="1"/>
                    <a:pt x="15" y="5"/>
                    <a:pt x="16" y="7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4" y="9"/>
                    <a:pt x="14" y="9"/>
                  </a:cubicBezTo>
                  <a:cubicBezTo>
                    <a:pt x="14" y="10"/>
                    <a:pt x="11" y="16"/>
                    <a:pt x="11" y="16"/>
                  </a:cubicBezTo>
                  <a:cubicBezTo>
                    <a:pt x="1" y="15"/>
                    <a:pt x="1" y="15"/>
                    <a:pt x="1" y="15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2" name="Freeform 6343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5409958" y="3282772"/>
              <a:ext cx="56247" cy="46882"/>
            </a:xfrm>
            <a:custGeom>
              <a:avLst/>
              <a:gdLst>
                <a:gd name="T0" fmla="*/ 5 w 9"/>
                <a:gd name="T1" fmla="*/ 6 h 7"/>
                <a:gd name="T2" fmla="*/ 1 w 9"/>
                <a:gd name="T3" fmla="*/ 4 h 7"/>
                <a:gd name="T4" fmla="*/ 5 w 9"/>
                <a:gd name="T5" fmla="*/ 1 h 7"/>
                <a:gd name="T6" fmla="*/ 8 w 9"/>
                <a:gd name="T7" fmla="*/ 1 h 7"/>
                <a:gd name="T8" fmla="*/ 7 w 9"/>
                <a:gd name="T9" fmla="*/ 3 h 7"/>
                <a:gd name="T10" fmla="*/ 9 w 9"/>
                <a:gd name="T11" fmla="*/ 7 h 7"/>
                <a:gd name="T12" fmla="*/ 6 w 9"/>
                <a:gd name="T13" fmla="*/ 7 h 7"/>
                <a:gd name="T14" fmla="*/ 5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0" y="5"/>
                    <a:pt x="1" y="4"/>
                  </a:cubicBezTo>
                  <a:cubicBezTo>
                    <a:pt x="2" y="4"/>
                    <a:pt x="3" y="1"/>
                    <a:pt x="5" y="1"/>
                  </a:cubicBezTo>
                  <a:cubicBezTo>
                    <a:pt x="6" y="0"/>
                    <a:pt x="8" y="1"/>
                    <a:pt x="8" y="1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6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3" name="Freeform 6344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5416208" y="2512576"/>
              <a:ext cx="962454" cy="458768"/>
            </a:xfrm>
            <a:custGeom>
              <a:avLst/>
              <a:gdLst>
                <a:gd name="T0" fmla="*/ 2 w 159"/>
                <a:gd name="T1" fmla="*/ 29 h 71"/>
                <a:gd name="T2" fmla="*/ 8 w 159"/>
                <a:gd name="T3" fmla="*/ 30 h 71"/>
                <a:gd name="T4" fmla="*/ 10 w 159"/>
                <a:gd name="T5" fmla="*/ 25 h 71"/>
                <a:gd name="T6" fmla="*/ 27 w 159"/>
                <a:gd name="T7" fmla="*/ 21 h 71"/>
                <a:gd name="T8" fmla="*/ 37 w 159"/>
                <a:gd name="T9" fmla="*/ 26 h 71"/>
                <a:gd name="T10" fmla="*/ 46 w 159"/>
                <a:gd name="T11" fmla="*/ 23 h 71"/>
                <a:gd name="T12" fmla="*/ 54 w 159"/>
                <a:gd name="T13" fmla="*/ 25 h 71"/>
                <a:gd name="T14" fmla="*/ 59 w 159"/>
                <a:gd name="T15" fmla="*/ 21 h 71"/>
                <a:gd name="T16" fmla="*/ 57 w 159"/>
                <a:gd name="T17" fmla="*/ 16 h 71"/>
                <a:gd name="T18" fmla="*/ 58 w 159"/>
                <a:gd name="T19" fmla="*/ 8 h 71"/>
                <a:gd name="T20" fmla="*/ 77 w 159"/>
                <a:gd name="T21" fmla="*/ 5 h 71"/>
                <a:gd name="T22" fmla="*/ 89 w 159"/>
                <a:gd name="T23" fmla="*/ 0 h 71"/>
                <a:gd name="T24" fmla="*/ 96 w 159"/>
                <a:gd name="T25" fmla="*/ 7 h 71"/>
                <a:gd name="T26" fmla="*/ 105 w 159"/>
                <a:gd name="T27" fmla="*/ 11 h 71"/>
                <a:gd name="T28" fmla="*/ 118 w 159"/>
                <a:gd name="T29" fmla="*/ 6 h 71"/>
                <a:gd name="T30" fmla="*/ 130 w 159"/>
                <a:gd name="T31" fmla="*/ 24 h 71"/>
                <a:gd name="T32" fmla="*/ 138 w 159"/>
                <a:gd name="T33" fmla="*/ 24 h 71"/>
                <a:gd name="T34" fmla="*/ 150 w 159"/>
                <a:gd name="T35" fmla="*/ 29 h 71"/>
                <a:gd name="T36" fmla="*/ 157 w 159"/>
                <a:gd name="T37" fmla="*/ 30 h 71"/>
                <a:gd name="T38" fmla="*/ 156 w 159"/>
                <a:gd name="T39" fmla="*/ 35 h 71"/>
                <a:gd name="T40" fmla="*/ 152 w 159"/>
                <a:gd name="T41" fmla="*/ 43 h 71"/>
                <a:gd name="T42" fmla="*/ 139 w 159"/>
                <a:gd name="T43" fmla="*/ 51 h 71"/>
                <a:gd name="T44" fmla="*/ 133 w 159"/>
                <a:gd name="T45" fmla="*/ 61 h 71"/>
                <a:gd name="T46" fmla="*/ 128 w 159"/>
                <a:gd name="T47" fmla="*/ 64 h 71"/>
                <a:gd name="T48" fmla="*/ 113 w 159"/>
                <a:gd name="T49" fmla="*/ 63 h 71"/>
                <a:gd name="T50" fmla="*/ 105 w 159"/>
                <a:gd name="T51" fmla="*/ 65 h 71"/>
                <a:gd name="T52" fmla="*/ 94 w 159"/>
                <a:gd name="T53" fmla="*/ 65 h 71"/>
                <a:gd name="T54" fmla="*/ 86 w 159"/>
                <a:gd name="T55" fmla="*/ 71 h 71"/>
                <a:gd name="T56" fmla="*/ 79 w 159"/>
                <a:gd name="T57" fmla="*/ 68 h 71"/>
                <a:gd name="T58" fmla="*/ 73 w 159"/>
                <a:gd name="T59" fmla="*/ 59 h 71"/>
                <a:gd name="T60" fmla="*/ 58 w 159"/>
                <a:gd name="T61" fmla="*/ 57 h 71"/>
                <a:gd name="T62" fmla="*/ 56 w 159"/>
                <a:gd name="T63" fmla="*/ 53 h 71"/>
                <a:gd name="T64" fmla="*/ 58 w 159"/>
                <a:gd name="T65" fmla="*/ 47 h 71"/>
                <a:gd name="T66" fmla="*/ 53 w 159"/>
                <a:gd name="T67" fmla="*/ 47 h 71"/>
                <a:gd name="T68" fmla="*/ 48 w 159"/>
                <a:gd name="T69" fmla="*/ 50 h 71"/>
                <a:gd name="T70" fmla="*/ 37 w 159"/>
                <a:gd name="T71" fmla="*/ 70 h 71"/>
                <a:gd name="T72" fmla="*/ 32 w 159"/>
                <a:gd name="T73" fmla="*/ 66 h 71"/>
                <a:gd name="T74" fmla="*/ 24 w 159"/>
                <a:gd name="T75" fmla="*/ 68 h 71"/>
                <a:gd name="T76" fmla="*/ 24 w 159"/>
                <a:gd name="T77" fmla="*/ 64 h 71"/>
                <a:gd name="T78" fmla="*/ 19 w 159"/>
                <a:gd name="T79" fmla="*/ 62 h 71"/>
                <a:gd name="T80" fmla="*/ 16 w 159"/>
                <a:gd name="T81" fmla="*/ 58 h 71"/>
                <a:gd name="T82" fmla="*/ 19 w 159"/>
                <a:gd name="T83" fmla="*/ 55 h 71"/>
                <a:gd name="T84" fmla="*/ 19 w 159"/>
                <a:gd name="T85" fmla="*/ 51 h 71"/>
                <a:gd name="T86" fmla="*/ 26 w 159"/>
                <a:gd name="T87" fmla="*/ 48 h 71"/>
                <a:gd name="T88" fmla="*/ 19 w 159"/>
                <a:gd name="T89" fmla="*/ 44 h 71"/>
                <a:gd name="T90" fmla="*/ 11 w 159"/>
                <a:gd name="T91" fmla="*/ 48 h 71"/>
                <a:gd name="T92" fmla="*/ 9 w 159"/>
                <a:gd name="T93" fmla="*/ 42 h 71"/>
                <a:gd name="T94" fmla="*/ 0 w 159"/>
                <a:gd name="T95" fmla="*/ 3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9" h="71">
                  <a:moveTo>
                    <a:pt x="0" y="36"/>
                  </a:moveTo>
                  <a:cubicBezTo>
                    <a:pt x="0" y="36"/>
                    <a:pt x="2" y="30"/>
                    <a:pt x="2" y="29"/>
                  </a:cubicBezTo>
                  <a:cubicBezTo>
                    <a:pt x="2" y="28"/>
                    <a:pt x="4" y="27"/>
                    <a:pt x="4" y="26"/>
                  </a:cubicBezTo>
                  <a:cubicBezTo>
                    <a:pt x="5" y="26"/>
                    <a:pt x="8" y="30"/>
                    <a:pt x="8" y="30"/>
                  </a:cubicBezTo>
                  <a:cubicBezTo>
                    <a:pt x="8" y="30"/>
                    <a:pt x="10" y="28"/>
                    <a:pt x="11" y="28"/>
                  </a:cubicBezTo>
                  <a:cubicBezTo>
                    <a:pt x="11" y="28"/>
                    <a:pt x="10" y="25"/>
                    <a:pt x="10" y="25"/>
                  </a:cubicBezTo>
                  <a:cubicBezTo>
                    <a:pt x="11" y="24"/>
                    <a:pt x="17" y="20"/>
                    <a:pt x="18" y="20"/>
                  </a:cubicBezTo>
                  <a:cubicBezTo>
                    <a:pt x="19" y="20"/>
                    <a:pt x="27" y="20"/>
                    <a:pt x="27" y="21"/>
                  </a:cubicBezTo>
                  <a:cubicBezTo>
                    <a:pt x="28" y="21"/>
                    <a:pt x="31" y="25"/>
                    <a:pt x="32" y="25"/>
                  </a:cubicBezTo>
                  <a:cubicBezTo>
                    <a:pt x="33" y="25"/>
                    <a:pt x="36" y="26"/>
                    <a:pt x="37" y="26"/>
                  </a:cubicBezTo>
                  <a:cubicBezTo>
                    <a:pt x="37" y="25"/>
                    <a:pt x="39" y="23"/>
                    <a:pt x="40" y="23"/>
                  </a:cubicBezTo>
                  <a:cubicBezTo>
                    <a:pt x="42" y="23"/>
                    <a:pt x="45" y="23"/>
                    <a:pt x="46" y="23"/>
                  </a:cubicBezTo>
                  <a:cubicBezTo>
                    <a:pt x="47" y="23"/>
                    <a:pt x="50" y="25"/>
                    <a:pt x="51" y="25"/>
                  </a:cubicBezTo>
                  <a:cubicBezTo>
                    <a:pt x="52" y="25"/>
                    <a:pt x="53" y="25"/>
                    <a:pt x="54" y="25"/>
                  </a:cubicBezTo>
                  <a:cubicBezTo>
                    <a:pt x="55" y="25"/>
                    <a:pt x="58" y="25"/>
                    <a:pt x="58" y="24"/>
                  </a:cubicBezTo>
                  <a:cubicBezTo>
                    <a:pt x="59" y="24"/>
                    <a:pt x="59" y="22"/>
                    <a:pt x="59" y="21"/>
                  </a:cubicBezTo>
                  <a:cubicBezTo>
                    <a:pt x="59" y="21"/>
                    <a:pt x="53" y="19"/>
                    <a:pt x="54" y="18"/>
                  </a:cubicBezTo>
                  <a:cubicBezTo>
                    <a:pt x="54" y="18"/>
                    <a:pt x="57" y="17"/>
                    <a:pt x="57" y="16"/>
                  </a:cubicBezTo>
                  <a:cubicBezTo>
                    <a:pt x="57" y="15"/>
                    <a:pt x="56" y="14"/>
                    <a:pt x="56" y="13"/>
                  </a:cubicBezTo>
                  <a:cubicBezTo>
                    <a:pt x="57" y="13"/>
                    <a:pt x="58" y="8"/>
                    <a:pt x="58" y="8"/>
                  </a:cubicBezTo>
                  <a:cubicBezTo>
                    <a:pt x="59" y="8"/>
                    <a:pt x="61" y="8"/>
                    <a:pt x="62" y="8"/>
                  </a:cubicBezTo>
                  <a:cubicBezTo>
                    <a:pt x="64" y="8"/>
                    <a:pt x="75" y="5"/>
                    <a:pt x="77" y="5"/>
                  </a:cubicBezTo>
                  <a:cubicBezTo>
                    <a:pt x="79" y="4"/>
                    <a:pt x="84" y="3"/>
                    <a:pt x="85" y="2"/>
                  </a:cubicBezTo>
                  <a:cubicBezTo>
                    <a:pt x="86" y="1"/>
                    <a:pt x="88" y="0"/>
                    <a:pt x="89" y="0"/>
                  </a:cubicBezTo>
                  <a:cubicBezTo>
                    <a:pt x="89" y="0"/>
                    <a:pt x="94" y="0"/>
                    <a:pt x="95" y="1"/>
                  </a:cubicBezTo>
                  <a:cubicBezTo>
                    <a:pt x="95" y="1"/>
                    <a:pt x="96" y="6"/>
                    <a:pt x="96" y="7"/>
                  </a:cubicBezTo>
                  <a:cubicBezTo>
                    <a:pt x="97" y="7"/>
                    <a:pt x="104" y="7"/>
                    <a:pt x="105" y="8"/>
                  </a:cubicBezTo>
                  <a:cubicBezTo>
                    <a:pt x="105" y="8"/>
                    <a:pt x="104" y="11"/>
                    <a:pt x="105" y="11"/>
                  </a:cubicBezTo>
                  <a:cubicBezTo>
                    <a:pt x="107" y="11"/>
                    <a:pt x="109" y="10"/>
                    <a:pt x="110" y="9"/>
                  </a:cubicBezTo>
                  <a:cubicBezTo>
                    <a:pt x="112" y="9"/>
                    <a:pt x="117" y="6"/>
                    <a:pt x="118" y="6"/>
                  </a:cubicBezTo>
                  <a:cubicBezTo>
                    <a:pt x="118" y="6"/>
                    <a:pt x="119" y="8"/>
                    <a:pt x="120" y="10"/>
                  </a:cubicBezTo>
                  <a:cubicBezTo>
                    <a:pt x="121" y="11"/>
                    <a:pt x="130" y="24"/>
                    <a:pt x="130" y="24"/>
                  </a:cubicBezTo>
                  <a:cubicBezTo>
                    <a:pt x="130" y="24"/>
                    <a:pt x="134" y="22"/>
                    <a:pt x="134" y="22"/>
                  </a:cubicBezTo>
                  <a:cubicBezTo>
                    <a:pt x="135" y="22"/>
                    <a:pt x="136" y="23"/>
                    <a:pt x="138" y="24"/>
                  </a:cubicBezTo>
                  <a:cubicBezTo>
                    <a:pt x="140" y="25"/>
                    <a:pt x="143" y="23"/>
                    <a:pt x="145" y="24"/>
                  </a:cubicBezTo>
                  <a:cubicBezTo>
                    <a:pt x="146" y="24"/>
                    <a:pt x="149" y="28"/>
                    <a:pt x="150" y="29"/>
                  </a:cubicBezTo>
                  <a:cubicBezTo>
                    <a:pt x="151" y="30"/>
                    <a:pt x="152" y="31"/>
                    <a:pt x="154" y="30"/>
                  </a:cubicBezTo>
                  <a:cubicBezTo>
                    <a:pt x="155" y="30"/>
                    <a:pt x="156" y="29"/>
                    <a:pt x="157" y="30"/>
                  </a:cubicBezTo>
                  <a:cubicBezTo>
                    <a:pt x="157" y="31"/>
                    <a:pt x="158" y="31"/>
                    <a:pt x="159" y="32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5" y="36"/>
                    <a:pt x="154" y="36"/>
                    <a:pt x="153" y="36"/>
                  </a:cubicBezTo>
                  <a:cubicBezTo>
                    <a:pt x="152" y="37"/>
                    <a:pt x="153" y="42"/>
                    <a:pt x="152" y="43"/>
                  </a:cubicBezTo>
                  <a:cubicBezTo>
                    <a:pt x="150" y="44"/>
                    <a:pt x="143" y="42"/>
                    <a:pt x="143" y="42"/>
                  </a:cubicBezTo>
                  <a:cubicBezTo>
                    <a:pt x="143" y="42"/>
                    <a:pt x="140" y="51"/>
                    <a:pt x="139" y="51"/>
                  </a:cubicBezTo>
                  <a:cubicBezTo>
                    <a:pt x="138" y="51"/>
                    <a:pt x="131" y="53"/>
                    <a:pt x="131" y="53"/>
                  </a:cubicBezTo>
                  <a:cubicBezTo>
                    <a:pt x="131" y="53"/>
                    <a:pt x="133" y="60"/>
                    <a:pt x="133" y="61"/>
                  </a:cubicBezTo>
                  <a:cubicBezTo>
                    <a:pt x="133" y="61"/>
                    <a:pt x="132" y="64"/>
                    <a:pt x="132" y="66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4" y="63"/>
                    <a:pt x="122" y="63"/>
                  </a:cubicBezTo>
                  <a:cubicBezTo>
                    <a:pt x="120" y="63"/>
                    <a:pt x="114" y="63"/>
                    <a:pt x="113" y="63"/>
                  </a:cubicBezTo>
                  <a:cubicBezTo>
                    <a:pt x="112" y="63"/>
                    <a:pt x="109" y="61"/>
                    <a:pt x="107" y="61"/>
                  </a:cubicBezTo>
                  <a:cubicBezTo>
                    <a:pt x="105" y="61"/>
                    <a:pt x="105" y="65"/>
                    <a:pt x="105" y="65"/>
                  </a:cubicBezTo>
                  <a:cubicBezTo>
                    <a:pt x="104" y="65"/>
                    <a:pt x="97" y="63"/>
                    <a:pt x="97" y="63"/>
                  </a:cubicBezTo>
                  <a:cubicBezTo>
                    <a:pt x="96" y="63"/>
                    <a:pt x="95" y="64"/>
                    <a:pt x="94" y="65"/>
                  </a:cubicBezTo>
                  <a:cubicBezTo>
                    <a:pt x="94" y="66"/>
                    <a:pt x="94" y="66"/>
                    <a:pt x="93" y="66"/>
                  </a:cubicBezTo>
                  <a:cubicBezTo>
                    <a:pt x="92" y="67"/>
                    <a:pt x="87" y="71"/>
                    <a:pt x="86" y="71"/>
                  </a:cubicBezTo>
                  <a:cubicBezTo>
                    <a:pt x="86" y="71"/>
                    <a:pt x="80" y="71"/>
                    <a:pt x="79" y="71"/>
                  </a:cubicBezTo>
                  <a:cubicBezTo>
                    <a:pt x="79" y="71"/>
                    <a:pt x="79" y="68"/>
                    <a:pt x="79" y="68"/>
                  </a:cubicBezTo>
                  <a:cubicBezTo>
                    <a:pt x="79" y="68"/>
                    <a:pt x="76" y="67"/>
                    <a:pt x="77" y="67"/>
                  </a:cubicBezTo>
                  <a:cubicBezTo>
                    <a:pt x="77" y="66"/>
                    <a:pt x="73" y="59"/>
                    <a:pt x="73" y="59"/>
                  </a:cubicBezTo>
                  <a:cubicBezTo>
                    <a:pt x="72" y="59"/>
                    <a:pt x="61" y="60"/>
                    <a:pt x="61" y="60"/>
                  </a:cubicBezTo>
                  <a:cubicBezTo>
                    <a:pt x="60" y="60"/>
                    <a:pt x="58" y="57"/>
                    <a:pt x="58" y="57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7" y="54"/>
                    <a:pt x="56" y="54"/>
                    <a:pt x="56" y="53"/>
                  </a:cubicBezTo>
                  <a:cubicBezTo>
                    <a:pt x="56" y="51"/>
                    <a:pt x="55" y="50"/>
                    <a:pt x="55" y="49"/>
                  </a:cubicBezTo>
                  <a:cubicBezTo>
                    <a:pt x="55" y="48"/>
                    <a:pt x="57" y="48"/>
                    <a:pt x="58" y="47"/>
                  </a:cubicBezTo>
                  <a:cubicBezTo>
                    <a:pt x="59" y="46"/>
                    <a:pt x="56" y="46"/>
                    <a:pt x="55" y="45"/>
                  </a:cubicBezTo>
                  <a:cubicBezTo>
                    <a:pt x="55" y="45"/>
                    <a:pt x="53" y="46"/>
                    <a:pt x="53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9" y="48"/>
                    <a:pt x="48" y="49"/>
                    <a:pt x="48" y="50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70"/>
                    <a:pt x="36" y="70"/>
                    <a:pt x="35" y="70"/>
                  </a:cubicBezTo>
                  <a:cubicBezTo>
                    <a:pt x="35" y="70"/>
                    <a:pt x="33" y="67"/>
                    <a:pt x="32" y="66"/>
                  </a:cubicBezTo>
                  <a:cubicBezTo>
                    <a:pt x="30" y="65"/>
                    <a:pt x="28" y="66"/>
                    <a:pt x="27" y="66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8"/>
                    <a:pt x="24" y="67"/>
                    <a:pt x="23" y="67"/>
                  </a:cubicBezTo>
                  <a:cubicBezTo>
                    <a:pt x="23" y="66"/>
                    <a:pt x="24" y="64"/>
                    <a:pt x="24" y="64"/>
                  </a:cubicBezTo>
                  <a:cubicBezTo>
                    <a:pt x="24" y="64"/>
                    <a:pt x="23" y="62"/>
                    <a:pt x="21" y="62"/>
                  </a:cubicBezTo>
                  <a:cubicBezTo>
                    <a:pt x="20" y="62"/>
                    <a:pt x="20" y="63"/>
                    <a:pt x="19" y="62"/>
                  </a:cubicBezTo>
                  <a:cubicBezTo>
                    <a:pt x="19" y="61"/>
                    <a:pt x="20" y="61"/>
                    <a:pt x="19" y="60"/>
                  </a:cubicBezTo>
                  <a:cubicBezTo>
                    <a:pt x="18" y="59"/>
                    <a:pt x="17" y="58"/>
                    <a:pt x="16" y="58"/>
                  </a:cubicBezTo>
                  <a:cubicBezTo>
                    <a:pt x="15" y="57"/>
                    <a:pt x="16" y="57"/>
                    <a:pt x="15" y="56"/>
                  </a:cubicBezTo>
                  <a:cubicBezTo>
                    <a:pt x="15" y="55"/>
                    <a:pt x="19" y="56"/>
                    <a:pt x="19" y="55"/>
                  </a:cubicBezTo>
                  <a:cubicBezTo>
                    <a:pt x="20" y="55"/>
                    <a:pt x="18" y="54"/>
                    <a:pt x="18" y="53"/>
                  </a:cubicBezTo>
                  <a:cubicBezTo>
                    <a:pt x="17" y="52"/>
                    <a:pt x="19" y="52"/>
                    <a:pt x="19" y="51"/>
                  </a:cubicBezTo>
                  <a:cubicBezTo>
                    <a:pt x="20" y="51"/>
                    <a:pt x="24" y="51"/>
                    <a:pt x="25" y="51"/>
                  </a:cubicBezTo>
                  <a:cubicBezTo>
                    <a:pt x="25" y="51"/>
                    <a:pt x="25" y="49"/>
                    <a:pt x="26" y="48"/>
                  </a:cubicBezTo>
                  <a:cubicBezTo>
                    <a:pt x="26" y="47"/>
                    <a:pt x="26" y="45"/>
                    <a:pt x="25" y="45"/>
                  </a:cubicBezTo>
                  <a:cubicBezTo>
                    <a:pt x="24" y="44"/>
                    <a:pt x="20" y="44"/>
                    <a:pt x="19" y="44"/>
                  </a:cubicBezTo>
                  <a:cubicBezTo>
                    <a:pt x="18" y="44"/>
                    <a:pt x="15" y="45"/>
                    <a:pt x="14" y="46"/>
                  </a:cubicBezTo>
                  <a:cubicBezTo>
                    <a:pt x="14" y="47"/>
                    <a:pt x="13" y="47"/>
                    <a:pt x="11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4"/>
                    <a:pt x="10" y="43"/>
                    <a:pt x="9" y="42"/>
                  </a:cubicBezTo>
                  <a:cubicBezTo>
                    <a:pt x="8" y="41"/>
                    <a:pt x="5" y="40"/>
                    <a:pt x="4" y="39"/>
                  </a:cubicBezTo>
                  <a:cubicBezTo>
                    <a:pt x="3" y="39"/>
                    <a:pt x="0" y="36"/>
                    <a:pt x="0" y="3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4" name="Freeform 6345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338087" y="4371093"/>
              <a:ext cx="174992" cy="351611"/>
            </a:xfrm>
            <a:custGeom>
              <a:avLst/>
              <a:gdLst>
                <a:gd name="T0" fmla="*/ 3 w 29"/>
                <a:gd name="T1" fmla="*/ 46 h 54"/>
                <a:gd name="T2" fmla="*/ 1 w 29"/>
                <a:gd name="T3" fmla="*/ 38 h 54"/>
                <a:gd name="T4" fmla="*/ 6 w 29"/>
                <a:gd name="T5" fmla="*/ 31 h 54"/>
                <a:gd name="T6" fmla="*/ 4 w 29"/>
                <a:gd name="T7" fmla="*/ 21 h 54"/>
                <a:gd name="T8" fmla="*/ 7 w 29"/>
                <a:gd name="T9" fmla="*/ 16 h 54"/>
                <a:gd name="T10" fmla="*/ 16 w 29"/>
                <a:gd name="T11" fmla="*/ 13 h 54"/>
                <a:gd name="T12" fmla="*/ 20 w 29"/>
                <a:gd name="T13" fmla="*/ 5 h 54"/>
                <a:gd name="T14" fmla="*/ 23 w 29"/>
                <a:gd name="T15" fmla="*/ 3 h 54"/>
                <a:gd name="T16" fmla="*/ 25 w 29"/>
                <a:gd name="T17" fmla="*/ 0 h 54"/>
                <a:gd name="T18" fmla="*/ 28 w 29"/>
                <a:gd name="T19" fmla="*/ 4 h 54"/>
                <a:gd name="T20" fmla="*/ 28 w 29"/>
                <a:gd name="T21" fmla="*/ 13 h 54"/>
                <a:gd name="T22" fmla="*/ 25 w 29"/>
                <a:gd name="T23" fmla="*/ 16 h 54"/>
                <a:gd name="T24" fmla="*/ 25 w 29"/>
                <a:gd name="T25" fmla="*/ 23 h 54"/>
                <a:gd name="T26" fmla="*/ 17 w 29"/>
                <a:gd name="T27" fmla="*/ 50 h 54"/>
                <a:gd name="T28" fmla="*/ 11 w 29"/>
                <a:gd name="T29" fmla="*/ 54 h 54"/>
                <a:gd name="T30" fmla="*/ 5 w 29"/>
                <a:gd name="T31" fmla="*/ 52 h 54"/>
                <a:gd name="T32" fmla="*/ 3 w 29"/>
                <a:gd name="T33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54">
                  <a:moveTo>
                    <a:pt x="3" y="46"/>
                  </a:moveTo>
                  <a:cubicBezTo>
                    <a:pt x="3" y="43"/>
                    <a:pt x="0" y="41"/>
                    <a:pt x="1" y="38"/>
                  </a:cubicBezTo>
                  <a:cubicBezTo>
                    <a:pt x="3" y="36"/>
                    <a:pt x="6" y="34"/>
                    <a:pt x="6" y="31"/>
                  </a:cubicBezTo>
                  <a:cubicBezTo>
                    <a:pt x="6" y="27"/>
                    <a:pt x="3" y="24"/>
                    <a:pt x="4" y="21"/>
                  </a:cubicBezTo>
                  <a:cubicBezTo>
                    <a:pt x="5" y="19"/>
                    <a:pt x="5" y="17"/>
                    <a:pt x="7" y="16"/>
                  </a:cubicBezTo>
                  <a:cubicBezTo>
                    <a:pt x="8" y="16"/>
                    <a:pt x="13" y="16"/>
                    <a:pt x="16" y="13"/>
                  </a:cubicBezTo>
                  <a:cubicBezTo>
                    <a:pt x="18" y="9"/>
                    <a:pt x="20" y="6"/>
                    <a:pt x="20" y="5"/>
                  </a:cubicBezTo>
                  <a:cubicBezTo>
                    <a:pt x="20" y="4"/>
                    <a:pt x="23" y="4"/>
                    <a:pt x="23" y="3"/>
                  </a:cubicBezTo>
                  <a:cubicBezTo>
                    <a:pt x="23" y="2"/>
                    <a:pt x="25" y="0"/>
                    <a:pt x="25" y="0"/>
                  </a:cubicBezTo>
                  <a:cubicBezTo>
                    <a:pt x="26" y="1"/>
                    <a:pt x="28" y="2"/>
                    <a:pt x="28" y="4"/>
                  </a:cubicBezTo>
                  <a:cubicBezTo>
                    <a:pt x="28" y="7"/>
                    <a:pt x="29" y="11"/>
                    <a:pt x="28" y="13"/>
                  </a:cubicBezTo>
                  <a:cubicBezTo>
                    <a:pt x="27" y="15"/>
                    <a:pt x="25" y="14"/>
                    <a:pt x="25" y="16"/>
                  </a:cubicBezTo>
                  <a:cubicBezTo>
                    <a:pt x="25" y="18"/>
                    <a:pt x="27" y="20"/>
                    <a:pt x="25" y="23"/>
                  </a:cubicBezTo>
                  <a:cubicBezTo>
                    <a:pt x="23" y="26"/>
                    <a:pt x="18" y="49"/>
                    <a:pt x="17" y="50"/>
                  </a:cubicBezTo>
                  <a:cubicBezTo>
                    <a:pt x="16" y="52"/>
                    <a:pt x="13" y="54"/>
                    <a:pt x="11" y="54"/>
                  </a:cubicBezTo>
                  <a:cubicBezTo>
                    <a:pt x="9" y="54"/>
                    <a:pt x="5" y="52"/>
                    <a:pt x="5" y="52"/>
                  </a:cubicBezTo>
                  <a:cubicBezTo>
                    <a:pt x="4" y="50"/>
                    <a:pt x="2" y="49"/>
                    <a:pt x="3" y="4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5" name="Freeform 6346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388084" y="2954602"/>
              <a:ext cx="124994" cy="93763"/>
            </a:xfrm>
            <a:custGeom>
              <a:avLst/>
              <a:gdLst>
                <a:gd name="T0" fmla="*/ 1 w 21"/>
                <a:gd name="T1" fmla="*/ 2 h 15"/>
                <a:gd name="T2" fmla="*/ 6 w 21"/>
                <a:gd name="T3" fmla="*/ 3 h 15"/>
                <a:gd name="T4" fmla="*/ 7 w 21"/>
                <a:gd name="T5" fmla="*/ 1 h 15"/>
                <a:gd name="T6" fmla="*/ 10 w 21"/>
                <a:gd name="T7" fmla="*/ 3 h 15"/>
                <a:gd name="T8" fmla="*/ 12 w 21"/>
                <a:gd name="T9" fmla="*/ 2 h 15"/>
                <a:gd name="T10" fmla="*/ 14 w 21"/>
                <a:gd name="T11" fmla="*/ 0 h 15"/>
                <a:gd name="T12" fmla="*/ 15 w 21"/>
                <a:gd name="T13" fmla="*/ 0 h 15"/>
                <a:gd name="T14" fmla="*/ 17 w 21"/>
                <a:gd name="T15" fmla="*/ 4 h 15"/>
                <a:gd name="T16" fmla="*/ 21 w 21"/>
                <a:gd name="T17" fmla="*/ 6 h 15"/>
                <a:gd name="T18" fmla="*/ 18 w 21"/>
                <a:gd name="T19" fmla="*/ 8 h 15"/>
                <a:gd name="T20" fmla="*/ 17 w 21"/>
                <a:gd name="T21" fmla="*/ 11 h 15"/>
                <a:gd name="T22" fmla="*/ 15 w 21"/>
                <a:gd name="T23" fmla="*/ 13 h 15"/>
                <a:gd name="T24" fmla="*/ 15 w 21"/>
                <a:gd name="T25" fmla="*/ 15 h 15"/>
                <a:gd name="T26" fmla="*/ 12 w 21"/>
                <a:gd name="T27" fmla="*/ 13 h 15"/>
                <a:gd name="T28" fmla="*/ 13 w 21"/>
                <a:gd name="T29" fmla="*/ 11 h 15"/>
                <a:gd name="T30" fmla="*/ 11 w 21"/>
                <a:gd name="T31" fmla="*/ 9 h 15"/>
                <a:gd name="T32" fmla="*/ 6 w 21"/>
                <a:gd name="T33" fmla="*/ 12 h 15"/>
                <a:gd name="T34" fmla="*/ 3 w 21"/>
                <a:gd name="T35" fmla="*/ 9 h 15"/>
                <a:gd name="T36" fmla="*/ 3 w 21"/>
                <a:gd name="T37" fmla="*/ 7 h 15"/>
                <a:gd name="T38" fmla="*/ 2 w 21"/>
                <a:gd name="T39" fmla="*/ 6 h 15"/>
                <a:gd name="T40" fmla="*/ 0 w 21"/>
                <a:gd name="T41" fmla="*/ 2 h 15"/>
                <a:gd name="T42" fmla="*/ 1 w 21"/>
                <a:gd name="T4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15">
                  <a:moveTo>
                    <a:pt x="1" y="2"/>
                  </a:moveTo>
                  <a:cubicBezTo>
                    <a:pt x="2" y="1"/>
                    <a:pt x="4" y="3"/>
                    <a:pt x="6" y="3"/>
                  </a:cubicBezTo>
                  <a:cubicBezTo>
                    <a:pt x="7" y="3"/>
                    <a:pt x="7" y="1"/>
                    <a:pt x="7" y="1"/>
                  </a:cubicBezTo>
                  <a:cubicBezTo>
                    <a:pt x="8" y="2"/>
                    <a:pt x="10" y="3"/>
                    <a:pt x="10" y="3"/>
                  </a:cubicBezTo>
                  <a:cubicBezTo>
                    <a:pt x="11" y="3"/>
                    <a:pt x="12" y="2"/>
                    <a:pt x="12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2"/>
                    <a:pt x="17" y="3"/>
                    <a:pt x="17" y="4"/>
                  </a:cubicBezTo>
                  <a:cubicBezTo>
                    <a:pt x="18" y="5"/>
                    <a:pt x="21" y="5"/>
                    <a:pt x="21" y="6"/>
                  </a:cubicBezTo>
                  <a:cubicBezTo>
                    <a:pt x="21" y="7"/>
                    <a:pt x="20" y="7"/>
                    <a:pt x="18" y="8"/>
                  </a:cubicBezTo>
                  <a:cubicBezTo>
                    <a:pt x="17" y="8"/>
                    <a:pt x="17" y="10"/>
                    <a:pt x="17" y="11"/>
                  </a:cubicBezTo>
                  <a:cubicBezTo>
                    <a:pt x="17" y="12"/>
                    <a:pt x="16" y="12"/>
                    <a:pt x="15" y="13"/>
                  </a:cubicBezTo>
                  <a:cubicBezTo>
                    <a:pt x="15" y="13"/>
                    <a:pt x="15" y="14"/>
                    <a:pt x="15" y="15"/>
                  </a:cubicBezTo>
                  <a:cubicBezTo>
                    <a:pt x="14" y="15"/>
                    <a:pt x="12" y="13"/>
                    <a:pt x="12" y="13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6" name="Freeform 634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366210" y="3011530"/>
              <a:ext cx="456228" cy="408539"/>
            </a:xfrm>
            <a:custGeom>
              <a:avLst/>
              <a:gdLst>
                <a:gd name="T0" fmla="*/ 2 w 75"/>
                <a:gd name="T1" fmla="*/ 12 h 63"/>
                <a:gd name="T2" fmla="*/ 1 w 75"/>
                <a:gd name="T3" fmla="*/ 9 h 63"/>
                <a:gd name="T4" fmla="*/ 0 w 75"/>
                <a:gd name="T5" fmla="*/ 4 h 63"/>
                <a:gd name="T6" fmla="*/ 1 w 75"/>
                <a:gd name="T7" fmla="*/ 1 h 63"/>
                <a:gd name="T8" fmla="*/ 4 w 75"/>
                <a:gd name="T9" fmla="*/ 5 h 63"/>
                <a:gd name="T10" fmla="*/ 9 w 75"/>
                <a:gd name="T11" fmla="*/ 4 h 63"/>
                <a:gd name="T12" fmla="*/ 14 w 75"/>
                <a:gd name="T13" fmla="*/ 0 h 63"/>
                <a:gd name="T14" fmla="*/ 16 w 75"/>
                <a:gd name="T15" fmla="*/ 2 h 63"/>
                <a:gd name="T16" fmla="*/ 15 w 75"/>
                <a:gd name="T17" fmla="*/ 4 h 63"/>
                <a:gd name="T18" fmla="*/ 18 w 75"/>
                <a:gd name="T19" fmla="*/ 7 h 63"/>
                <a:gd name="T20" fmla="*/ 18 w 75"/>
                <a:gd name="T21" fmla="*/ 8 h 63"/>
                <a:gd name="T22" fmla="*/ 19 w 75"/>
                <a:gd name="T23" fmla="*/ 10 h 63"/>
                <a:gd name="T24" fmla="*/ 24 w 75"/>
                <a:gd name="T25" fmla="*/ 12 h 63"/>
                <a:gd name="T26" fmla="*/ 30 w 75"/>
                <a:gd name="T27" fmla="*/ 15 h 63"/>
                <a:gd name="T28" fmla="*/ 37 w 75"/>
                <a:gd name="T29" fmla="*/ 13 h 63"/>
                <a:gd name="T30" fmla="*/ 37 w 75"/>
                <a:gd name="T31" fmla="*/ 11 h 63"/>
                <a:gd name="T32" fmla="*/ 37 w 75"/>
                <a:gd name="T33" fmla="*/ 11 h 63"/>
                <a:gd name="T34" fmla="*/ 41 w 75"/>
                <a:gd name="T35" fmla="*/ 11 h 63"/>
                <a:gd name="T36" fmla="*/ 45 w 75"/>
                <a:gd name="T37" fmla="*/ 8 h 63"/>
                <a:gd name="T38" fmla="*/ 51 w 75"/>
                <a:gd name="T39" fmla="*/ 8 h 63"/>
                <a:gd name="T40" fmla="*/ 57 w 75"/>
                <a:gd name="T41" fmla="*/ 11 h 63"/>
                <a:gd name="T42" fmla="*/ 62 w 75"/>
                <a:gd name="T43" fmla="*/ 14 h 63"/>
                <a:gd name="T44" fmla="*/ 66 w 75"/>
                <a:gd name="T45" fmla="*/ 15 h 63"/>
                <a:gd name="T46" fmla="*/ 66 w 75"/>
                <a:gd name="T47" fmla="*/ 19 h 63"/>
                <a:gd name="T48" fmla="*/ 65 w 75"/>
                <a:gd name="T49" fmla="*/ 23 h 63"/>
                <a:gd name="T50" fmla="*/ 63 w 75"/>
                <a:gd name="T51" fmla="*/ 26 h 63"/>
                <a:gd name="T52" fmla="*/ 64 w 75"/>
                <a:gd name="T53" fmla="*/ 37 h 63"/>
                <a:gd name="T54" fmla="*/ 68 w 75"/>
                <a:gd name="T55" fmla="*/ 38 h 63"/>
                <a:gd name="T56" fmla="*/ 68 w 75"/>
                <a:gd name="T57" fmla="*/ 41 h 63"/>
                <a:gd name="T58" fmla="*/ 65 w 75"/>
                <a:gd name="T59" fmla="*/ 44 h 63"/>
                <a:gd name="T60" fmla="*/ 66 w 75"/>
                <a:gd name="T61" fmla="*/ 46 h 63"/>
                <a:gd name="T62" fmla="*/ 68 w 75"/>
                <a:gd name="T63" fmla="*/ 49 h 63"/>
                <a:gd name="T64" fmla="*/ 72 w 75"/>
                <a:gd name="T65" fmla="*/ 50 h 63"/>
                <a:gd name="T66" fmla="*/ 73 w 75"/>
                <a:gd name="T67" fmla="*/ 54 h 63"/>
                <a:gd name="T68" fmla="*/ 75 w 75"/>
                <a:gd name="T69" fmla="*/ 55 h 63"/>
                <a:gd name="T70" fmla="*/ 73 w 75"/>
                <a:gd name="T71" fmla="*/ 58 h 63"/>
                <a:gd name="T72" fmla="*/ 70 w 75"/>
                <a:gd name="T73" fmla="*/ 58 h 63"/>
                <a:gd name="T74" fmla="*/ 69 w 75"/>
                <a:gd name="T75" fmla="*/ 60 h 63"/>
                <a:gd name="T76" fmla="*/ 66 w 75"/>
                <a:gd name="T77" fmla="*/ 63 h 63"/>
                <a:gd name="T78" fmla="*/ 55 w 75"/>
                <a:gd name="T79" fmla="*/ 61 h 63"/>
                <a:gd name="T80" fmla="*/ 51 w 75"/>
                <a:gd name="T81" fmla="*/ 59 h 63"/>
                <a:gd name="T82" fmla="*/ 49 w 75"/>
                <a:gd name="T83" fmla="*/ 55 h 63"/>
                <a:gd name="T84" fmla="*/ 43 w 75"/>
                <a:gd name="T85" fmla="*/ 56 h 63"/>
                <a:gd name="T86" fmla="*/ 36 w 75"/>
                <a:gd name="T87" fmla="*/ 56 h 63"/>
                <a:gd name="T88" fmla="*/ 32 w 75"/>
                <a:gd name="T89" fmla="*/ 53 h 63"/>
                <a:gd name="T90" fmla="*/ 28 w 75"/>
                <a:gd name="T91" fmla="*/ 52 h 63"/>
                <a:gd name="T92" fmla="*/ 23 w 75"/>
                <a:gd name="T93" fmla="*/ 42 h 63"/>
                <a:gd name="T94" fmla="*/ 19 w 75"/>
                <a:gd name="T95" fmla="*/ 43 h 63"/>
                <a:gd name="T96" fmla="*/ 17 w 75"/>
                <a:gd name="T97" fmla="*/ 43 h 63"/>
                <a:gd name="T98" fmla="*/ 14 w 75"/>
                <a:gd name="T99" fmla="*/ 39 h 63"/>
                <a:gd name="T100" fmla="*/ 14 w 75"/>
                <a:gd name="T101" fmla="*/ 36 h 63"/>
                <a:gd name="T102" fmla="*/ 13 w 75"/>
                <a:gd name="T103" fmla="*/ 33 h 63"/>
                <a:gd name="T104" fmla="*/ 7 w 75"/>
                <a:gd name="T105" fmla="*/ 30 h 63"/>
                <a:gd name="T106" fmla="*/ 5 w 75"/>
                <a:gd name="T107" fmla="*/ 25 h 63"/>
                <a:gd name="T108" fmla="*/ 7 w 75"/>
                <a:gd name="T109" fmla="*/ 22 h 63"/>
                <a:gd name="T110" fmla="*/ 8 w 75"/>
                <a:gd name="T111" fmla="*/ 19 h 63"/>
                <a:gd name="T112" fmla="*/ 4 w 75"/>
                <a:gd name="T113" fmla="*/ 17 h 63"/>
                <a:gd name="T114" fmla="*/ 2 w 75"/>
                <a:gd name="T115" fmla="*/ 1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5" h="63">
                  <a:moveTo>
                    <a:pt x="2" y="12"/>
                  </a:moveTo>
                  <a:cubicBezTo>
                    <a:pt x="1" y="10"/>
                    <a:pt x="1" y="10"/>
                    <a:pt x="1" y="9"/>
                  </a:cubicBezTo>
                  <a:cubicBezTo>
                    <a:pt x="1" y="7"/>
                    <a:pt x="0" y="4"/>
                    <a:pt x="0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1"/>
                    <a:pt x="4" y="4"/>
                    <a:pt x="4" y="5"/>
                  </a:cubicBezTo>
                  <a:cubicBezTo>
                    <a:pt x="6" y="6"/>
                    <a:pt x="9" y="4"/>
                    <a:pt x="9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7" y="7"/>
                    <a:pt x="18" y="7"/>
                  </a:cubicBezTo>
                  <a:cubicBezTo>
                    <a:pt x="18" y="7"/>
                    <a:pt x="18" y="8"/>
                    <a:pt x="18" y="8"/>
                  </a:cubicBezTo>
                  <a:cubicBezTo>
                    <a:pt x="18" y="8"/>
                    <a:pt x="18" y="9"/>
                    <a:pt x="19" y="10"/>
                  </a:cubicBezTo>
                  <a:cubicBezTo>
                    <a:pt x="20" y="11"/>
                    <a:pt x="24" y="11"/>
                    <a:pt x="24" y="12"/>
                  </a:cubicBezTo>
                  <a:cubicBezTo>
                    <a:pt x="24" y="13"/>
                    <a:pt x="28" y="15"/>
                    <a:pt x="30" y="15"/>
                  </a:cubicBezTo>
                  <a:cubicBezTo>
                    <a:pt x="32" y="15"/>
                    <a:pt x="37" y="14"/>
                    <a:pt x="37" y="13"/>
                  </a:cubicBezTo>
                  <a:cubicBezTo>
                    <a:pt x="37" y="13"/>
                    <a:pt x="37" y="12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9" y="11"/>
                    <a:pt x="41" y="11"/>
                    <a:pt x="41" y="11"/>
                  </a:cubicBezTo>
                  <a:cubicBezTo>
                    <a:pt x="41" y="11"/>
                    <a:pt x="43" y="8"/>
                    <a:pt x="45" y="8"/>
                  </a:cubicBezTo>
                  <a:cubicBezTo>
                    <a:pt x="46" y="8"/>
                    <a:pt x="49" y="8"/>
                    <a:pt x="51" y="8"/>
                  </a:cubicBezTo>
                  <a:cubicBezTo>
                    <a:pt x="53" y="9"/>
                    <a:pt x="56" y="10"/>
                    <a:pt x="57" y="11"/>
                  </a:cubicBezTo>
                  <a:cubicBezTo>
                    <a:pt x="58" y="11"/>
                    <a:pt x="61" y="14"/>
                    <a:pt x="62" y="14"/>
                  </a:cubicBezTo>
                  <a:cubicBezTo>
                    <a:pt x="63" y="15"/>
                    <a:pt x="65" y="15"/>
                    <a:pt x="66" y="15"/>
                  </a:cubicBezTo>
                  <a:cubicBezTo>
                    <a:pt x="66" y="15"/>
                    <a:pt x="66" y="17"/>
                    <a:pt x="66" y="19"/>
                  </a:cubicBezTo>
                  <a:cubicBezTo>
                    <a:pt x="66" y="21"/>
                    <a:pt x="65" y="22"/>
                    <a:pt x="65" y="23"/>
                  </a:cubicBezTo>
                  <a:cubicBezTo>
                    <a:pt x="65" y="24"/>
                    <a:pt x="63" y="25"/>
                    <a:pt x="63" y="26"/>
                  </a:cubicBezTo>
                  <a:cubicBezTo>
                    <a:pt x="63" y="27"/>
                    <a:pt x="64" y="36"/>
                    <a:pt x="64" y="37"/>
                  </a:cubicBezTo>
                  <a:cubicBezTo>
                    <a:pt x="64" y="37"/>
                    <a:pt x="68" y="37"/>
                    <a:pt x="68" y="38"/>
                  </a:cubicBezTo>
                  <a:cubicBezTo>
                    <a:pt x="68" y="39"/>
                    <a:pt x="68" y="40"/>
                    <a:pt x="68" y="41"/>
                  </a:cubicBezTo>
                  <a:cubicBezTo>
                    <a:pt x="68" y="41"/>
                    <a:pt x="64" y="43"/>
                    <a:pt x="65" y="44"/>
                  </a:cubicBezTo>
                  <a:cubicBezTo>
                    <a:pt x="65" y="44"/>
                    <a:pt x="65" y="45"/>
                    <a:pt x="66" y="46"/>
                  </a:cubicBezTo>
                  <a:cubicBezTo>
                    <a:pt x="66" y="47"/>
                    <a:pt x="67" y="49"/>
                    <a:pt x="68" y="49"/>
                  </a:cubicBezTo>
                  <a:cubicBezTo>
                    <a:pt x="69" y="49"/>
                    <a:pt x="71" y="50"/>
                    <a:pt x="72" y="50"/>
                  </a:cubicBezTo>
                  <a:cubicBezTo>
                    <a:pt x="72" y="51"/>
                    <a:pt x="73" y="53"/>
                    <a:pt x="73" y="54"/>
                  </a:cubicBezTo>
                  <a:cubicBezTo>
                    <a:pt x="73" y="54"/>
                    <a:pt x="75" y="54"/>
                    <a:pt x="75" y="55"/>
                  </a:cubicBezTo>
                  <a:cubicBezTo>
                    <a:pt x="75" y="55"/>
                    <a:pt x="74" y="57"/>
                    <a:pt x="73" y="58"/>
                  </a:cubicBezTo>
                  <a:cubicBezTo>
                    <a:pt x="73" y="58"/>
                    <a:pt x="71" y="58"/>
                    <a:pt x="70" y="58"/>
                  </a:cubicBezTo>
                  <a:cubicBezTo>
                    <a:pt x="69" y="59"/>
                    <a:pt x="69" y="60"/>
                    <a:pt x="69" y="60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3" y="63"/>
                    <a:pt x="57" y="62"/>
                    <a:pt x="55" y="61"/>
                  </a:cubicBezTo>
                  <a:cubicBezTo>
                    <a:pt x="53" y="61"/>
                    <a:pt x="52" y="61"/>
                    <a:pt x="51" y="59"/>
                  </a:cubicBezTo>
                  <a:cubicBezTo>
                    <a:pt x="51" y="58"/>
                    <a:pt x="50" y="55"/>
                    <a:pt x="49" y="55"/>
                  </a:cubicBezTo>
                  <a:cubicBezTo>
                    <a:pt x="48" y="55"/>
                    <a:pt x="44" y="56"/>
                    <a:pt x="43" y="56"/>
                  </a:cubicBezTo>
                  <a:cubicBezTo>
                    <a:pt x="42" y="57"/>
                    <a:pt x="37" y="57"/>
                    <a:pt x="36" y="56"/>
                  </a:cubicBezTo>
                  <a:cubicBezTo>
                    <a:pt x="35" y="55"/>
                    <a:pt x="33" y="53"/>
                    <a:pt x="32" y="53"/>
                  </a:cubicBezTo>
                  <a:cubicBezTo>
                    <a:pt x="31" y="52"/>
                    <a:pt x="29" y="53"/>
                    <a:pt x="28" y="52"/>
                  </a:cubicBezTo>
                  <a:cubicBezTo>
                    <a:pt x="26" y="50"/>
                    <a:pt x="24" y="43"/>
                    <a:pt x="23" y="42"/>
                  </a:cubicBezTo>
                  <a:cubicBezTo>
                    <a:pt x="22" y="42"/>
                    <a:pt x="21" y="43"/>
                    <a:pt x="19" y="43"/>
                  </a:cubicBezTo>
                  <a:cubicBezTo>
                    <a:pt x="18" y="43"/>
                    <a:pt x="18" y="43"/>
                    <a:pt x="17" y="4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36"/>
                    <a:pt x="14" y="36"/>
                  </a:cubicBezTo>
                  <a:cubicBezTo>
                    <a:pt x="14" y="35"/>
                    <a:pt x="13" y="34"/>
                    <a:pt x="13" y="33"/>
                  </a:cubicBezTo>
                  <a:cubicBezTo>
                    <a:pt x="12" y="32"/>
                    <a:pt x="9" y="31"/>
                    <a:pt x="7" y="30"/>
                  </a:cubicBezTo>
                  <a:cubicBezTo>
                    <a:pt x="7" y="30"/>
                    <a:pt x="5" y="26"/>
                    <a:pt x="5" y="25"/>
                  </a:cubicBezTo>
                  <a:cubicBezTo>
                    <a:pt x="5" y="24"/>
                    <a:pt x="6" y="22"/>
                    <a:pt x="7" y="22"/>
                  </a:cubicBezTo>
                  <a:cubicBezTo>
                    <a:pt x="7" y="21"/>
                    <a:pt x="8" y="19"/>
                    <a:pt x="8" y="19"/>
                  </a:cubicBezTo>
                  <a:cubicBezTo>
                    <a:pt x="8" y="18"/>
                    <a:pt x="5" y="17"/>
                    <a:pt x="4" y="17"/>
                  </a:cubicBezTo>
                  <a:cubicBezTo>
                    <a:pt x="3" y="17"/>
                    <a:pt x="3" y="14"/>
                    <a:pt x="2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7" name="Freeform 6348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331837" y="3577456"/>
              <a:ext cx="243738" cy="168994"/>
            </a:xfrm>
            <a:custGeom>
              <a:avLst/>
              <a:gdLst>
                <a:gd name="T0" fmla="*/ 2 w 40"/>
                <a:gd name="T1" fmla="*/ 11 h 27"/>
                <a:gd name="T2" fmla="*/ 3 w 40"/>
                <a:gd name="T3" fmla="*/ 7 h 27"/>
                <a:gd name="T4" fmla="*/ 15 w 40"/>
                <a:gd name="T5" fmla="*/ 13 h 27"/>
                <a:gd name="T6" fmla="*/ 24 w 40"/>
                <a:gd name="T7" fmla="*/ 4 h 27"/>
                <a:gd name="T8" fmla="*/ 36 w 40"/>
                <a:gd name="T9" fmla="*/ 0 h 27"/>
                <a:gd name="T10" fmla="*/ 40 w 40"/>
                <a:gd name="T11" fmla="*/ 11 h 27"/>
                <a:gd name="T12" fmla="*/ 37 w 40"/>
                <a:gd name="T13" fmla="*/ 12 h 27"/>
                <a:gd name="T14" fmla="*/ 37 w 40"/>
                <a:gd name="T15" fmla="*/ 15 h 27"/>
                <a:gd name="T16" fmla="*/ 25 w 40"/>
                <a:gd name="T17" fmla="*/ 19 h 27"/>
                <a:gd name="T18" fmla="*/ 18 w 40"/>
                <a:gd name="T19" fmla="*/ 23 h 27"/>
                <a:gd name="T20" fmla="*/ 12 w 40"/>
                <a:gd name="T21" fmla="*/ 24 h 27"/>
                <a:gd name="T22" fmla="*/ 4 w 40"/>
                <a:gd name="T23" fmla="*/ 26 h 27"/>
                <a:gd name="T24" fmla="*/ 2 w 40"/>
                <a:gd name="T25" fmla="*/ 18 h 27"/>
                <a:gd name="T26" fmla="*/ 0 w 40"/>
                <a:gd name="T27" fmla="*/ 12 h 27"/>
                <a:gd name="T28" fmla="*/ 2 w 40"/>
                <a:gd name="T29" fmla="*/ 11 h 27"/>
                <a:gd name="connsiteX0" fmla="*/ 500 w 10000"/>
                <a:gd name="connsiteY0" fmla="*/ 4074 h 9705"/>
                <a:gd name="connsiteX1" fmla="*/ 750 w 10000"/>
                <a:gd name="connsiteY1" fmla="*/ 2593 h 9705"/>
                <a:gd name="connsiteX2" fmla="*/ 3945 w 10000"/>
                <a:gd name="connsiteY2" fmla="*/ 3936 h 9705"/>
                <a:gd name="connsiteX3" fmla="*/ 6000 w 10000"/>
                <a:gd name="connsiteY3" fmla="*/ 1481 h 9705"/>
                <a:gd name="connsiteX4" fmla="*/ 9000 w 10000"/>
                <a:gd name="connsiteY4" fmla="*/ 0 h 9705"/>
                <a:gd name="connsiteX5" fmla="*/ 10000 w 10000"/>
                <a:gd name="connsiteY5" fmla="*/ 4074 h 9705"/>
                <a:gd name="connsiteX6" fmla="*/ 9250 w 10000"/>
                <a:gd name="connsiteY6" fmla="*/ 4444 h 9705"/>
                <a:gd name="connsiteX7" fmla="*/ 9250 w 10000"/>
                <a:gd name="connsiteY7" fmla="*/ 5556 h 9705"/>
                <a:gd name="connsiteX8" fmla="*/ 6250 w 10000"/>
                <a:gd name="connsiteY8" fmla="*/ 7037 h 9705"/>
                <a:gd name="connsiteX9" fmla="*/ 4500 w 10000"/>
                <a:gd name="connsiteY9" fmla="*/ 8519 h 9705"/>
                <a:gd name="connsiteX10" fmla="*/ 3000 w 10000"/>
                <a:gd name="connsiteY10" fmla="*/ 8889 h 9705"/>
                <a:gd name="connsiteX11" fmla="*/ 1000 w 10000"/>
                <a:gd name="connsiteY11" fmla="*/ 9630 h 9705"/>
                <a:gd name="connsiteX12" fmla="*/ 500 w 10000"/>
                <a:gd name="connsiteY12" fmla="*/ 6667 h 9705"/>
                <a:gd name="connsiteX13" fmla="*/ 0 w 10000"/>
                <a:gd name="connsiteY13" fmla="*/ 4444 h 9705"/>
                <a:gd name="connsiteX14" fmla="*/ 500 w 10000"/>
                <a:gd name="connsiteY14" fmla="*/ 4074 h 9705"/>
                <a:gd name="connsiteX0" fmla="*/ 500 w 10000"/>
                <a:gd name="connsiteY0" fmla="*/ 4198 h 10000"/>
                <a:gd name="connsiteX1" fmla="*/ 945 w 10000"/>
                <a:gd name="connsiteY1" fmla="*/ 1917 h 10000"/>
                <a:gd name="connsiteX2" fmla="*/ 3945 w 10000"/>
                <a:gd name="connsiteY2" fmla="*/ 4056 h 10000"/>
                <a:gd name="connsiteX3" fmla="*/ 6000 w 10000"/>
                <a:gd name="connsiteY3" fmla="*/ 1526 h 10000"/>
                <a:gd name="connsiteX4" fmla="*/ 9000 w 10000"/>
                <a:gd name="connsiteY4" fmla="*/ 0 h 10000"/>
                <a:gd name="connsiteX5" fmla="*/ 10000 w 10000"/>
                <a:gd name="connsiteY5" fmla="*/ 4198 h 10000"/>
                <a:gd name="connsiteX6" fmla="*/ 9250 w 10000"/>
                <a:gd name="connsiteY6" fmla="*/ 4579 h 10000"/>
                <a:gd name="connsiteX7" fmla="*/ 9250 w 10000"/>
                <a:gd name="connsiteY7" fmla="*/ 5725 h 10000"/>
                <a:gd name="connsiteX8" fmla="*/ 6250 w 10000"/>
                <a:gd name="connsiteY8" fmla="*/ 7251 h 10000"/>
                <a:gd name="connsiteX9" fmla="*/ 4500 w 10000"/>
                <a:gd name="connsiteY9" fmla="*/ 8778 h 10000"/>
                <a:gd name="connsiteX10" fmla="*/ 3000 w 10000"/>
                <a:gd name="connsiteY10" fmla="*/ 9159 h 10000"/>
                <a:gd name="connsiteX11" fmla="*/ 1000 w 10000"/>
                <a:gd name="connsiteY11" fmla="*/ 9923 h 10000"/>
                <a:gd name="connsiteX12" fmla="*/ 500 w 10000"/>
                <a:gd name="connsiteY12" fmla="*/ 6870 h 10000"/>
                <a:gd name="connsiteX13" fmla="*/ 0 w 10000"/>
                <a:gd name="connsiteY13" fmla="*/ 4579 h 10000"/>
                <a:gd name="connsiteX14" fmla="*/ 500 w 10000"/>
                <a:gd name="connsiteY14" fmla="*/ 419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000" h="10000">
                  <a:moveTo>
                    <a:pt x="500" y="4198"/>
                  </a:moveTo>
                  <a:cubicBezTo>
                    <a:pt x="750" y="3817"/>
                    <a:pt x="371" y="1941"/>
                    <a:pt x="945" y="1917"/>
                  </a:cubicBezTo>
                  <a:cubicBezTo>
                    <a:pt x="1519" y="1893"/>
                    <a:pt x="3103" y="4121"/>
                    <a:pt x="3945" y="4056"/>
                  </a:cubicBezTo>
                  <a:cubicBezTo>
                    <a:pt x="4787" y="3991"/>
                    <a:pt x="5158" y="2202"/>
                    <a:pt x="6000" y="1526"/>
                  </a:cubicBezTo>
                  <a:cubicBezTo>
                    <a:pt x="6843" y="850"/>
                    <a:pt x="9000" y="0"/>
                    <a:pt x="9000" y="0"/>
                  </a:cubicBezTo>
                  <a:lnTo>
                    <a:pt x="10000" y="4198"/>
                  </a:lnTo>
                  <a:cubicBezTo>
                    <a:pt x="9750" y="4198"/>
                    <a:pt x="9500" y="4198"/>
                    <a:pt x="9250" y="4579"/>
                  </a:cubicBezTo>
                  <a:lnTo>
                    <a:pt x="9250" y="5725"/>
                  </a:lnTo>
                  <a:cubicBezTo>
                    <a:pt x="9250" y="5725"/>
                    <a:pt x="6750" y="7251"/>
                    <a:pt x="6250" y="7251"/>
                  </a:cubicBezTo>
                  <a:cubicBezTo>
                    <a:pt x="6000" y="7632"/>
                    <a:pt x="5000" y="8396"/>
                    <a:pt x="4500" y="8778"/>
                  </a:cubicBezTo>
                  <a:cubicBezTo>
                    <a:pt x="4000" y="8778"/>
                    <a:pt x="3500" y="8778"/>
                    <a:pt x="3000" y="9159"/>
                  </a:cubicBezTo>
                  <a:cubicBezTo>
                    <a:pt x="2750" y="9159"/>
                    <a:pt x="1250" y="10304"/>
                    <a:pt x="1000" y="9923"/>
                  </a:cubicBezTo>
                  <a:cubicBezTo>
                    <a:pt x="750" y="9159"/>
                    <a:pt x="500" y="7251"/>
                    <a:pt x="500" y="6870"/>
                  </a:cubicBezTo>
                  <a:cubicBezTo>
                    <a:pt x="500" y="6106"/>
                    <a:pt x="250" y="5343"/>
                    <a:pt x="0" y="4579"/>
                  </a:cubicBezTo>
                  <a:lnTo>
                    <a:pt x="500" y="4198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8" name="Freeform 6349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350586" y="2967997"/>
              <a:ext cx="71872" cy="80368"/>
            </a:xfrm>
            <a:custGeom>
              <a:avLst/>
              <a:gdLst>
                <a:gd name="T0" fmla="*/ 4 w 12"/>
                <a:gd name="T1" fmla="*/ 8 h 13"/>
                <a:gd name="T2" fmla="*/ 1 w 12"/>
                <a:gd name="T3" fmla="*/ 6 h 13"/>
                <a:gd name="T4" fmla="*/ 0 w 12"/>
                <a:gd name="T5" fmla="*/ 1 h 13"/>
                <a:gd name="T6" fmla="*/ 6 w 12"/>
                <a:gd name="T7" fmla="*/ 0 h 13"/>
                <a:gd name="T8" fmla="*/ 8 w 12"/>
                <a:gd name="T9" fmla="*/ 4 h 13"/>
                <a:gd name="T10" fmla="*/ 9 w 12"/>
                <a:gd name="T11" fmla="*/ 5 h 13"/>
                <a:gd name="T12" fmla="*/ 9 w 12"/>
                <a:gd name="T13" fmla="*/ 7 h 13"/>
                <a:gd name="T14" fmla="*/ 12 w 12"/>
                <a:gd name="T15" fmla="*/ 10 h 13"/>
                <a:gd name="T16" fmla="*/ 7 w 12"/>
                <a:gd name="T17" fmla="*/ 12 h 13"/>
                <a:gd name="T18" fmla="*/ 4 w 12"/>
                <a:gd name="T1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3">
                  <a:moveTo>
                    <a:pt x="4" y="8"/>
                  </a:moveTo>
                  <a:cubicBezTo>
                    <a:pt x="3" y="7"/>
                    <a:pt x="1" y="7"/>
                    <a:pt x="1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"/>
                    <a:pt x="4" y="1"/>
                    <a:pt x="6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9" y="13"/>
                    <a:pt x="7" y="12"/>
                  </a:cubicBezTo>
                  <a:cubicBezTo>
                    <a:pt x="7" y="11"/>
                    <a:pt x="6" y="8"/>
                    <a:pt x="4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99" name="Freeform 635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291214" y="3761633"/>
              <a:ext cx="246863" cy="338217"/>
            </a:xfrm>
            <a:custGeom>
              <a:avLst/>
              <a:gdLst>
                <a:gd name="T0" fmla="*/ 0 w 41"/>
                <a:gd name="T1" fmla="*/ 50 h 52"/>
                <a:gd name="T2" fmla="*/ 0 w 41"/>
                <a:gd name="T3" fmla="*/ 36 h 52"/>
                <a:gd name="T4" fmla="*/ 2 w 41"/>
                <a:gd name="T5" fmla="*/ 34 h 52"/>
                <a:gd name="T6" fmla="*/ 3 w 41"/>
                <a:gd name="T7" fmla="*/ 31 h 52"/>
                <a:gd name="T8" fmla="*/ 5 w 41"/>
                <a:gd name="T9" fmla="*/ 31 h 52"/>
                <a:gd name="T10" fmla="*/ 10 w 41"/>
                <a:gd name="T11" fmla="*/ 28 h 52"/>
                <a:gd name="T12" fmla="*/ 16 w 41"/>
                <a:gd name="T13" fmla="*/ 28 h 52"/>
                <a:gd name="T14" fmla="*/ 28 w 41"/>
                <a:gd name="T15" fmla="*/ 16 h 52"/>
                <a:gd name="T16" fmla="*/ 13 w 41"/>
                <a:gd name="T17" fmla="*/ 12 h 52"/>
                <a:gd name="T18" fmla="*/ 7 w 41"/>
                <a:gd name="T19" fmla="*/ 7 h 52"/>
                <a:gd name="T20" fmla="*/ 8 w 41"/>
                <a:gd name="T21" fmla="*/ 5 h 52"/>
                <a:gd name="T22" fmla="*/ 10 w 41"/>
                <a:gd name="T23" fmla="*/ 3 h 52"/>
                <a:gd name="T24" fmla="*/ 15 w 41"/>
                <a:gd name="T25" fmla="*/ 7 h 52"/>
                <a:gd name="T26" fmla="*/ 20 w 41"/>
                <a:gd name="T27" fmla="*/ 5 h 52"/>
                <a:gd name="T28" fmla="*/ 28 w 41"/>
                <a:gd name="T29" fmla="*/ 3 h 52"/>
                <a:gd name="T30" fmla="*/ 36 w 41"/>
                <a:gd name="T31" fmla="*/ 2 h 52"/>
                <a:gd name="T32" fmla="*/ 38 w 41"/>
                <a:gd name="T33" fmla="*/ 0 h 52"/>
                <a:gd name="T34" fmla="*/ 41 w 41"/>
                <a:gd name="T35" fmla="*/ 0 h 52"/>
                <a:gd name="T36" fmla="*/ 40 w 41"/>
                <a:gd name="T37" fmla="*/ 5 h 52"/>
                <a:gd name="T38" fmla="*/ 39 w 41"/>
                <a:gd name="T39" fmla="*/ 11 h 52"/>
                <a:gd name="T40" fmla="*/ 33 w 41"/>
                <a:gd name="T41" fmla="*/ 20 h 52"/>
                <a:gd name="T42" fmla="*/ 27 w 41"/>
                <a:gd name="T43" fmla="*/ 31 h 52"/>
                <a:gd name="T44" fmla="*/ 17 w 41"/>
                <a:gd name="T45" fmla="*/ 39 h 52"/>
                <a:gd name="T46" fmla="*/ 6 w 41"/>
                <a:gd name="T47" fmla="*/ 48 h 52"/>
                <a:gd name="T48" fmla="*/ 2 w 41"/>
                <a:gd name="T49" fmla="*/ 52 h 52"/>
                <a:gd name="T50" fmla="*/ 0 w 41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" h="52">
                  <a:moveTo>
                    <a:pt x="0" y="5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9" y="29"/>
                    <a:pt x="10" y="28"/>
                  </a:cubicBezTo>
                  <a:cubicBezTo>
                    <a:pt x="12" y="28"/>
                    <a:pt x="16" y="28"/>
                    <a:pt x="16" y="28"/>
                  </a:cubicBezTo>
                  <a:cubicBezTo>
                    <a:pt x="17" y="27"/>
                    <a:pt x="27" y="16"/>
                    <a:pt x="28" y="16"/>
                  </a:cubicBezTo>
                  <a:cubicBezTo>
                    <a:pt x="28" y="16"/>
                    <a:pt x="16" y="15"/>
                    <a:pt x="13" y="12"/>
                  </a:cubicBezTo>
                  <a:cubicBezTo>
                    <a:pt x="10" y="10"/>
                    <a:pt x="7" y="8"/>
                    <a:pt x="7" y="7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3"/>
                    <a:pt x="10" y="3"/>
                    <a:pt x="10" y="3"/>
                  </a:cubicBezTo>
                  <a:cubicBezTo>
                    <a:pt x="11" y="5"/>
                    <a:pt x="12" y="7"/>
                    <a:pt x="15" y="7"/>
                  </a:cubicBezTo>
                  <a:cubicBezTo>
                    <a:pt x="17" y="7"/>
                    <a:pt x="19" y="5"/>
                    <a:pt x="20" y="5"/>
                  </a:cubicBezTo>
                  <a:cubicBezTo>
                    <a:pt x="21" y="5"/>
                    <a:pt x="26" y="5"/>
                    <a:pt x="28" y="3"/>
                  </a:cubicBezTo>
                  <a:cubicBezTo>
                    <a:pt x="29" y="3"/>
                    <a:pt x="35" y="2"/>
                    <a:pt x="36" y="2"/>
                  </a:cubicBezTo>
                  <a:cubicBezTo>
                    <a:pt x="37" y="0"/>
                    <a:pt x="38" y="0"/>
                    <a:pt x="38" y="0"/>
                  </a:cubicBezTo>
                  <a:cubicBezTo>
                    <a:pt x="39" y="0"/>
                    <a:pt x="41" y="0"/>
                    <a:pt x="41" y="0"/>
                  </a:cubicBezTo>
                  <a:cubicBezTo>
                    <a:pt x="41" y="1"/>
                    <a:pt x="40" y="5"/>
                    <a:pt x="40" y="5"/>
                  </a:cubicBezTo>
                  <a:cubicBezTo>
                    <a:pt x="40" y="6"/>
                    <a:pt x="39" y="10"/>
                    <a:pt x="39" y="11"/>
                  </a:cubicBezTo>
                  <a:cubicBezTo>
                    <a:pt x="38" y="12"/>
                    <a:pt x="34" y="19"/>
                    <a:pt x="33" y="20"/>
                  </a:cubicBezTo>
                  <a:cubicBezTo>
                    <a:pt x="33" y="22"/>
                    <a:pt x="29" y="28"/>
                    <a:pt x="27" y="31"/>
                  </a:cubicBezTo>
                  <a:cubicBezTo>
                    <a:pt x="24" y="33"/>
                    <a:pt x="20" y="37"/>
                    <a:pt x="17" y="39"/>
                  </a:cubicBezTo>
                  <a:cubicBezTo>
                    <a:pt x="13" y="41"/>
                    <a:pt x="10" y="45"/>
                    <a:pt x="6" y="48"/>
                  </a:cubicBezTo>
                  <a:cubicBezTo>
                    <a:pt x="5" y="50"/>
                    <a:pt x="3" y="51"/>
                    <a:pt x="2" y="52"/>
                  </a:cubicBezTo>
                  <a:cubicBezTo>
                    <a:pt x="0" y="50"/>
                    <a:pt x="0" y="50"/>
                    <a:pt x="0" y="50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0" name="Freeform 635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272465" y="2894326"/>
              <a:ext cx="156243" cy="83717"/>
            </a:xfrm>
            <a:custGeom>
              <a:avLst/>
              <a:gdLst>
                <a:gd name="T0" fmla="*/ 0 w 26"/>
                <a:gd name="T1" fmla="*/ 2 h 13"/>
                <a:gd name="T2" fmla="*/ 1 w 26"/>
                <a:gd name="T3" fmla="*/ 0 h 13"/>
                <a:gd name="T4" fmla="*/ 8 w 26"/>
                <a:gd name="T5" fmla="*/ 1 h 13"/>
                <a:gd name="T6" fmla="*/ 13 w 26"/>
                <a:gd name="T7" fmla="*/ 4 h 13"/>
                <a:gd name="T8" fmla="*/ 16 w 26"/>
                <a:gd name="T9" fmla="*/ 5 h 13"/>
                <a:gd name="T10" fmla="*/ 19 w 26"/>
                <a:gd name="T11" fmla="*/ 5 h 13"/>
                <a:gd name="T12" fmla="*/ 24 w 26"/>
                <a:gd name="T13" fmla="*/ 9 h 13"/>
                <a:gd name="T14" fmla="*/ 26 w 26"/>
                <a:gd name="T15" fmla="*/ 10 h 13"/>
                <a:gd name="T16" fmla="*/ 25 w 26"/>
                <a:gd name="T17" fmla="*/ 12 h 13"/>
                <a:gd name="T18" fmla="*/ 20 w 26"/>
                <a:gd name="T19" fmla="*/ 11 h 13"/>
                <a:gd name="T20" fmla="*/ 19 w 26"/>
                <a:gd name="T21" fmla="*/ 11 h 13"/>
                <a:gd name="T22" fmla="*/ 13 w 26"/>
                <a:gd name="T23" fmla="*/ 12 h 13"/>
                <a:gd name="T24" fmla="*/ 10 w 26"/>
                <a:gd name="T25" fmla="*/ 10 h 13"/>
                <a:gd name="T26" fmla="*/ 6 w 26"/>
                <a:gd name="T27" fmla="*/ 10 h 13"/>
                <a:gd name="T28" fmla="*/ 6 w 26"/>
                <a:gd name="T29" fmla="*/ 9 h 13"/>
                <a:gd name="T30" fmla="*/ 5 w 26"/>
                <a:gd name="T31" fmla="*/ 5 h 13"/>
                <a:gd name="T32" fmla="*/ 0 w 26"/>
                <a:gd name="T3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13">
                  <a:moveTo>
                    <a:pt x="0" y="2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2" y="0"/>
                    <a:pt x="7" y="1"/>
                    <a:pt x="8" y="1"/>
                  </a:cubicBezTo>
                  <a:cubicBezTo>
                    <a:pt x="9" y="2"/>
                    <a:pt x="12" y="3"/>
                    <a:pt x="13" y="4"/>
                  </a:cubicBezTo>
                  <a:cubicBezTo>
                    <a:pt x="14" y="5"/>
                    <a:pt x="14" y="5"/>
                    <a:pt x="16" y="5"/>
                  </a:cubicBezTo>
                  <a:cubicBezTo>
                    <a:pt x="17" y="5"/>
                    <a:pt x="18" y="5"/>
                    <a:pt x="19" y="5"/>
                  </a:cubicBezTo>
                  <a:cubicBezTo>
                    <a:pt x="20" y="5"/>
                    <a:pt x="24" y="8"/>
                    <a:pt x="24" y="9"/>
                  </a:cubicBezTo>
                  <a:cubicBezTo>
                    <a:pt x="25" y="9"/>
                    <a:pt x="25" y="9"/>
                    <a:pt x="26" y="10"/>
                  </a:cubicBezTo>
                  <a:cubicBezTo>
                    <a:pt x="26" y="10"/>
                    <a:pt x="26" y="12"/>
                    <a:pt x="25" y="12"/>
                  </a:cubicBezTo>
                  <a:cubicBezTo>
                    <a:pt x="23" y="12"/>
                    <a:pt x="21" y="10"/>
                    <a:pt x="20" y="11"/>
                  </a:cubicBezTo>
                  <a:cubicBezTo>
                    <a:pt x="20" y="11"/>
                    <a:pt x="20" y="11"/>
                    <a:pt x="19" y="11"/>
                  </a:cubicBezTo>
                  <a:cubicBezTo>
                    <a:pt x="17" y="12"/>
                    <a:pt x="15" y="13"/>
                    <a:pt x="13" y="12"/>
                  </a:cubicBezTo>
                  <a:cubicBezTo>
                    <a:pt x="12" y="12"/>
                    <a:pt x="11" y="10"/>
                    <a:pt x="10" y="10"/>
                  </a:cubicBezTo>
                  <a:cubicBezTo>
                    <a:pt x="10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7"/>
                    <a:pt x="6" y="6"/>
                    <a:pt x="5" y="5"/>
                  </a:cubicBezTo>
                  <a:cubicBezTo>
                    <a:pt x="4" y="4"/>
                    <a:pt x="1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1" name="Freeform 635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5241216" y="3081851"/>
              <a:ext cx="231239" cy="227710"/>
            </a:xfrm>
            <a:custGeom>
              <a:avLst/>
              <a:gdLst>
                <a:gd name="T0" fmla="*/ 6 w 38"/>
                <a:gd name="T1" fmla="*/ 24 h 35"/>
                <a:gd name="T2" fmla="*/ 2 w 38"/>
                <a:gd name="T3" fmla="*/ 23 h 35"/>
                <a:gd name="T4" fmla="*/ 1 w 38"/>
                <a:gd name="T5" fmla="*/ 23 h 35"/>
                <a:gd name="T6" fmla="*/ 0 w 38"/>
                <a:gd name="T7" fmla="*/ 18 h 35"/>
                <a:gd name="T8" fmla="*/ 7 w 38"/>
                <a:gd name="T9" fmla="*/ 13 h 35"/>
                <a:gd name="T10" fmla="*/ 9 w 38"/>
                <a:gd name="T11" fmla="*/ 11 h 35"/>
                <a:gd name="T12" fmla="*/ 10 w 38"/>
                <a:gd name="T13" fmla="*/ 5 h 35"/>
                <a:gd name="T14" fmla="*/ 14 w 38"/>
                <a:gd name="T15" fmla="*/ 2 h 35"/>
                <a:gd name="T16" fmla="*/ 16 w 38"/>
                <a:gd name="T17" fmla="*/ 0 h 35"/>
                <a:gd name="T18" fmla="*/ 24 w 38"/>
                <a:gd name="T19" fmla="*/ 1 h 35"/>
                <a:gd name="T20" fmla="*/ 26 w 38"/>
                <a:gd name="T21" fmla="*/ 6 h 35"/>
                <a:gd name="T22" fmla="*/ 29 w 38"/>
                <a:gd name="T23" fmla="*/ 8 h 35"/>
                <a:gd name="T24" fmla="*/ 28 w 38"/>
                <a:gd name="T25" fmla="*/ 11 h 35"/>
                <a:gd name="T26" fmla="*/ 26 w 38"/>
                <a:gd name="T27" fmla="*/ 14 h 35"/>
                <a:gd name="T28" fmla="*/ 29 w 38"/>
                <a:gd name="T29" fmla="*/ 19 h 35"/>
                <a:gd name="T30" fmla="*/ 34 w 38"/>
                <a:gd name="T31" fmla="*/ 22 h 35"/>
                <a:gd name="T32" fmla="*/ 35 w 38"/>
                <a:gd name="T33" fmla="*/ 24 h 35"/>
                <a:gd name="T34" fmla="*/ 35 w 38"/>
                <a:gd name="T35" fmla="*/ 28 h 35"/>
                <a:gd name="T36" fmla="*/ 38 w 38"/>
                <a:gd name="T37" fmla="*/ 32 h 35"/>
                <a:gd name="T38" fmla="*/ 38 w 38"/>
                <a:gd name="T39" fmla="*/ 32 h 35"/>
                <a:gd name="T40" fmla="*/ 36 w 38"/>
                <a:gd name="T41" fmla="*/ 32 h 35"/>
                <a:gd name="T42" fmla="*/ 33 w 38"/>
                <a:gd name="T43" fmla="*/ 32 h 35"/>
                <a:gd name="T44" fmla="*/ 29 w 38"/>
                <a:gd name="T45" fmla="*/ 35 h 35"/>
                <a:gd name="T46" fmla="*/ 22 w 38"/>
                <a:gd name="T47" fmla="*/ 35 h 35"/>
                <a:gd name="T48" fmla="*/ 6 w 38"/>
                <a:gd name="T49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35">
                  <a:moveTo>
                    <a:pt x="6" y="24"/>
                  </a:moveTo>
                  <a:cubicBezTo>
                    <a:pt x="6" y="23"/>
                    <a:pt x="2" y="23"/>
                    <a:pt x="2" y="23"/>
                  </a:cubicBezTo>
                  <a:cubicBezTo>
                    <a:pt x="2" y="23"/>
                    <a:pt x="2" y="23"/>
                    <a:pt x="1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9" y="13"/>
                    <a:pt x="9" y="11"/>
                  </a:cubicBezTo>
                  <a:cubicBezTo>
                    <a:pt x="9" y="10"/>
                    <a:pt x="9" y="5"/>
                    <a:pt x="10" y="5"/>
                  </a:cubicBezTo>
                  <a:cubicBezTo>
                    <a:pt x="11" y="5"/>
                    <a:pt x="12" y="2"/>
                    <a:pt x="14" y="2"/>
                  </a:cubicBezTo>
                  <a:cubicBezTo>
                    <a:pt x="15" y="1"/>
                    <a:pt x="16" y="0"/>
                    <a:pt x="16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3"/>
                    <a:pt x="25" y="5"/>
                    <a:pt x="26" y="6"/>
                  </a:cubicBezTo>
                  <a:cubicBezTo>
                    <a:pt x="27" y="6"/>
                    <a:pt x="29" y="7"/>
                    <a:pt x="29" y="8"/>
                  </a:cubicBezTo>
                  <a:cubicBezTo>
                    <a:pt x="29" y="8"/>
                    <a:pt x="29" y="10"/>
                    <a:pt x="28" y="11"/>
                  </a:cubicBezTo>
                  <a:cubicBezTo>
                    <a:pt x="27" y="11"/>
                    <a:pt x="26" y="13"/>
                    <a:pt x="26" y="14"/>
                  </a:cubicBezTo>
                  <a:cubicBezTo>
                    <a:pt x="26" y="15"/>
                    <a:pt x="28" y="19"/>
                    <a:pt x="29" y="19"/>
                  </a:cubicBezTo>
                  <a:cubicBezTo>
                    <a:pt x="30" y="20"/>
                    <a:pt x="33" y="21"/>
                    <a:pt x="34" y="22"/>
                  </a:cubicBezTo>
                  <a:cubicBezTo>
                    <a:pt x="34" y="23"/>
                    <a:pt x="35" y="24"/>
                    <a:pt x="35" y="24"/>
                  </a:cubicBezTo>
                  <a:cubicBezTo>
                    <a:pt x="35" y="25"/>
                    <a:pt x="35" y="28"/>
                    <a:pt x="35" y="28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6" y="32"/>
                    <a:pt x="34" y="31"/>
                    <a:pt x="33" y="32"/>
                  </a:cubicBezTo>
                  <a:cubicBezTo>
                    <a:pt x="31" y="32"/>
                    <a:pt x="30" y="35"/>
                    <a:pt x="29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6" y="24"/>
                    <a:pt x="6" y="24"/>
                    <a:pt x="6" y="24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2" name="Freeform 635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5097473" y="3704706"/>
              <a:ext cx="362483" cy="271243"/>
            </a:xfrm>
            <a:custGeom>
              <a:avLst/>
              <a:gdLst>
                <a:gd name="T0" fmla="*/ 5 w 60"/>
                <a:gd name="T1" fmla="*/ 28 h 42"/>
                <a:gd name="T2" fmla="*/ 1 w 60"/>
                <a:gd name="T3" fmla="*/ 27 h 42"/>
                <a:gd name="T4" fmla="*/ 1 w 60"/>
                <a:gd name="T5" fmla="*/ 23 h 42"/>
                <a:gd name="T6" fmla="*/ 5 w 60"/>
                <a:gd name="T7" fmla="*/ 23 h 42"/>
                <a:gd name="T8" fmla="*/ 7 w 60"/>
                <a:gd name="T9" fmla="*/ 15 h 42"/>
                <a:gd name="T10" fmla="*/ 9 w 60"/>
                <a:gd name="T11" fmla="*/ 14 h 42"/>
                <a:gd name="T12" fmla="*/ 10 w 60"/>
                <a:gd name="T13" fmla="*/ 9 h 42"/>
                <a:gd name="T14" fmla="*/ 13 w 60"/>
                <a:gd name="T15" fmla="*/ 6 h 42"/>
                <a:gd name="T16" fmla="*/ 15 w 60"/>
                <a:gd name="T17" fmla="*/ 1 h 42"/>
                <a:gd name="T18" fmla="*/ 20 w 60"/>
                <a:gd name="T19" fmla="*/ 2 h 42"/>
                <a:gd name="T20" fmla="*/ 20 w 60"/>
                <a:gd name="T21" fmla="*/ 2 h 42"/>
                <a:gd name="T22" fmla="*/ 22 w 60"/>
                <a:gd name="T23" fmla="*/ 0 h 42"/>
                <a:gd name="T24" fmla="*/ 26 w 60"/>
                <a:gd name="T25" fmla="*/ 0 h 42"/>
                <a:gd name="T26" fmla="*/ 32 w 60"/>
                <a:gd name="T27" fmla="*/ 3 h 42"/>
                <a:gd name="T28" fmla="*/ 36 w 60"/>
                <a:gd name="T29" fmla="*/ 7 h 42"/>
                <a:gd name="T30" fmla="*/ 36 w 60"/>
                <a:gd name="T31" fmla="*/ 11 h 42"/>
                <a:gd name="T32" fmla="*/ 35 w 60"/>
                <a:gd name="T33" fmla="*/ 14 h 42"/>
                <a:gd name="T34" fmla="*/ 40 w 60"/>
                <a:gd name="T35" fmla="*/ 14 h 42"/>
                <a:gd name="T36" fmla="*/ 39 w 60"/>
                <a:gd name="T37" fmla="*/ 16 h 42"/>
                <a:gd name="T38" fmla="*/ 45 w 60"/>
                <a:gd name="T39" fmla="*/ 21 h 42"/>
                <a:gd name="T40" fmla="*/ 59 w 60"/>
                <a:gd name="T41" fmla="*/ 25 h 42"/>
                <a:gd name="T42" fmla="*/ 48 w 60"/>
                <a:gd name="T43" fmla="*/ 37 h 42"/>
                <a:gd name="T44" fmla="*/ 42 w 60"/>
                <a:gd name="T45" fmla="*/ 37 h 42"/>
                <a:gd name="T46" fmla="*/ 37 w 60"/>
                <a:gd name="T47" fmla="*/ 40 h 42"/>
                <a:gd name="T48" fmla="*/ 35 w 60"/>
                <a:gd name="T49" fmla="*/ 40 h 42"/>
                <a:gd name="T50" fmla="*/ 34 w 60"/>
                <a:gd name="T51" fmla="*/ 41 h 42"/>
                <a:gd name="T52" fmla="*/ 31 w 60"/>
                <a:gd name="T53" fmla="*/ 40 h 42"/>
                <a:gd name="T54" fmla="*/ 26 w 60"/>
                <a:gd name="T55" fmla="*/ 42 h 42"/>
                <a:gd name="T56" fmla="*/ 22 w 60"/>
                <a:gd name="T57" fmla="*/ 42 h 42"/>
                <a:gd name="T58" fmla="*/ 17 w 60"/>
                <a:gd name="T59" fmla="*/ 39 h 42"/>
                <a:gd name="T60" fmla="*/ 13 w 60"/>
                <a:gd name="T61" fmla="*/ 38 h 42"/>
                <a:gd name="T62" fmla="*/ 12 w 60"/>
                <a:gd name="T63" fmla="*/ 38 h 42"/>
                <a:gd name="T64" fmla="*/ 12 w 60"/>
                <a:gd name="T65" fmla="*/ 38 h 42"/>
                <a:gd name="T66" fmla="*/ 11 w 60"/>
                <a:gd name="T67" fmla="*/ 33 h 42"/>
                <a:gd name="T68" fmla="*/ 10 w 60"/>
                <a:gd name="T69" fmla="*/ 31 h 42"/>
                <a:gd name="T70" fmla="*/ 5 w 60"/>
                <a:gd name="T71" fmla="*/ 28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42">
                  <a:moveTo>
                    <a:pt x="5" y="28"/>
                  </a:moveTo>
                  <a:cubicBezTo>
                    <a:pt x="4" y="27"/>
                    <a:pt x="2" y="27"/>
                    <a:pt x="1" y="27"/>
                  </a:cubicBezTo>
                  <a:cubicBezTo>
                    <a:pt x="0" y="27"/>
                    <a:pt x="1" y="25"/>
                    <a:pt x="1" y="23"/>
                  </a:cubicBezTo>
                  <a:cubicBezTo>
                    <a:pt x="2" y="22"/>
                    <a:pt x="4" y="24"/>
                    <a:pt x="5" y="23"/>
                  </a:cubicBezTo>
                  <a:cubicBezTo>
                    <a:pt x="6" y="22"/>
                    <a:pt x="7" y="17"/>
                    <a:pt x="7" y="15"/>
                  </a:cubicBezTo>
                  <a:cubicBezTo>
                    <a:pt x="7" y="13"/>
                    <a:pt x="9" y="14"/>
                    <a:pt x="9" y="14"/>
                  </a:cubicBezTo>
                  <a:cubicBezTo>
                    <a:pt x="9" y="14"/>
                    <a:pt x="9" y="11"/>
                    <a:pt x="10" y="9"/>
                  </a:cubicBezTo>
                  <a:cubicBezTo>
                    <a:pt x="11" y="7"/>
                    <a:pt x="13" y="7"/>
                    <a:pt x="13" y="6"/>
                  </a:cubicBezTo>
                  <a:cubicBezTo>
                    <a:pt x="14" y="6"/>
                    <a:pt x="14" y="2"/>
                    <a:pt x="15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6" y="0"/>
                    <a:pt x="26" y="0"/>
                  </a:cubicBezTo>
                  <a:cubicBezTo>
                    <a:pt x="27" y="0"/>
                    <a:pt x="31" y="2"/>
                    <a:pt x="32" y="3"/>
                  </a:cubicBezTo>
                  <a:cubicBezTo>
                    <a:pt x="33" y="3"/>
                    <a:pt x="35" y="5"/>
                    <a:pt x="36" y="7"/>
                  </a:cubicBezTo>
                  <a:cubicBezTo>
                    <a:pt x="37" y="9"/>
                    <a:pt x="36" y="9"/>
                    <a:pt x="36" y="11"/>
                  </a:cubicBezTo>
                  <a:cubicBezTo>
                    <a:pt x="35" y="12"/>
                    <a:pt x="35" y="13"/>
                    <a:pt x="35" y="14"/>
                  </a:cubicBezTo>
                  <a:cubicBezTo>
                    <a:pt x="36" y="15"/>
                    <a:pt x="40" y="14"/>
                    <a:pt x="40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17"/>
                    <a:pt x="42" y="19"/>
                    <a:pt x="45" y="21"/>
                  </a:cubicBezTo>
                  <a:cubicBezTo>
                    <a:pt x="48" y="24"/>
                    <a:pt x="60" y="25"/>
                    <a:pt x="59" y="25"/>
                  </a:cubicBezTo>
                  <a:cubicBezTo>
                    <a:pt x="59" y="25"/>
                    <a:pt x="49" y="36"/>
                    <a:pt x="48" y="37"/>
                  </a:cubicBezTo>
                  <a:cubicBezTo>
                    <a:pt x="47" y="37"/>
                    <a:pt x="44" y="37"/>
                    <a:pt x="42" y="37"/>
                  </a:cubicBezTo>
                  <a:cubicBezTo>
                    <a:pt x="41" y="38"/>
                    <a:pt x="37" y="40"/>
                    <a:pt x="37" y="40"/>
                  </a:cubicBezTo>
                  <a:cubicBezTo>
                    <a:pt x="37" y="40"/>
                    <a:pt x="36" y="40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3" y="41"/>
                    <a:pt x="32" y="39"/>
                    <a:pt x="31" y="40"/>
                  </a:cubicBezTo>
                  <a:cubicBezTo>
                    <a:pt x="30" y="40"/>
                    <a:pt x="26" y="42"/>
                    <a:pt x="26" y="42"/>
                  </a:cubicBezTo>
                  <a:cubicBezTo>
                    <a:pt x="26" y="42"/>
                    <a:pt x="23" y="42"/>
                    <a:pt x="22" y="42"/>
                  </a:cubicBezTo>
                  <a:cubicBezTo>
                    <a:pt x="20" y="42"/>
                    <a:pt x="17" y="39"/>
                    <a:pt x="17" y="3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3"/>
                    <a:pt x="10" y="32"/>
                    <a:pt x="10" y="31"/>
                  </a:cubicBezTo>
                  <a:cubicBezTo>
                    <a:pt x="10" y="30"/>
                    <a:pt x="7" y="29"/>
                    <a:pt x="5" y="2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3" name="Freeform 635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5188094" y="3614292"/>
              <a:ext cx="162492" cy="180829"/>
            </a:xfrm>
            <a:custGeom>
              <a:avLst/>
              <a:gdLst>
                <a:gd name="T0" fmla="*/ 5 w 27"/>
                <a:gd name="T1" fmla="*/ 15 h 28"/>
                <a:gd name="T2" fmla="*/ 0 w 27"/>
                <a:gd name="T3" fmla="*/ 15 h 28"/>
                <a:gd name="T4" fmla="*/ 2 w 27"/>
                <a:gd name="T5" fmla="*/ 6 h 28"/>
                <a:gd name="T6" fmla="*/ 6 w 27"/>
                <a:gd name="T7" fmla="*/ 1 h 28"/>
                <a:gd name="T8" fmla="*/ 8 w 27"/>
                <a:gd name="T9" fmla="*/ 0 h 28"/>
                <a:gd name="T10" fmla="*/ 11 w 27"/>
                <a:gd name="T11" fmla="*/ 8 h 28"/>
                <a:gd name="T12" fmla="*/ 18 w 27"/>
                <a:gd name="T13" fmla="*/ 12 h 28"/>
                <a:gd name="T14" fmla="*/ 25 w 27"/>
                <a:gd name="T15" fmla="*/ 21 h 28"/>
                <a:gd name="T16" fmla="*/ 25 w 27"/>
                <a:gd name="T17" fmla="*/ 23 h 28"/>
                <a:gd name="T18" fmla="*/ 27 w 27"/>
                <a:gd name="T19" fmla="*/ 26 h 28"/>
                <a:gd name="T20" fmla="*/ 25 w 27"/>
                <a:gd name="T21" fmla="*/ 27 h 28"/>
                <a:gd name="T22" fmla="*/ 20 w 27"/>
                <a:gd name="T23" fmla="*/ 27 h 28"/>
                <a:gd name="T24" fmla="*/ 21 w 27"/>
                <a:gd name="T25" fmla="*/ 24 h 28"/>
                <a:gd name="T26" fmla="*/ 21 w 27"/>
                <a:gd name="T27" fmla="*/ 21 h 28"/>
                <a:gd name="T28" fmla="*/ 17 w 27"/>
                <a:gd name="T29" fmla="*/ 17 h 28"/>
                <a:gd name="T30" fmla="*/ 11 w 27"/>
                <a:gd name="T31" fmla="*/ 14 h 28"/>
                <a:gd name="T32" fmla="*/ 7 w 27"/>
                <a:gd name="T33" fmla="*/ 14 h 28"/>
                <a:gd name="T34" fmla="*/ 5 w 27"/>
                <a:gd name="T35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8">
                  <a:moveTo>
                    <a:pt x="5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3"/>
                    <a:pt x="1" y="9"/>
                    <a:pt x="2" y="6"/>
                  </a:cubicBezTo>
                  <a:cubicBezTo>
                    <a:pt x="2" y="2"/>
                    <a:pt x="5" y="1"/>
                    <a:pt x="6" y="1"/>
                  </a:cubicBezTo>
                  <a:cubicBezTo>
                    <a:pt x="7" y="1"/>
                    <a:pt x="8" y="0"/>
                    <a:pt x="8" y="0"/>
                  </a:cubicBezTo>
                  <a:cubicBezTo>
                    <a:pt x="9" y="2"/>
                    <a:pt x="10" y="7"/>
                    <a:pt x="11" y="8"/>
                  </a:cubicBezTo>
                  <a:cubicBezTo>
                    <a:pt x="13" y="9"/>
                    <a:pt x="18" y="12"/>
                    <a:pt x="18" y="12"/>
                  </a:cubicBezTo>
                  <a:cubicBezTo>
                    <a:pt x="18" y="13"/>
                    <a:pt x="25" y="20"/>
                    <a:pt x="25" y="21"/>
                  </a:cubicBezTo>
                  <a:cubicBezTo>
                    <a:pt x="26" y="21"/>
                    <a:pt x="26" y="23"/>
                    <a:pt x="25" y="23"/>
                  </a:cubicBezTo>
                  <a:cubicBezTo>
                    <a:pt x="25" y="23"/>
                    <a:pt x="26" y="24"/>
                    <a:pt x="27" y="26"/>
                  </a:cubicBezTo>
                  <a:cubicBezTo>
                    <a:pt x="27" y="26"/>
                    <a:pt x="25" y="26"/>
                    <a:pt x="25" y="27"/>
                  </a:cubicBezTo>
                  <a:cubicBezTo>
                    <a:pt x="25" y="27"/>
                    <a:pt x="21" y="28"/>
                    <a:pt x="20" y="27"/>
                  </a:cubicBezTo>
                  <a:cubicBezTo>
                    <a:pt x="20" y="26"/>
                    <a:pt x="20" y="25"/>
                    <a:pt x="21" y="24"/>
                  </a:cubicBezTo>
                  <a:cubicBezTo>
                    <a:pt x="21" y="23"/>
                    <a:pt x="22" y="23"/>
                    <a:pt x="21" y="21"/>
                  </a:cubicBezTo>
                  <a:cubicBezTo>
                    <a:pt x="20" y="19"/>
                    <a:pt x="18" y="17"/>
                    <a:pt x="17" y="17"/>
                  </a:cubicBezTo>
                  <a:cubicBezTo>
                    <a:pt x="16" y="16"/>
                    <a:pt x="12" y="14"/>
                    <a:pt x="11" y="14"/>
                  </a:cubicBezTo>
                  <a:cubicBezTo>
                    <a:pt x="11" y="14"/>
                    <a:pt x="8" y="14"/>
                    <a:pt x="7" y="14"/>
                  </a:cubicBezTo>
                  <a:cubicBezTo>
                    <a:pt x="6" y="14"/>
                    <a:pt x="5" y="15"/>
                    <a:pt x="5" y="1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4" name="Freeform 635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5166220" y="3081851"/>
              <a:ext cx="159367" cy="143994"/>
            </a:xfrm>
            <a:custGeom>
              <a:avLst/>
              <a:gdLst>
                <a:gd name="T0" fmla="*/ 4 w 26"/>
                <a:gd name="T1" fmla="*/ 22 h 22"/>
                <a:gd name="T2" fmla="*/ 0 w 26"/>
                <a:gd name="T3" fmla="*/ 21 h 22"/>
                <a:gd name="T4" fmla="*/ 1 w 26"/>
                <a:gd name="T5" fmla="*/ 19 h 22"/>
                <a:gd name="T6" fmla="*/ 2 w 26"/>
                <a:gd name="T7" fmla="*/ 18 h 22"/>
                <a:gd name="T8" fmla="*/ 4 w 26"/>
                <a:gd name="T9" fmla="*/ 14 h 22"/>
                <a:gd name="T10" fmla="*/ 1 w 26"/>
                <a:gd name="T11" fmla="*/ 11 h 22"/>
                <a:gd name="T12" fmla="*/ 0 w 26"/>
                <a:gd name="T13" fmla="*/ 8 h 22"/>
                <a:gd name="T14" fmla="*/ 1 w 26"/>
                <a:gd name="T15" fmla="*/ 7 h 22"/>
                <a:gd name="T16" fmla="*/ 3 w 26"/>
                <a:gd name="T17" fmla="*/ 6 h 22"/>
                <a:gd name="T18" fmla="*/ 5 w 26"/>
                <a:gd name="T19" fmla="*/ 3 h 22"/>
                <a:gd name="T20" fmla="*/ 10 w 26"/>
                <a:gd name="T21" fmla="*/ 2 h 22"/>
                <a:gd name="T22" fmla="*/ 12 w 26"/>
                <a:gd name="T23" fmla="*/ 3 h 22"/>
                <a:gd name="T24" fmla="*/ 19 w 26"/>
                <a:gd name="T25" fmla="*/ 2 h 22"/>
                <a:gd name="T26" fmla="*/ 24 w 26"/>
                <a:gd name="T27" fmla="*/ 0 h 22"/>
                <a:gd name="T28" fmla="*/ 26 w 26"/>
                <a:gd name="T29" fmla="*/ 2 h 22"/>
                <a:gd name="T30" fmla="*/ 22 w 26"/>
                <a:gd name="T31" fmla="*/ 5 h 22"/>
                <a:gd name="T32" fmla="*/ 21 w 26"/>
                <a:gd name="T33" fmla="*/ 11 h 22"/>
                <a:gd name="T34" fmla="*/ 19 w 26"/>
                <a:gd name="T35" fmla="*/ 13 h 22"/>
                <a:gd name="T36" fmla="*/ 12 w 26"/>
                <a:gd name="T37" fmla="*/ 18 h 22"/>
                <a:gd name="T38" fmla="*/ 4 w 26"/>
                <a:gd name="T3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22">
                  <a:moveTo>
                    <a:pt x="4" y="22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1" y="19"/>
                    <a:pt x="2" y="18"/>
                    <a:pt x="2" y="18"/>
                  </a:cubicBezTo>
                  <a:cubicBezTo>
                    <a:pt x="2" y="17"/>
                    <a:pt x="4" y="15"/>
                    <a:pt x="4" y="14"/>
                  </a:cubicBezTo>
                  <a:cubicBezTo>
                    <a:pt x="4" y="13"/>
                    <a:pt x="3" y="11"/>
                    <a:pt x="1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1" y="7"/>
                    <a:pt x="3" y="6"/>
                    <a:pt x="3" y="6"/>
                  </a:cubicBezTo>
                  <a:cubicBezTo>
                    <a:pt x="4" y="5"/>
                    <a:pt x="5" y="4"/>
                    <a:pt x="5" y="3"/>
                  </a:cubicBezTo>
                  <a:cubicBezTo>
                    <a:pt x="5" y="2"/>
                    <a:pt x="8" y="2"/>
                    <a:pt x="10" y="2"/>
                  </a:cubicBezTo>
                  <a:cubicBezTo>
                    <a:pt x="10" y="2"/>
                    <a:pt x="12" y="2"/>
                    <a:pt x="12" y="3"/>
                  </a:cubicBezTo>
                  <a:cubicBezTo>
                    <a:pt x="13" y="4"/>
                    <a:pt x="18" y="2"/>
                    <a:pt x="19" y="2"/>
                  </a:cubicBezTo>
                  <a:cubicBezTo>
                    <a:pt x="21" y="1"/>
                    <a:pt x="23" y="0"/>
                    <a:pt x="24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4" y="2"/>
                    <a:pt x="23" y="5"/>
                    <a:pt x="22" y="5"/>
                  </a:cubicBezTo>
                  <a:cubicBezTo>
                    <a:pt x="21" y="6"/>
                    <a:pt x="21" y="10"/>
                    <a:pt x="21" y="11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4" y="22"/>
                    <a:pt x="4" y="22"/>
                    <a:pt x="4" y="22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5" name="Freeform 6356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5156845" y="3152174"/>
              <a:ext cx="37498" cy="53579"/>
            </a:xfrm>
            <a:custGeom>
              <a:avLst/>
              <a:gdLst>
                <a:gd name="T0" fmla="*/ 0 w 6"/>
                <a:gd name="T1" fmla="*/ 7 h 8"/>
                <a:gd name="T2" fmla="*/ 2 w 6"/>
                <a:gd name="T3" fmla="*/ 3 h 8"/>
                <a:gd name="T4" fmla="*/ 3 w 6"/>
                <a:gd name="T5" fmla="*/ 1 h 8"/>
                <a:gd name="T6" fmla="*/ 3 w 6"/>
                <a:gd name="T7" fmla="*/ 0 h 8"/>
                <a:gd name="T8" fmla="*/ 6 w 6"/>
                <a:gd name="T9" fmla="*/ 3 h 8"/>
                <a:gd name="T10" fmla="*/ 4 w 6"/>
                <a:gd name="T11" fmla="*/ 7 h 8"/>
                <a:gd name="T12" fmla="*/ 3 w 6"/>
                <a:gd name="T13" fmla="*/ 8 h 8"/>
                <a:gd name="T14" fmla="*/ 1 w 6"/>
                <a:gd name="T15" fmla="*/ 7 h 8"/>
                <a:gd name="T16" fmla="*/ 0 w 6"/>
                <a:gd name="T1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8">
                  <a:moveTo>
                    <a:pt x="0" y="7"/>
                  </a:moveTo>
                  <a:cubicBezTo>
                    <a:pt x="1" y="5"/>
                    <a:pt x="1" y="4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4" y="6"/>
                    <a:pt x="4" y="7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6" name="Freeform 635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150596" y="3199055"/>
              <a:ext cx="96870" cy="110506"/>
            </a:xfrm>
            <a:custGeom>
              <a:avLst/>
              <a:gdLst>
                <a:gd name="T0" fmla="*/ 0 w 16"/>
                <a:gd name="T1" fmla="*/ 17 h 17"/>
                <a:gd name="T2" fmla="*/ 2 w 16"/>
                <a:gd name="T3" fmla="*/ 7 h 17"/>
                <a:gd name="T4" fmla="*/ 3 w 16"/>
                <a:gd name="T5" fmla="*/ 3 h 17"/>
                <a:gd name="T6" fmla="*/ 7 w 16"/>
                <a:gd name="T7" fmla="*/ 4 h 17"/>
                <a:gd name="T8" fmla="*/ 15 w 16"/>
                <a:gd name="T9" fmla="*/ 0 h 17"/>
                <a:gd name="T10" fmla="*/ 16 w 16"/>
                <a:gd name="T11" fmla="*/ 5 h 17"/>
                <a:gd name="T12" fmla="*/ 16 w 16"/>
                <a:gd name="T13" fmla="*/ 5 h 17"/>
                <a:gd name="T14" fmla="*/ 9 w 16"/>
                <a:gd name="T15" fmla="*/ 8 h 17"/>
                <a:gd name="T16" fmla="*/ 12 w 16"/>
                <a:gd name="T17" fmla="*/ 12 h 17"/>
                <a:gd name="T18" fmla="*/ 8 w 16"/>
                <a:gd name="T19" fmla="*/ 15 h 17"/>
                <a:gd name="T20" fmla="*/ 4 w 16"/>
                <a:gd name="T21" fmla="*/ 17 h 17"/>
                <a:gd name="T22" fmla="*/ 0 w 16"/>
                <a:gd name="T2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7">
                  <a:moveTo>
                    <a:pt x="0" y="1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3" y="4"/>
                    <a:pt x="3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6"/>
                    <a:pt x="9" y="7"/>
                    <a:pt x="9" y="8"/>
                  </a:cubicBezTo>
                  <a:cubicBezTo>
                    <a:pt x="8" y="8"/>
                    <a:pt x="12" y="12"/>
                    <a:pt x="12" y="12"/>
                  </a:cubicBezTo>
                  <a:cubicBezTo>
                    <a:pt x="12" y="12"/>
                    <a:pt x="10" y="14"/>
                    <a:pt x="8" y="15"/>
                  </a:cubicBezTo>
                  <a:cubicBezTo>
                    <a:pt x="7" y="15"/>
                    <a:pt x="5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7" name="Freeform 6358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125597" y="3199055"/>
              <a:ext cx="49998" cy="110506"/>
            </a:xfrm>
            <a:custGeom>
              <a:avLst/>
              <a:gdLst>
                <a:gd name="T0" fmla="*/ 1 w 8"/>
                <a:gd name="T1" fmla="*/ 8 h 17"/>
                <a:gd name="T2" fmla="*/ 5 w 8"/>
                <a:gd name="T3" fmla="*/ 0 h 17"/>
                <a:gd name="T4" fmla="*/ 6 w 8"/>
                <a:gd name="T5" fmla="*/ 0 h 17"/>
                <a:gd name="T6" fmla="*/ 8 w 8"/>
                <a:gd name="T7" fmla="*/ 1 h 17"/>
                <a:gd name="T8" fmla="*/ 7 w 8"/>
                <a:gd name="T9" fmla="*/ 3 h 17"/>
                <a:gd name="T10" fmla="*/ 6 w 8"/>
                <a:gd name="T11" fmla="*/ 7 h 17"/>
                <a:gd name="T12" fmla="*/ 4 w 8"/>
                <a:gd name="T13" fmla="*/ 17 h 17"/>
                <a:gd name="T14" fmla="*/ 4 w 8"/>
                <a:gd name="T15" fmla="*/ 17 h 17"/>
                <a:gd name="T16" fmla="*/ 3 w 8"/>
                <a:gd name="T17" fmla="*/ 17 h 17"/>
                <a:gd name="T18" fmla="*/ 0 w 8"/>
                <a:gd name="T19" fmla="*/ 9 h 17"/>
                <a:gd name="T20" fmla="*/ 1 w 8"/>
                <a:gd name="T21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7">
                  <a:moveTo>
                    <a:pt x="1" y="8"/>
                  </a:moveTo>
                  <a:cubicBezTo>
                    <a:pt x="2" y="7"/>
                    <a:pt x="4" y="3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7" y="4"/>
                    <a:pt x="6" y="6"/>
                    <a:pt x="6" y="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8" name="Freeform 6359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125597" y="3952509"/>
              <a:ext cx="184366" cy="231059"/>
            </a:xfrm>
            <a:custGeom>
              <a:avLst/>
              <a:gdLst>
                <a:gd name="T0" fmla="*/ 0 w 30"/>
                <a:gd name="T1" fmla="*/ 1 h 36"/>
                <a:gd name="T2" fmla="*/ 1 w 30"/>
                <a:gd name="T3" fmla="*/ 0 h 36"/>
                <a:gd name="T4" fmla="*/ 7 w 30"/>
                <a:gd name="T5" fmla="*/ 0 h 36"/>
                <a:gd name="T6" fmla="*/ 8 w 30"/>
                <a:gd name="T7" fmla="*/ 0 h 36"/>
                <a:gd name="T8" fmla="*/ 12 w 30"/>
                <a:gd name="T9" fmla="*/ 1 h 36"/>
                <a:gd name="T10" fmla="*/ 17 w 30"/>
                <a:gd name="T11" fmla="*/ 4 h 36"/>
                <a:gd name="T12" fmla="*/ 22 w 30"/>
                <a:gd name="T13" fmla="*/ 4 h 36"/>
                <a:gd name="T14" fmla="*/ 26 w 30"/>
                <a:gd name="T15" fmla="*/ 2 h 36"/>
                <a:gd name="T16" fmla="*/ 29 w 30"/>
                <a:gd name="T17" fmla="*/ 3 h 36"/>
                <a:gd name="T18" fmla="*/ 30 w 30"/>
                <a:gd name="T19" fmla="*/ 2 h 36"/>
                <a:gd name="T20" fmla="*/ 29 w 30"/>
                <a:gd name="T21" fmla="*/ 5 h 36"/>
                <a:gd name="T22" fmla="*/ 27 w 30"/>
                <a:gd name="T23" fmla="*/ 7 h 36"/>
                <a:gd name="T24" fmla="*/ 27 w 30"/>
                <a:gd name="T25" fmla="*/ 21 h 36"/>
                <a:gd name="T26" fmla="*/ 29 w 30"/>
                <a:gd name="T27" fmla="*/ 23 h 36"/>
                <a:gd name="T28" fmla="*/ 26 w 30"/>
                <a:gd name="T29" fmla="*/ 28 h 36"/>
                <a:gd name="T30" fmla="*/ 22 w 30"/>
                <a:gd name="T31" fmla="*/ 35 h 36"/>
                <a:gd name="T32" fmla="*/ 21 w 30"/>
                <a:gd name="T33" fmla="*/ 36 h 36"/>
                <a:gd name="T34" fmla="*/ 16 w 30"/>
                <a:gd name="T35" fmla="*/ 32 h 36"/>
                <a:gd name="T36" fmla="*/ 14 w 30"/>
                <a:gd name="T37" fmla="*/ 29 h 36"/>
                <a:gd name="T38" fmla="*/ 0 w 30"/>
                <a:gd name="T39" fmla="*/ 21 h 36"/>
                <a:gd name="T40" fmla="*/ 0 w 30"/>
                <a:gd name="T41" fmla="*/ 17 h 36"/>
                <a:gd name="T42" fmla="*/ 4 w 30"/>
                <a:gd name="T43" fmla="*/ 10 h 36"/>
                <a:gd name="T44" fmla="*/ 2 w 30"/>
                <a:gd name="T45" fmla="*/ 5 h 36"/>
                <a:gd name="T46" fmla="*/ 0 w 30"/>
                <a:gd name="T47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" h="36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6" y="4"/>
                    <a:pt x="17" y="4"/>
                  </a:cubicBezTo>
                  <a:cubicBezTo>
                    <a:pt x="18" y="4"/>
                    <a:pt x="22" y="4"/>
                    <a:pt x="22" y="4"/>
                  </a:cubicBezTo>
                  <a:cubicBezTo>
                    <a:pt x="22" y="4"/>
                    <a:pt x="25" y="2"/>
                    <a:pt x="26" y="2"/>
                  </a:cubicBezTo>
                  <a:cubicBezTo>
                    <a:pt x="27" y="1"/>
                    <a:pt x="28" y="3"/>
                    <a:pt x="29" y="3"/>
                  </a:cubicBezTo>
                  <a:cubicBezTo>
                    <a:pt x="29" y="3"/>
                    <a:pt x="30" y="2"/>
                    <a:pt x="30" y="2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8" y="25"/>
                    <a:pt x="27" y="26"/>
                    <a:pt x="26" y="28"/>
                  </a:cubicBezTo>
                  <a:cubicBezTo>
                    <a:pt x="24" y="30"/>
                    <a:pt x="22" y="34"/>
                    <a:pt x="22" y="35"/>
                  </a:cubicBezTo>
                  <a:cubicBezTo>
                    <a:pt x="22" y="35"/>
                    <a:pt x="21" y="35"/>
                    <a:pt x="21" y="36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5" y="32"/>
                    <a:pt x="15" y="29"/>
                    <a:pt x="14" y="29"/>
                  </a:cubicBezTo>
                  <a:cubicBezTo>
                    <a:pt x="13" y="28"/>
                    <a:pt x="0" y="21"/>
                    <a:pt x="0" y="21"/>
                  </a:cubicBezTo>
                  <a:cubicBezTo>
                    <a:pt x="0" y="21"/>
                    <a:pt x="0" y="18"/>
                    <a:pt x="0" y="17"/>
                  </a:cubicBezTo>
                  <a:cubicBezTo>
                    <a:pt x="0" y="16"/>
                    <a:pt x="3" y="12"/>
                    <a:pt x="4" y="10"/>
                  </a:cubicBezTo>
                  <a:cubicBezTo>
                    <a:pt x="4" y="8"/>
                    <a:pt x="3" y="6"/>
                    <a:pt x="2" y="5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09" name="Freeform 6360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103723" y="4307468"/>
              <a:ext cx="71872" cy="194223"/>
            </a:xfrm>
            <a:custGeom>
              <a:avLst/>
              <a:gdLst>
                <a:gd name="T0" fmla="*/ 0 w 12"/>
                <a:gd name="T1" fmla="*/ 14 h 30"/>
                <a:gd name="T2" fmla="*/ 2 w 12"/>
                <a:gd name="T3" fmla="*/ 11 h 30"/>
                <a:gd name="T4" fmla="*/ 1 w 12"/>
                <a:gd name="T5" fmla="*/ 6 h 30"/>
                <a:gd name="T6" fmla="*/ 2 w 12"/>
                <a:gd name="T7" fmla="*/ 2 h 30"/>
                <a:gd name="T8" fmla="*/ 1 w 12"/>
                <a:gd name="T9" fmla="*/ 0 h 30"/>
                <a:gd name="T10" fmla="*/ 4 w 12"/>
                <a:gd name="T11" fmla="*/ 0 h 30"/>
                <a:gd name="T12" fmla="*/ 6 w 12"/>
                <a:gd name="T13" fmla="*/ 1 h 30"/>
                <a:gd name="T14" fmla="*/ 8 w 12"/>
                <a:gd name="T15" fmla="*/ 8 h 30"/>
                <a:gd name="T16" fmla="*/ 7 w 12"/>
                <a:gd name="T17" fmla="*/ 9 h 30"/>
                <a:gd name="T18" fmla="*/ 6 w 12"/>
                <a:gd name="T19" fmla="*/ 14 h 30"/>
                <a:gd name="T20" fmla="*/ 8 w 12"/>
                <a:gd name="T21" fmla="*/ 15 h 30"/>
                <a:gd name="T22" fmla="*/ 11 w 12"/>
                <a:gd name="T23" fmla="*/ 20 h 30"/>
                <a:gd name="T24" fmla="*/ 11 w 12"/>
                <a:gd name="T25" fmla="*/ 25 h 30"/>
                <a:gd name="T26" fmla="*/ 10 w 12"/>
                <a:gd name="T27" fmla="*/ 26 h 30"/>
                <a:gd name="T28" fmla="*/ 9 w 12"/>
                <a:gd name="T29" fmla="*/ 30 h 30"/>
                <a:gd name="T30" fmla="*/ 5 w 12"/>
                <a:gd name="T31" fmla="*/ 25 h 30"/>
                <a:gd name="T32" fmla="*/ 6 w 12"/>
                <a:gd name="T33" fmla="*/ 19 h 30"/>
                <a:gd name="T34" fmla="*/ 3 w 12"/>
                <a:gd name="T35" fmla="*/ 20 h 30"/>
                <a:gd name="T36" fmla="*/ 2 w 12"/>
                <a:gd name="T37" fmla="*/ 18 h 30"/>
                <a:gd name="T38" fmla="*/ 0 w 12"/>
                <a:gd name="T39" fmla="*/ 17 h 30"/>
                <a:gd name="T40" fmla="*/ 0 w 12"/>
                <a:gd name="T41" fmla="*/ 1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30">
                  <a:moveTo>
                    <a:pt x="0" y="14"/>
                  </a:moveTo>
                  <a:cubicBezTo>
                    <a:pt x="1" y="12"/>
                    <a:pt x="2" y="12"/>
                    <a:pt x="2" y="11"/>
                  </a:cubicBezTo>
                  <a:cubicBezTo>
                    <a:pt x="2" y="10"/>
                    <a:pt x="1" y="7"/>
                    <a:pt x="1" y="6"/>
                  </a:cubicBezTo>
                  <a:cubicBezTo>
                    <a:pt x="2" y="5"/>
                    <a:pt x="2" y="4"/>
                    <a:pt x="2" y="2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8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6" y="9"/>
                    <a:pt x="6" y="14"/>
                    <a:pt x="6" y="14"/>
                  </a:cubicBezTo>
                  <a:cubicBezTo>
                    <a:pt x="6" y="15"/>
                    <a:pt x="7" y="14"/>
                    <a:pt x="8" y="15"/>
                  </a:cubicBezTo>
                  <a:cubicBezTo>
                    <a:pt x="9" y="16"/>
                    <a:pt x="11" y="19"/>
                    <a:pt x="11" y="20"/>
                  </a:cubicBezTo>
                  <a:cubicBezTo>
                    <a:pt x="12" y="21"/>
                    <a:pt x="11" y="25"/>
                    <a:pt x="11" y="25"/>
                  </a:cubicBezTo>
                  <a:cubicBezTo>
                    <a:pt x="11" y="25"/>
                    <a:pt x="10" y="26"/>
                    <a:pt x="10" y="26"/>
                  </a:cubicBezTo>
                  <a:cubicBezTo>
                    <a:pt x="9" y="27"/>
                    <a:pt x="10" y="29"/>
                    <a:pt x="9" y="30"/>
                  </a:cubicBezTo>
                  <a:cubicBezTo>
                    <a:pt x="8" y="30"/>
                    <a:pt x="5" y="26"/>
                    <a:pt x="5" y="25"/>
                  </a:cubicBezTo>
                  <a:cubicBezTo>
                    <a:pt x="5" y="24"/>
                    <a:pt x="7" y="20"/>
                    <a:pt x="6" y="19"/>
                  </a:cubicBezTo>
                  <a:cubicBezTo>
                    <a:pt x="6" y="18"/>
                    <a:pt x="4" y="20"/>
                    <a:pt x="3" y="20"/>
                  </a:cubicBezTo>
                  <a:cubicBezTo>
                    <a:pt x="2" y="20"/>
                    <a:pt x="3" y="18"/>
                    <a:pt x="2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5"/>
                    <a:pt x="0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0" name="Freeform 6362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81849" y="3128733"/>
              <a:ext cx="56247" cy="36835"/>
            </a:xfrm>
            <a:custGeom>
              <a:avLst/>
              <a:gdLst>
                <a:gd name="T0" fmla="*/ 3 w 9"/>
                <a:gd name="T1" fmla="*/ 6 h 6"/>
                <a:gd name="T2" fmla="*/ 1 w 9"/>
                <a:gd name="T3" fmla="*/ 5 h 6"/>
                <a:gd name="T4" fmla="*/ 2 w 9"/>
                <a:gd name="T5" fmla="*/ 3 h 6"/>
                <a:gd name="T6" fmla="*/ 8 w 9"/>
                <a:gd name="T7" fmla="*/ 1 h 6"/>
                <a:gd name="T8" fmla="*/ 6 w 9"/>
                <a:gd name="T9" fmla="*/ 5 h 6"/>
                <a:gd name="T10" fmla="*/ 3 w 9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3" y="6"/>
                  </a:move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3"/>
                    <a:pt x="7" y="2"/>
                    <a:pt x="8" y="1"/>
                  </a:cubicBezTo>
                  <a:cubicBezTo>
                    <a:pt x="9" y="0"/>
                    <a:pt x="7" y="5"/>
                    <a:pt x="6" y="5"/>
                  </a:cubicBezTo>
                  <a:cubicBezTo>
                    <a:pt x="5" y="6"/>
                    <a:pt x="4" y="6"/>
                    <a:pt x="3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1" name="Freeform 6363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047476" y="4716006"/>
              <a:ext cx="34373" cy="60276"/>
            </a:xfrm>
            <a:custGeom>
              <a:avLst/>
              <a:gdLst>
                <a:gd name="T0" fmla="*/ 1 w 6"/>
                <a:gd name="T1" fmla="*/ 6 h 9"/>
                <a:gd name="T2" fmla="*/ 3 w 6"/>
                <a:gd name="T3" fmla="*/ 1 h 9"/>
                <a:gd name="T4" fmla="*/ 5 w 6"/>
                <a:gd name="T5" fmla="*/ 2 h 9"/>
                <a:gd name="T6" fmla="*/ 5 w 6"/>
                <a:gd name="T7" fmla="*/ 6 h 9"/>
                <a:gd name="T8" fmla="*/ 1 w 6"/>
                <a:gd name="T9" fmla="*/ 8 h 9"/>
                <a:gd name="T10" fmla="*/ 1 w 6"/>
                <a:gd name="T1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9">
                  <a:moveTo>
                    <a:pt x="1" y="6"/>
                  </a:moveTo>
                  <a:cubicBezTo>
                    <a:pt x="1" y="4"/>
                    <a:pt x="2" y="2"/>
                    <a:pt x="3" y="1"/>
                  </a:cubicBezTo>
                  <a:cubicBezTo>
                    <a:pt x="5" y="0"/>
                    <a:pt x="5" y="2"/>
                    <a:pt x="5" y="2"/>
                  </a:cubicBezTo>
                  <a:cubicBezTo>
                    <a:pt x="5" y="4"/>
                    <a:pt x="5" y="6"/>
                    <a:pt x="5" y="6"/>
                  </a:cubicBezTo>
                  <a:cubicBezTo>
                    <a:pt x="5" y="6"/>
                    <a:pt x="6" y="9"/>
                    <a:pt x="1" y="8"/>
                  </a:cubicBezTo>
                  <a:cubicBezTo>
                    <a:pt x="0" y="8"/>
                    <a:pt x="1" y="7"/>
                    <a:pt x="1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2" name="Freeform 6364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041226" y="4327560"/>
              <a:ext cx="253113" cy="428631"/>
            </a:xfrm>
            <a:custGeom>
              <a:avLst/>
              <a:gdLst>
                <a:gd name="T0" fmla="*/ 1 w 42"/>
                <a:gd name="T1" fmla="*/ 22 h 66"/>
                <a:gd name="T2" fmla="*/ 0 w 42"/>
                <a:gd name="T3" fmla="*/ 21 h 66"/>
                <a:gd name="T4" fmla="*/ 0 w 42"/>
                <a:gd name="T5" fmla="*/ 18 h 66"/>
                <a:gd name="T6" fmla="*/ 0 w 42"/>
                <a:gd name="T7" fmla="*/ 18 h 66"/>
                <a:gd name="T8" fmla="*/ 10 w 42"/>
                <a:gd name="T9" fmla="*/ 14 h 66"/>
                <a:gd name="T10" fmla="*/ 12 w 42"/>
                <a:gd name="T11" fmla="*/ 15 h 66"/>
                <a:gd name="T12" fmla="*/ 13 w 42"/>
                <a:gd name="T13" fmla="*/ 17 h 66"/>
                <a:gd name="T14" fmla="*/ 16 w 42"/>
                <a:gd name="T15" fmla="*/ 16 h 66"/>
                <a:gd name="T16" fmla="*/ 15 w 42"/>
                <a:gd name="T17" fmla="*/ 22 h 66"/>
                <a:gd name="T18" fmla="*/ 19 w 42"/>
                <a:gd name="T19" fmla="*/ 27 h 66"/>
                <a:gd name="T20" fmla="*/ 20 w 42"/>
                <a:gd name="T21" fmla="*/ 23 h 66"/>
                <a:gd name="T22" fmla="*/ 22 w 42"/>
                <a:gd name="T23" fmla="*/ 22 h 66"/>
                <a:gd name="T24" fmla="*/ 22 w 42"/>
                <a:gd name="T25" fmla="*/ 17 h 66"/>
                <a:gd name="T26" fmla="*/ 18 w 42"/>
                <a:gd name="T27" fmla="*/ 12 h 66"/>
                <a:gd name="T28" fmla="*/ 16 w 42"/>
                <a:gd name="T29" fmla="*/ 11 h 66"/>
                <a:gd name="T30" fmla="*/ 17 w 42"/>
                <a:gd name="T31" fmla="*/ 5 h 66"/>
                <a:gd name="T32" fmla="*/ 19 w 42"/>
                <a:gd name="T33" fmla="*/ 5 h 66"/>
                <a:gd name="T34" fmla="*/ 21 w 42"/>
                <a:gd name="T35" fmla="*/ 5 h 66"/>
                <a:gd name="T36" fmla="*/ 25 w 42"/>
                <a:gd name="T37" fmla="*/ 5 h 66"/>
                <a:gd name="T38" fmla="*/ 30 w 42"/>
                <a:gd name="T39" fmla="*/ 4 h 66"/>
                <a:gd name="T40" fmla="*/ 35 w 42"/>
                <a:gd name="T41" fmla="*/ 3 h 66"/>
                <a:gd name="T42" fmla="*/ 40 w 42"/>
                <a:gd name="T43" fmla="*/ 0 h 66"/>
                <a:gd name="T44" fmla="*/ 40 w 42"/>
                <a:gd name="T45" fmla="*/ 5 h 66"/>
                <a:gd name="T46" fmla="*/ 40 w 42"/>
                <a:gd name="T47" fmla="*/ 14 h 66"/>
                <a:gd name="T48" fmla="*/ 41 w 42"/>
                <a:gd name="T49" fmla="*/ 19 h 66"/>
                <a:gd name="T50" fmla="*/ 35 w 42"/>
                <a:gd name="T51" fmla="*/ 26 h 66"/>
                <a:gd name="T52" fmla="*/ 25 w 42"/>
                <a:gd name="T53" fmla="*/ 30 h 66"/>
                <a:gd name="T54" fmla="*/ 21 w 42"/>
                <a:gd name="T55" fmla="*/ 35 h 66"/>
                <a:gd name="T56" fmla="*/ 16 w 42"/>
                <a:gd name="T57" fmla="*/ 38 h 66"/>
                <a:gd name="T58" fmla="*/ 17 w 42"/>
                <a:gd name="T59" fmla="*/ 42 h 66"/>
                <a:gd name="T60" fmla="*/ 21 w 42"/>
                <a:gd name="T61" fmla="*/ 46 h 66"/>
                <a:gd name="T62" fmla="*/ 21 w 42"/>
                <a:gd name="T63" fmla="*/ 55 h 66"/>
                <a:gd name="T64" fmla="*/ 10 w 42"/>
                <a:gd name="T65" fmla="*/ 61 h 66"/>
                <a:gd name="T66" fmla="*/ 9 w 42"/>
                <a:gd name="T67" fmla="*/ 63 h 66"/>
                <a:gd name="T68" fmla="*/ 10 w 42"/>
                <a:gd name="T69" fmla="*/ 66 h 66"/>
                <a:gd name="T70" fmla="*/ 6 w 42"/>
                <a:gd name="T71" fmla="*/ 66 h 66"/>
                <a:gd name="T72" fmla="*/ 6 w 42"/>
                <a:gd name="T73" fmla="*/ 62 h 66"/>
                <a:gd name="T74" fmla="*/ 6 w 42"/>
                <a:gd name="T75" fmla="*/ 61 h 66"/>
                <a:gd name="T76" fmla="*/ 6 w 42"/>
                <a:gd name="T77" fmla="*/ 54 h 66"/>
                <a:gd name="T78" fmla="*/ 4 w 42"/>
                <a:gd name="T79" fmla="*/ 49 h 66"/>
                <a:gd name="T80" fmla="*/ 4 w 42"/>
                <a:gd name="T81" fmla="*/ 48 h 66"/>
                <a:gd name="T82" fmla="*/ 6 w 42"/>
                <a:gd name="T83" fmla="*/ 46 h 66"/>
                <a:gd name="T84" fmla="*/ 8 w 42"/>
                <a:gd name="T85" fmla="*/ 44 h 66"/>
                <a:gd name="T86" fmla="*/ 9 w 42"/>
                <a:gd name="T87" fmla="*/ 40 h 66"/>
                <a:gd name="T88" fmla="*/ 10 w 42"/>
                <a:gd name="T89" fmla="*/ 38 h 66"/>
                <a:gd name="T90" fmla="*/ 10 w 42"/>
                <a:gd name="T91" fmla="*/ 33 h 66"/>
                <a:gd name="T92" fmla="*/ 10 w 42"/>
                <a:gd name="T93" fmla="*/ 25 h 66"/>
                <a:gd name="T94" fmla="*/ 5 w 42"/>
                <a:gd name="T95" fmla="*/ 23 h 66"/>
                <a:gd name="T96" fmla="*/ 1 w 42"/>
                <a:gd name="T97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" h="66">
                  <a:moveTo>
                    <a:pt x="1" y="22"/>
                  </a:moveTo>
                  <a:cubicBezTo>
                    <a:pt x="1" y="22"/>
                    <a:pt x="1" y="21"/>
                    <a:pt x="0" y="21"/>
                  </a:cubicBezTo>
                  <a:cubicBezTo>
                    <a:pt x="0" y="20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0" y="15"/>
                    <a:pt x="10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2" y="17"/>
                    <a:pt x="13" y="17"/>
                  </a:cubicBezTo>
                  <a:cubicBezTo>
                    <a:pt x="14" y="17"/>
                    <a:pt x="16" y="15"/>
                    <a:pt x="16" y="16"/>
                  </a:cubicBezTo>
                  <a:cubicBezTo>
                    <a:pt x="17" y="17"/>
                    <a:pt x="15" y="21"/>
                    <a:pt x="15" y="22"/>
                  </a:cubicBezTo>
                  <a:cubicBezTo>
                    <a:pt x="15" y="23"/>
                    <a:pt x="19" y="27"/>
                    <a:pt x="19" y="27"/>
                  </a:cubicBezTo>
                  <a:cubicBezTo>
                    <a:pt x="20" y="26"/>
                    <a:pt x="19" y="24"/>
                    <a:pt x="20" y="23"/>
                  </a:cubicBezTo>
                  <a:cubicBezTo>
                    <a:pt x="21" y="23"/>
                    <a:pt x="22" y="22"/>
                    <a:pt x="22" y="22"/>
                  </a:cubicBezTo>
                  <a:cubicBezTo>
                    <a:pt x="22" y="22"/>
                    <a:pt x="22" y="18"/>
                    <a:pt x="22" y="17"/>
                  </a:cubicBezTo>
                  <a:cubicBezTo>
                    <a:pt x="21" y="16"/>
                    <a:pt x="19" y="13"/>
                    <a:pt x="18" y="12"/>
                  </a:cubicBezTo>
                  <a:cubicBezTo>
                    <a:pt x="17" y="11"/>
                    <a:pt x="16" y="12"/>
                    <a:pt x="16" y="11"/>
                  </a:cubicBezTo>
                  <a:cubicBezTo>
                    <a:pt x="16" y="11"/>
                    <a:pt x="16" y="6"/>
                    <a:pt x="17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19" y="5"/>
                    <a:pt x="21" y="5"/>
                    <a:pt x="21" y="5"/>
                  </a:cubicBezTo>
                  <a:cubicBezTo>
                    <a:pt x="22" y="5"/>
                    <a:pt x="24" y="5"/>
                    <a:pt x="25" y="5"/>
                  </a:cubicBezTo>
                  <a:cubicBezTo>
                    <a:pt x="27" y="5"/>
                    <a:pt x="29" y="5"/>
                    <a:pt x="30" y="4"/>
                  </a:cubicBezTo>
                  <a:cubicBezTo>
                    <a:pt x="31" y="4"/>
                    <a:pt x="34" y="4"/>
                    <a:pt x="35" y="3"/>
                  </a:cubicBezTo>
                  <a:cubicBezTo>
                    <a:pt x="36" y="2"/>
                    <a:pt x="40" y="0"/>
                    <a:pt x="40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12"/>
                    <a:pt x="40" y="14"/>
                  </a:cubicBezTo>
                  <a:cubicBezTo>
                    <a:pt x="41" y="16"/>
                    <a:pt x="42" y="17"/>
                    <a:pt x="41" y="19"/>
                  </a:cubicBezTo>
                  <a:cubicBezTo>
                    <a:pt x="39" y="20"/>
                    <a:pt x="37" y="25"/>
                    <a:pt x="35" y="26"/>
                  </a:cubicBezTo>
                  <a:cubicBezTo>
                    <a:pt x="33" y="26"/>
                    <a:pt x="27" y="29"/>
                    <a:pt x="25" y="30"/>
                  </a:cubicBezTo>
                  <a:cubicBezTo>
                    <a:pt x="24" y="32"/>
                    <a:pt x="22" y="35"/>
                    <a:pt x="21" y="35"/>
                  </a:cubicBezTo>
                  <a:cubicBezTo>
                    <a:pt x="19" y="37"/>
                    <a:pt x="16" y="37"/>
                    <a:pt x="16" y="38"/>
                  </a:cubicBezTo>
                  <a:cubicBezTo>
                    <a:pt x="16" y="40"/>
                    <a:pt x="16" y="41"/>
                    <a:pt x="17" y="42"/>
                  </a:cubicBezTo>
                  <a:cubicBezTo>
                    <a:pt x="19" y="43"/>
                    <a:pt x="20" y="45"/>
                    <a:pt x="21" y="46"/>
                  </a:cubicBezTo>
                  <a:cubicBezTo>
                    <a:pt x="21" y="48"/>
                    <a:pt x="22" y="54"/>
                    <a:pt x="21" y="55"/>
                  </a:cubicBezTo>
                  <a:cubicBezTo>
                    <a:pt x="19" y="57"/>
                    <a:pt x="11" y="60"/>
                    <a:pt x="10" y="61"/>
                  </a:cubicBezTo>
                  <a:cubicBezTo>
                    <a:pt x="9" y="61"/>
                    <a:pt x="8" y="63"/>
                    <a:pt x="9" y="63"/>
                  </a:cubicBezTo>
                  <a:cubicBezTo>
                    <a:pt x="10" y="64"/>
                    <a:pt x="10" y="65"/>
                    <a:pt x="10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4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ubicBezTo>
                    <a:pt x="6" y="60"/>
                    <a:pt x="7" y="56"/>
                    <a:pt x="6" y="54"/>
                  </a:cubicBezTo>
                  <a:cubicBezTo>
                    <a:pt x="5" y="53"/>
                    <a:pt x="4" y="50"/>
                    <a:pt x="4" y="49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3"/>
                    <a:pt x="8" y="41"/>
                    <a:pt x="9" y="40"/>
                  </a:cubicBezTo>
                  <a:cubicBezTo>
                    <a:pt x="10" y="39"/>
                    <a:pt x="10" y="38"/>
                    <a:pt x="10" y="38"/>
                  </a:cubicBezTo>
                  <a:cubicBezTo>
                    <a:pt x="10" y="37"/>
                    <a:pt x="10" y="35"/>
                    <a:pt x="10" y="33"/>
                  </a:cubicBezTo>
                  <a:cubicBezTo>
                    <a:pt x="11" y="32"/>
                    <a:pt x="10" y="26"/>
                    <a:pt x="10" y="25"/>
                  </a:cubicBezTo>
                  <a:cubicBezTo>
                    <a:pt x="9" y="25"/>
                    <a:pt x="6" y="23"/>
                    <a:pt x="5" y="23"/>
                  </a:cubicBezTo>
                  <a:cubicBezTo>
                    <a:pt x="4" y="23"/>
                    <a:pt x="1" y="22"/>
                    <a:pt x="1" y="2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3" name="Freeform 6365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8522309" y="1862933"/>
              <a:ext cx="93746" cy="40184"/>
            </a:xfrm>
            <a:custGeom>
              <a:avLst/>
              <a:gdLst>
                <a:gd name="T0" fmla="*/ 15 w 15"/>
                <a:gd name="T1" fmla="*/ 2 h 6"/>
                <a:gd name="T2" fmla="*/ 12 w 15"/>
                <a:gd name="T3" fmla="*/ 5 h 6"/>
                <a:gd name="T4" fmla="*/ 4 w 15"/>
                <a:gd name="T5" fmla="*/ 5 h 6"/>
                <a:gd name="T6" fmla="*/ 0 w 15"/>
                <a:gd name="T7" fmla="*/ 5 h 6"/>
                <a:gd name="T8" fmla="*/ 6 w 15"/>
                <a:gd name="T9" fmla="*/ 1 h 6"/>
                <a:gd name="T10" fmla="*/ 15 w 1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">
                  <a:moveTo>
                    <a:pt x="15" y="2"/>
                  </a:moveTo>
                  <a:cubicBezTo>
                    <a:pt x="15" y="4"/>
                    <a:pt x="14" y="5"/>
                    <a:pt x="12" y="5"/>
                  </a:cubicBezTo>
                  <a:cubicBezTo>
                    <a:pt x="11" y="5"/>
                    <a:pt x="6" y="5"/>
                    <a:pt x="4" y="5"/>
                  </a:cubicBezTo>
                  <a:cubicBezTo>
                    <a:pt x="2" y="5"/>
                    <a:pt x="0" y="6"/>
                    <a:pt x="0" y="5"/>
                  </a:cubicBezTo>
                  <a:cubicBezTo>
                    <a:pt x="0" y="4"/>
                    <a:pt x="4" y="1"/>
                    <a:pt x="6" y="1"/>
                  </a:cubicBezTo>
                  <a:cubicBezTo>
                    <a:pt x="8" y="0"/>
                    <a:pt x="15" y="1"/>
                    <a:pt x="15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4" name="Freeform 6366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7769220" y="1678755"/>
              <a:ext cx="109370" cy="30138"/>
            </a:xfrm>
            <a:custGeom>
              <a:avLst/>
              <a:gdLst>
                <a:gd name="T0" fmla="*/ 1 w 18"/>
                <a:gd name="T1" fmla="*/ 4 h 5"/>
                <a:gd name="T2" fmla="*/ 0 w 18"/>
                <a:gd name="T3" fmla="*/ 0 h 5"/>
                <a:gd name="T4" fmla="*/ 5 w 18"/>
                <a:gd name="T5" fmla="*/ 0 h 5"/>
                <a:gd name="T6" fmla="*/ 10 w 18"/>
                <a:gd name="T7" fmla="*/ 2 h 5"/>
                <a:gd name="T8" fmla="*/ 17 w 18"/>
                <a:gd name="T9" fmla="*/ 3 h 5"/>
                <a:gd name="T10" fmla="*/ 15 w 18"/>
                <a:gd name="T11" fmla="*/ 5 h 5"/>
                <a:gd name="T12" fmla="*/ 9 w 18"/>
                <a:gd name="T13" fmla="*/ 5 h 5"/>
                <a:gd name="T14" fmla="*/ 1 w 18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5">
                  <a:moveTo>
                    <a:pt x="1" y="4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4" y="0"/>
                    <a:pt x="5" y="0"/>
                  </a:cubicBezTo>
                  <a:cubicBezTo>
                    <a:pt x="6" y="0"/>
                    <a:pt x="9" y="1"/>
                    <a:pt x="10" y="2"/>
                  </a:cubicBezTo>
                  <a:cubicBezTo>
                    <a:pt x="11" y="2"/>
                    <a:pt x="16" y="2"/>
                    <a:pt x="17" y="3"/>
                  </a:cubicBezTo>
                  <a:cubicBezTo>
                    <a:pt x="18" y="4"/>
                    <a:pt x="17" y="5"/>
                    <a:pt x="15" y="5"/>
                  </a:cubicBezTo>
                  <a:cubicBezTo>
                    <a:pt x="14" y="5"/>
                    <a:pt x="11" y="5"/>
                    <a:pt x="9" y="5"/>
                  </a:cubicBezTo>
                  <a:cubicBezTo>
                    <a:pt x="7" y="5"/>
                    <a:pt x="2" y="4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5" name="Freeform 6367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659850" y="2539366"/>
              <a:ext cx="59372" cy="284637"/>
            </a:xfrm>
            <a:custGeom>
              <a:avLst/>
              <a:gdLst>
                <a:gd name="T0" fmla="*/ 2 w 10"/>
                <a:gd name="T1" fmla="*/ 18 h 44"/>
                <a:gd name="T2" fmla="*/ 1 w 10"/>
                <a:gd name="T3" fmla="*/ 14 h 44"/>
                <a:gd name="T4" fmla="*/ 1 w 10"/>
                <a:gd name="T5" fmla="*/ 7 h 44"/>
                <a:gd name="T6" fmla="*/ 2 w 10"/>
                <a:gd name="T7" fmla="*/ 5 h 44"/>
                <a:gd name="T8" fmla="*/ 4 w 10"/>
                <a:gd name="T9" fmla="*/ 0 h 44"/>
                <a:gd name="T10" fmla="*/ 5 w 10"/>
                <a:gd name="T11" fmla="*/ 5 h 44"/>
                <a:gd name="T12" fmla="*/ 6 w 10"/>
                <a:gd name="T13" fmla="*/ 12 h 44"/>
                <a:gd name="T14" fmla="*/ 6 w 10"/>
                <a:gd name="T15" fmla="*/ 16 h 44"/>
                <a:gd name="T16" fmla="*/ 9 w 10"/>
                <a:gd name="T17" fmla="*/ 25 h 44"/>
                <a:gd name="T18" fmla="*/ 9 w 10"/>
                <a:gd name="T19" fmla="*/ 28 h 44"/>
                <a:gd name="T20" fmla="*/ 6 w 10"/>
                <a:gd name="T21" fmla="*/ 28 h 44"/>
                <a:gd name="T22" fmla="*/ 5 w 10"/>
                <a:gd name="T23" fmla="*/ 36 h 44"/>
                <a:gd name="T24" fmla="*/ 7 w 10"/>
                <a:gd name="T25" fmla="*/ 39 h 44"/>
                <a:gd name="T26" fmla="*/ 6 w 10"/>
                <a:gd name="T27" fmla="*/ 43 h 44"/>
                <a:gd name="T28" fmla="*/ 4 w 10"/>
                <a:gd name="T29" fmla="*/ 41 h 44"/>
                <a:gd name="T30" fmla="*/ 2 w 10"/>
                <a:gd name="T31" fmla="*/ 43 h 44"/>
                <a:gd name="T32" fmla="*/ 0 w 10"/>
                <a:gd name="T33" fmla="*/ 41 h 44"/>
                <a:gd name="T34" fmla="*/ 1 w 10"/>
                <a:gd name="T35" fmla="*/ 38 h 44"/>
                <a:gd name="T36" fmla="*/ 1 w 10"/>
                <a:gd name="T37" fmla="*/ 33 h 44"/>
                <a:gd name="T38" fmla="*/ 0 w 10"/>
                <a:gd name="T39" fmla="*/ 30 h 44"/>
                <a:gd name="T40" fmla="*/ 2 w 10"/>
                <a:gd name="T41" fmla="*/ 26 h 44"/>
                <a:gd name="T42" fmla="*/ 1 w 10"/>
                <a:gd name="T43" fmla="*/ 21 h 44"/>
                <a:gd name="T44" fmla="*/ 2 w 10"/>
                <a:gd name="T45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44">
                  <a:moveTo>
                    <a:pt x="2" y="18"/>
                  </a:moveTo>
                  <a:cubicBezTo>
                    <a:pt x="2" y="17"/>
                    <a:pt x="2" y="14"/>
                    <a:pt x="1" y="14"/>
                  </a:cubicBezTo>
                  <a:cubicBezTo>
                    <a:pt x="0" y="13"/>
                    <a:pt x="1" y="8"/>
                    <a:pt x="1" y="7"/>
                  </a:cubicBezTo>
                  <a:cubicBezTo>
                    <a:pt x="1" y="7"/>
                    <a:pt x="2" y="5"/>
                    <a:pt x="2" y="5"/>
                  </a:cubicBezTo>
                  <a:cubicBezTo>
                    <a:pt x="3" y="4"/>
                    <a:pt x="2" y="0"/>
                    <a:pt x="4" y="0"/>
                  </a:cubicBezTo>
                  <a:cubicBezTo>
                    <a:pt x="5" y="0"/>
                    <a:pt x="5" y="4"/>
                    <a:pt x="5" y="5"/>
                  </a:cubicBezTo>
                  <a:cubicBezTo>
                    <a:pt x="6" y="7"/>
                    <a:pt x="6" y="10"/>
                    <a:pt x="6" y="12"/>
                  </a:cubicBezTo>
                  <a:cubicBezTo>
                    <a:pt x="5" y="14"/>
                    <a:pt x="6" y="15"/>
                    <a:pt x="6" y="16"/>
                  </a:cubicBezTo>
                  <a:cubicBezTo>
                    <a:pt x="7" y="17"/>
                    <a:pt x="9" y="24"/>
                    <a:pt x="9" y="25"/>
                  </a:cubicBezTo>
                  <a:cubicBezTo>
                    <a:pt x="10" y="27"/>
                    <a:pt x="10" y="29"/>
                    <a:pt x="9" y="28"/>
                  </a:cubicBezTo>
                  <a:cubicBezTo>
                    <a:pt x="8" y="27"/>
                    <a:pt x="7" y="28"/>
                    <a:pt x="6" y="28"/>
                  </a:cubicBezTo>
                  <a:cubicBezTo>
                    <a:pt x="4" y="29"/>
                    <a:pt x="4" y="35"/>
                    <a:pt x="5" y="36"/>
                  </a:cubicBezTo>
                  <a:cubicBezTo>
                    <a:pt x="6" y="37"/>
                    <a:pt x="7" y="38"/>
                    <a:pt x="7" y="39"/>
                  </a:cubicBezTo>
                  <a:cubicBezTo>
                    <a:pt x="7" y="40"/>
                    <a:pt x="7" y="43"/>
                    <a:pt x="6" y="43"/>
                  </a:cubicBezTo>
                  <a:cubicBezTo>
                    <a:pt x="6" y="43"/>
                    <a:pt x="5" y="41"/>
                    <a:pt x="4" y="41"/>
                  </a:cubicBezTo>
                  <a:cubicBezTo>
                    <a:pt x="3" y="40"/>
                    <a:pt x="2" y="43"/>
                    <a:pt x="2" y="43"/>
                  </a:cubicBezTo>
                  <a:cubicBezTo>
                    <a:pt x="1" y="44"/>
                    <a:pt x="0" y="42"/>
                    <a:pt x="0" y="41"/>
                  </a:cubicBezTo>
                  <a:cubicBezTo>
                    <a:pt x="0" y="41"/>
                    <a:pt x="0" y="39"/>
                    <a:pt x="1" y="38"/>
                  </a:cubicBezTo>
                  <a:cubicBezTo>
                    <a:pt x="1" y="36"/>
                    <a:pt x="1" y="34"/>
                    <a:pt x="1" y="33"/>
                  </a:cubicBezTo>
                  <a:cubicBezTo>
                    <a:pt x="1" y="32"/>
                    <a:pt x="1" y="31"/>
                    <a:pt x="0" y="30"/>
                  </a:cubicBezTo>
                  <a:cubicBezTo>
                    <a:pt x="0" y="29"/>
                    <a:pt x="1" y="28"/>
                    <a:pt x="2" y="26"/>
                  </a:cubicBezTo>
                  <a:cubicBezTo>
                    <a:pt x="2" y="24"/>
                    <a:pt x="1" y="22"/>
                    <a:pt x="1" y="21"/>
                  </a:cubicBezTo>
                  <a:cubicBezTo>
                    <a:pt x="1" y="20"/>
                    <a:pt x="2" y="19"/>
                    <a:pt x="2" y="1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6" name="Freeform 6368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7603603" y="1749078"/>
              <a:ext cx="96870" cy="43533"/>
            </a:xfrm>
            <a:custGeom>
              <a:avLst/>
              <a:gdLst>
                <a:gd name="T0" fmla="*/ 3 w 16"/>
                <a:gd name="T1" fmla="*/ 2 h 7"/>
                <a:gd name="T2" fmla="*/ 8 w 16"/>
                <a:gd name="T3" fmla="*/ 0 h 7"/>
                <a:gd name="T4" fmla="*/ 14 w 16"/>
                <a:gd name="T5" fmla="*/ 2 h 7"/>
                <a:gd name="T6" fmla="*/ 14 w 16"/>
                <a:gd name="T7" fmla="*/ 6 h 7"/>
                <a:gd name="T8" fmla="*/ 5 w 16"/>
                <a:gd name="T9" fmla="*/ 5 h 7"/>
                <a:gd name="T10" fmla="*/ 1 w 16"/>
                <a:gd name="T11" fmla="*/ 4 h 7"/>
                <a:gd name="T12" fmla="*/ 3 w 16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7">
                  <a:moveTo>
                    <a:pt x="3" y="2"/>
                  </a:moveTo>
                  <a:cubicBezTo>
                    <a:pt x="4" y="1"/>
                    <a:pt x="6" y="0"/>
                    <a:pt x="8" y="0"/>
                  </a:cubicBezTo>
                  <a:cubicBezTo>
                    <a:pt x="8" y="0"/>
                    <a:pt x="12" y="1"/>
                    <a:pt x="14" y="2"/>
                  </a:cubicBezTo>
                  <a:cubicBezTo>
                    <a:pt x="16" y="3"/>
                    <a:pt x="15" y="5"/>
                    <a:pt x="14" y="6"/>
                  </a:cubicBezTo>
                  <a:cubicBezTo>
                    <a:pt x="13" y="7"/>
                    <a:pt x="7" y="5"/>
                    <a:pt x="5" y="5"/>
                  </a:cubicBezTo>
                  <a:cubicBezTo>
                    <a:pt x="3" y="4"/>
                    <a:pt x="2" y="5"/>
                    <a:pt x="1" y="4"/>
                  </a:cubicBezTo>
                  <a:cubicBezTo>
                    <a:pt x="0" y="3"/>
                    <a:pt x="2" y="2"/>
                    <a:pt x="3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7" name="Freeform 6369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7537981" y="1631874"/>
              <a:ext cx="199990" cy="93763"/>
            </a:xfrm>
            <a:custGeom>
              <a:avLst/>
              <a:gdLst>
                <a:gd name="T0" fmla="*/ 2 w 33"/>
                <a:gd name="T1" fmla="*/ 10 h 15"/>
                <a:gd name="T2" fmla="*/ 3 w 33"/>
                <a:gd name="T3" fmla="*/ 4 h 15"/>
                <a:gd name="T4" fmla="*/ 9 w 33"/>
                <a:gd name="T5" fmla="*/ 1 h 15"/>
                <a:gd name="T6" fmla="*/ 15 w 33"/>
                <a:gd name="T7" fmla="*/ 6 h 15"/>
                <a:gd name="T8" fmla="*/ 17 w 33"/>
                <a:gd name="T9" fmla="*/ 2 h 15"/>
                <a:gd name="T10" fmla="*/ 23 w 33"/>
                <a:gd name="T11" fmla="*/ 5 h 15"/>
                <a:gd name="T12" fmla="*/ 32 w 33"/>
                <a:gd name="T13" fmla="*/ 6 h 15"/>
                <a:gd name="T14" fmla="*/ 31 w 33"/>
                <a:gd name="T15" fmla="*/ 10 h 15"/>
                <a:gd name="T16" fmla="*/ 22 w 33"/>
                <a:gd name="T17" fmla="*/ 12 h 15"/>
                <a:gd name="T18" fmla="*/ 12 w 33"/>
                <a:gd name="T19" fmla="*/ 12 h 15"/>
                <a:gd name="T20" fmla="*/ 8 w 33"/>
                <a:gd name="T21" fmla="*/ 14 h 15"/>
                <a:gd name="T22" fmla="*/ 2 w 33"/>
                <a:gd name="T23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15">
                  <a:moveTo>
                    <a:pt x="2" y="10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4" y="3"/>
                    <a:pt x="7" y="0"/>
                    <a:pt x="9" y="1"/>
                  </a:cubicBezTo>
                  <a:cubicBezTo>
                    <a:pt x="10" y="2"/>
                    <a:pt x="13" y="6"/>
                    <a:pt x="15" y="6"/>
                  </a:cubicBezTo>
                  <a:cubicBezTo>
                    <a:pt x="17" y="6"/>
                    <a:pt x="15" y="3"/>
                    <a:pt x="17" y="2"/>
                  </a:cubicBezTo>
                  <a:cubicBezTo>
                    <a:pt x="19" y="1"/>
                    <a:pt x="21" y="5"/>
                    <a:pt x="23" y="5"/>
                  </a:cubicBezTo>
                  <a:cubicBezTo>
                    <a:pt x="25" y="5"/>
                    <a:pt x="32" y="6"/>
                    <a:pt x="32" y="6"/>
                  </a:cubicBezTo>
                  <a:cubicBezTo>
                    <a:pt x="32" y="7"/>
                    <a:pt x="33" y="9"/>
                    <a:pt x="31" y="10"/>
                  </a:cubicBezTo>
                  <a:cubicBezTo>
                    <a:pt x="30" y="11"/>
                    <a:pt x="25" y="13"/>
                    <a:pt x="22" y="12"/>
                  </a:cubicBezTo>
                  <a:cubicBezTo>
                    <a:pt x="19" y="11"/>
                    <a:pt x="13" y="12"/>
                    <a:pt x="12" y="12"/>
                  </a:cubicBezTo>
                  <a:cubicBezTo>
                    <a:pt x="10" y="12"/>
                    <a:pt x="11" y="15"/>
                    <a:pt x="8" y="14"/>
                  </a:cubicBezTo>
                  <a:cubicBezTo>
                    <a:pt x="6" y="14"/>
                    <a:pt x="2" y="10"/>
                    <a:pt x="2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8" name="Freeform 6370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6663023" y="1467789"/>
              <a:ext cx="137493" cy="87066"/>
            </a:xfrm>
            <a:custGeom>
              <a:avLst/>
              <a:gdLst>
                <a:gd name="T0" fmla="*/ 8 w 23"/>
                <a:gd name="T1" fmla="*/ 10 h 13"/>
                <a:gd name="T2" fmla="*/ 1 w 23"/>
                <a:gd name="T3" fmla="*/ 12 h 13"/>
                <a:gd name="T4" fmla="*/ 4 w 23"/>
                <a:gd name="T5" fmla="*/ 7 h 13"/>
                <a:gd name="T6" fmla="*/ 9 w 23"/>
                <a:gd name="T7" fmla="*/ 1 h 13"/>
                <a:gd name="T8" fmla="*/ 11 w 23"/>
                <a:gd name="T9" fmla="*/ 1 h 13"/>
                <a:gd name="T10" fmla="*/ 13 w 23"/>
                <a:gd name="T11" fmla="*/ 0 h 13"/>
                <a:gd name="T12" fmla="*/ 13 w 23"/>
                <a:gd name="T13" fmla="*/ 5 h 13"/>
                <a:gd name="T14" fmla="*/ 17 w 23"/>
                <a:gd name="T15" fmla="*/ 2 h 13"/>
                <a:gd name="T16" fmla="*/ 22 w 23"/>
                <a:gd name="T17" fmla="*/ 5 h 13"/>
                <a:gd name="T18" fmla="*/ 23 w 23"/>
                <a:gd name="T19" fmla="*/ 8 h 13"/>
                <a:gd name="T20" fmla="*/ 21 w 23"/>
                <a:gd name="T21" fmla="*/ 10 h 13"/>
                <a:gd name="T22" fmla="*/ 17 w 23"/>
                <a:gd name="T23" fmla="*/ 10 h 13"/>
                <a:gd name="T24" fmla="*/ 8 w 23"/>
                <a:gd name="T25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13">
                  <a:moveTo>
                    <a:pt x="8" y="10"/>
                  </a:moveTo>
                  <a:cubicBezTo>
                    <a:pt x="6" y="10"/>
                    <a:pt x="1" y="13"/>
                    <a:pt x="1" y="12"/>
                  </a:cubicBezTo>
                  <a:cubicBezTo>
                    <a:pt x="0" y="10"/>
                    <a:pt x="3" y="9"/>
                    <a:pt x="4" y="7"/>
                  </a:cubicBezTo>
                  <a:cubicBezTo>
                    <a:pt x="5" y="6"/>
                    <a:pt x="7" y="1"/>
                    <a:pt x="9" y="1"/>
                  </a:cubicBezTo>
                  <a:cubicBezTo>
                    <a:pt x="10" y="0"/>
                    <a:pt x="9" y="1"/>
                    <a:pt x="11" y="1"/>
                  </a:cubicBezTo>
                  <a:cubicBezTo>
                    <a:pt x="12" y="1"/>
                    <a:pt x="12" y="0"/>
                    <a:pt x="13" y="0"/>
                  </a:cubicBezTo>
                  <a:cubicBezTo>
                    <a:pt x="13" y="0"/>
                    <a:pt x="11" y="5"/>
                    <a:pt x="13" y="5"/>
                  </a:cubicBezTo>
                  <a:cubicBezTo>
                    <a:pt x="14" y="5"/>
                    <a:pt x="16" y="2"/>
                    <a:pt x="17" y="2"/>
                  </a:cubicBezTo>
                  <a:cubicBezTo>
                    <a:pt x="18" y="2"/>
                    <a:pt x="21" y="5"/>
                    <a:pt x="22" y="5"/>
                  </a:cubicBezTo>
                  <a:cubicBezTo>
                    <a:pt x="22" y="5"/>
                    <a:pt x="23" y="7"/>
                    <a:pt x="23" y="8"/>
                  </a:cubicBezTo>
                  <a:cubicBezTo>
                    <a:pt x="23" y="8"/>
                    <a:pt x="22" y="10"/>
                    <a:pt x="21" y="10"/>
                  </a:cubicBezTo>
                  <a:cubicBezTo>
                    <a:pt x="20" y="10"/>
                    <a:pt x="18" y="10"/>
                    <a:pt x="17" y="10"/>
                  </a:cubicBezTo>
                  <a:cubicBezTo>
                    <a:pt x="15" y="10"/>
                    <a:pt x="9" y="10"/>
                    <a:pt x="8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19" name="Freeform 6371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6528655" y="1430953"/>
              <a:ext cx="153118" cy="70322"/>
            </a:xfrm>
            <a:custGeom>
              <a:avLst/>
              <a:gdLst>
                <a:gd name="T0" fmla="*/ 0 w 25"/>
                <a:gd name="T1" fmla="*/ 4 h 11"/>
                <a:gd name="T2" fmla="*/ 5 w 25"/>
                <a:gd name="T3" fmla="*/ 2 h 11"/>
                <a:gd name="T4" fmla="*/ 12 w 25"/>
                <a:gd name="T5" fmla="*/ 0 h 11"/>
                <a:gd name="T6" fmla="*/ 16 w 25"/>
                <a:gd name="T7" fmla="*/ 0 h 11"/>
                <a:gd name="T8" fmla="*/ 14 w 25"/>
                <a:gd name="T9" fmla="*/ 3 h 11"/>
                <a:gd name="T10" fmla="*/ 18 w 25"/>
                <a:gd name="T11" fmla="*/ 3 h 11"/>
                <a:gd name="T12" fmla="*/ 20 w 25"/>
                <a:gd name="T13" fmla="*/ 1 h 11"/>
                <a:gd name="T14" fmla="*/ 25 w 25"/>
                <a:gd name="T15" fmla="*/ 2 h 11"/>
                <a:gd name="T16" fmla="*/ 23 w 25"/>
                <a:gd name="T17" fmla="*/ 7 h 11"/>
                <a:gd name="T18" fmla="*/ 24 w 25"/>
                <a:gd name="T19" fmla="*/ 9 h 11"/>
                <a:gd name="T20" fmla="*/ 23 w 25"/>
                <a:gd name="T21" fmla="*/ 10 h 11"/>
                <a:gd name="T22" fmla="*/ 15 w 25"/>
                <a:gd name="T23" fmla="*/ 10 h 11"/>
                <a:gd name="T24" fmla="*/ 12 w 25"/>
                <a:gd name="T25" fmla="*/ 9 h 11"/>
                <a:gd name="T26" fmla="*/ 4 w 25"/>
                <a:gd name="T27" fmla="*/ 9 h 11"/>
                <a:gd name="T28" fmla="*/ 3 w 25"/>
                <a:gd name="T29" fmla="*/ 6 h 11"/>
                <a:gd name="T30" fmla="*/ 0 w 25"/>
                <a:gd name="T3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1">
                  <a:moveTo>
                    <a:pt x="0" y="4"/>
                  </a:moveTo>
                  <a:cubicBezTo>
                    <a:pt x="1" y="3"/>
                    <a:pt x="3" y="2"/>
                    <a:pt x="5" y="2"/>
                  </a:cubicBezTo>
                  <a:cubicBezTo>
                    <a:pt x="6" y="1"/>
                    <a:pt x="10" y="0"/>
                    <a:pt x="12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6" y="1"/>
                    <a:pt x="14" y="2"/>
                    <a:pt x="14" y="3"/>
                  </a:cubicBezTo>
                  <a:cubicBezTo>
                    <a:pt x="15" y="3"/>
                    <a:pt x="17" y="3"/>
                    <a:pt x="18" y="3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1" y="1"/>
                    <a:pt x="25" y="1"/>
                    <a:pt x="25" y="2"/>
                  </a:cubicBezTo>
                  <a:cubicBezTo>
                    <a:pt x="25" y="3"/>
                    <a:pt x="23" y="6"/>
                    <a:pt x="23" y="7"/>
                  </a:cubicBezTo>
                  <a:cubicBezTo>
                    <a:pt x="24" y="7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2" y="10"/>
                    <a:pt x="17" y="11"/>
                    <a:pt x="15" y="10"/>
                  </a:cubicBezTo>
                  <a:cubicBezTo>
                    <a:pt x="14" y="10"/>
                    <a:pt x="13" y="9"/>
                    <a:pt x="12" y="9"/>
                  </a:cubicBezTo>
                  <a:cubicBezTo>
                    <a:pt x="11" y="9"/>
                    <a:pt x="6" y="9"/>
                    <a:pt x="4" y="9"/>
                  </a:cubicBezTo>
                  <a:cubicBezTo>
                    <a:pt x="3" y="8"/>
                    <a:pt x="3" y="6"/>
                    <a:pt x="3" y="6"/>
                  </a:cubicBezTo>
                  <a:cubicBezTo>
                    <a:pt x="3" y="5"/>
                    <a:pt x="0" y="5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0" name="Freeform 6372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6475532" y="1360632"/>
              <a:ext cx="156243" cy="93763"/>
            </a:xfrm>
            <a:custGeom>
              <a:avLst/>
              <a:gdLst>
                <a:gd name="T0" fmla="*/ 1 w 26"/>
                <a:gd name="T1" fmla="*/ 14 h 15"/>
                <a:gd name="T2" fmla="*/ 0 w 26"/>
                <a:gd name="T3" fmla="*/ 12 h 15"/>
                <a:gd name="T4" fmla="*/ 2 w 26"/>
                <a:gd name="T5" fmla="*/ 11 h 15"/>
                <a:gd name="T6" fmla="*/ 6 w 26"/>
                <a:gd name="T7" fmla="*/ 11 h 15"/>
                <a:gd name="T8" fmla="*/ 4 w 26"/>
                <a:gd name="T9" fmla="*/ 8 h 15"/>
                <a:gd name="T10" fmla="*/ 7 w 26"/>
                <a:gd name="T11" fmla="*/ 6 h 15"/>
                <a:gd name="T12" fmla="*/ 7 w 26"/>
                <a:gd name="T13" fmla="*/ 4 h 15"/>
                <a:gd name="T14" fmla="*/ 12 w 26"/>
                <a:gd name="T15" fmla="*/ 3 h 15"/>
                <a:gd name="T16" fmla="*/ 16 w 26"/>
                <a:gd name="T17" fmla="*/ 0 h 15"/>
                <a:gd name="T18" fmla="*/ 18 w 26"/>
                <a:gd name="T19" fmla="*/ 0 h 15"/>
                <a:gd name="T20" fmla="*/ 21 w 26"/>
                <a:gd name="T21" fmla="*/ 4 h 15"/>
                <a:gd name="T22" fmla="*/ 26 w 26"/>
                <a:gd name="T23" fmla="*/ 5 h 15"/>
                <a:gd name="T24" fmla="*/ 26 w 26"/>
                <a:gd name="T25" fmla="*/ 6 h 15"/>
                <a:gd name="T26" fmla="*/ 23 w 26"/>
                <a:gd name="T27" fmla="*/ 7 h 15"/>
                <a:gd name="T28" fmla="*/ 23 w 26"/>
                <a:gd name="T29" fmla="*/ 8 h 15"/>
                <a:gd name="T30" fmla="*/ 19 w 26"/>
                <a:gd name="T31" fmla="*/ 9 h 15"/>
                <a:gd name="T32" fmla="*/ 12 w 26"/>
                <a:gd name="T33" fmla="*/ 11 h 15"/>
                <a:gd name="T34" fmla="*/ 9 w 26"/>
                <a:gd name="T35" fmla="*/ 12 h 15"/>
                <a:gd name="T36" fmla="*/ 6 w 26"/>
                <a:gd name="T37" fmla="*/ 15 h 15"/>
                <a:gd name="T38" fmla="*/ 1 w 26"/>
                <a:gd name="T3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15">
                  <a:moveTo>
                    <a:pt x="1" y="14"/>
                  </a:move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1"/>
                  </a:cubicBezTo>
                  <a:cubicBezTo>
                    <a:pt x="3" y="11"/>
                    <a:pt x="5" y="11"/>
                    <a:pt x="6" y="11"/>
                  </a:cubicBezTo>
                  <a:cubicBezTo>
                    <a:pt x="6" y="11"/>
                    <a:pt x="4" y="9"/>
                    <a:pt x="4" y="8"/>
                  </a:cubicBezTo>
                  <a:cubicBezTo>
                    <a:pt x="3" y="7"/>
                    <a:pt x="6" y="7"/>
                    <a:pt x="7" y="6"/>
                  </a:cubicBezTo>
                  <a:cubicBezTo>
                    <a:pt x="7" y="5"/>
                    <a:pt x="6" y="4"/>
                    <a:pt x="7" y="4"/>
                  </a:cubicBezTo>
                  <a:cubicBezTo>
                    <a:pt x="8" y="4"/>
                    <a:pt x="12" y="3"/>
                    <a:pt x="12" y="3"/>
                  </a:cubicBezTo>
                  <a:cubicBezTo>
                    <a:pt x="14" y="2"/>
                    <a:pt x="15" y="0"/>
                    <a:pt x="16" y="0"/>
                  </a:cubicBezTo>
                  <a:cubicBezTo>
                    <a:pt x="16" y="0"/>
                    <a:pt x="18" y="0"/>
                    <a:pt x="18" y="0"/>
                  </a:cubicBezTo>
                  <a:cubicBezTo>
                    <a:pt x="18" y="0"/>
                    <a:pt x="21" y="3"/>
                    <a:pt x="21" y="4"/>
                  </a:cubicBezTo>
                  <a:cubicBezTo>
                    <a:pt x="22" y="4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3" y="7"/>
                    <a:pt x="23" y="7"/>
                  </a:cubicBezTo>
                  <a:cubicBezTo>
                    <a:pt x="23" y="8"/>
                    <a:pt x="23" y="7"/>
                    <a:pt x="23" y="8"/>
                  </a:cubicBezTo>
                  <a:cubicBezTo>
                    <a:pt x="23" y="8"/>
                    <a:pt x="21" y="9"/>
                    <a:pt x="19" y="9"/>
                  </a:cubicBezTo>
                  <a:cubicBezTo>
                    <a:pt x="17" y="9"/>
                    <a:pt x="14" y="10"/>
                    <a:pt x="12" y="11"/>
                  </a:cubicBezTo>
                  <a:cubicBezTo>
                    <a:pt x="10" y="11"/>
                    <a:pt x="9" y="11"/>
                    <a:pt x="9" y="12"/>
                  </a:cubicBezTo>
                  <a:cubicBezTo>
                    <a:pt x="8" y="13"/>
                    <a:pt x="7" y="15"/>
                    <a:pt x="6" y="15"/>
                  </a:cubicBezTo>
                  <a:cubicBezTo>
                    <a:pt x="5" y="15"/>
                    <a:pt x="2" y="15"/>
                    <a:pt x="1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1" name="Freeform 6373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5531827" y="1591690"/>
              <a:ext cx="424980" cy="324821"/>
            </a:xfrm>
            <a:custGeom>
              <a:avLst/>
              <a:gdLst>
                <a:gd name="T0" fmla="*/ 9 w 70"/>
                <a:gd name="T1" fmla="*/ 45 h 50"/>
                <a:gd name="T2" fmla="*/ 3 w 70"/>
                <a:gd name="T3" fmla="*/ 43 h 50"/>
                <a:gd name="T4" fmla="*/ 2 w 70"/>
                <a:gd name="T5" fmla="*/ 39 h 50"/>
                <a:gd name="T6" fmla="*/ 6 w 70"/>
                <a:gd name="T7" fmla="*/ 37 h 50"/>
                <a:gd name="T8" fmla="*/ 9 w 70"/>
                <a:gd name="T9" fmla="*/ 31 h 50"/>
                <a:gd name="T10" fmla="*/ 13 w 70"/>
                <a:gd name="T11" fmla="*/ 29 h 50"/>
                <a:gd name="T12" fmla="*/ 12 w 70"/>
                <a:gd name="T13" fmla="*/ 26 h 50"/>
                <a:gd name="T14" fmla="*/ 18 w 70"/>
                <a:gd name="T15" fmla="*/ 21 h 50"/>
                <a:gd name="T16" fmla="*/ 21 w 70"/>
                <a:gd name="T17" fmla="*/ 19 h 50"/>
                <a:gd name="T18" fmla="*/ 22 w 70"/>
                <a:gd name="T19" fmla="*/ 14 h 50"/>
                <a:gd name="T20" fmla="*/ 28 w 70"/>
                <a:gd name="T21" fmla="*/ 12 h 50"/>
                <a:gd name="T22" fmla="*/ 37 w 70"/>
                <a:gd name="T23" fmla="*/ 8 h 50"/>
                <a:gd name="T24" fmla="*/ 41 w 70"/>
                <a:gd name="T25" fmla="*/ 6 h 50"/>
                <a:gd name="T26" fmla="*/ 46 w 70"/>
                <a:gd name="T27" fmla="*/ 7 h 50"/>
                <a:gd name="T28" fmla="*/ 56 w 70"/>
                <a:gd name="T29" fmla="*/ 4 h 50"/>
                <a:gd name="T30" fmla="*/ 65 w 70"/>
                <a:gd name="T31" fmla="*/ 0 h 50"/>
                <a:gd name="T32" fmla="*/ 70 w 70"/>
                <a:gd name="T33" fmla="*/ 3 h 50"/>
                <a:gd name="T34" fmla="*/ 66 w 70"/>
                <a:gd name="T35" fmla="*/ 7 h 50"/>
                <a:gd name="T36" fmla="*/ 39 w 70"/>
                <a:gd name="T37" fmla="*/ 15 h 50"/>
                <a:gd name="T38" fmla="*/ 31 w 70"/>
                <a:gd name="T39" fmla="*/ 21 h 50"/>
                <a:gd name="T40" fmla="*/ 23 w 70"/>
                <a:gd name="T41" fmla="*/ 28 h 50"/>
                <a:gd name="T42" fmla="*/ 17 w 70"/>
                <a:gd name="T43" fmla="*/ 36 h 50"/>
                <a:gd name="T44" fmla="*/ 18 w 70"/>
                <a:gd name="T45" fmla="*/ 42 h 50"/>
                <a:gd name="T46" fmla="*/ 26 w 70"/>
                <a:gd name="T47" fmla="*/ 48 h 50"/>
                <a:gd name="T48" fmla="*/ 19 w 70"/>
                <a:gd name="T49" fmla="*/ 49 h 50"/>
                <a:gd name="T50" fmla="*/ 12 w 70"/>
                <a:gd name="T51" fmla="*/ 48 h 50"/>
                <a:gd name="T52" fmla="*/ 9 w 70"/>
                <a:gd name="T53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" h="50">
                  <a:moveTo>
                    <a:pt x="9" y="45"/>
                  </a:moveTo>
                  <a:cubicBezTo>
                    <a:pt x="8" y="43"/>
                    <a:pt x="4" y="44"/>
                    <a:pt x="3" y="43"/>
                  </a:cubicBezTo>
                  <a:cubicBezTo>
                    <a:pt x="2" y="42"/>
                    <a:pt x="0" y="40"/>
                    <a:pt x="2" y="39"/>
                  </a:cubicBezTo>
                  <a:cubicBezTo>
                    <a:pt x="4" y="38"/>
                    <a:pt x="6" y="37"/>
                    <a:pt x="6" y="37"/>
                  </a:cubicBezTo>
                  <a:cubicBezTo>
                    <a:pt x="6" y="37"/>
                    <a:pt x="8" y="32"/>
                    <a:pt x="9" y="31"/>
                  </a:cubicBezTo>
                  <a:cubicBezTo>
                    <a:pt x="10" y="30"/>
                    <a:pt x="13" y="30"/>
                    <a:pt x="13" y="29"/>
                  </a:cubicBezTo>
                  <a:cubicBezTo>
                    <a:pt x="14" y="28"/>
                    <a:pt x="12" y="27"/>
                    <a:pt x="12" y="26"/>
                  </a:cubicBezTo>
                  <a:cubicBezTo>
                    <a:pt x="12" y="25"/>
                    <a:pt x="17" y="21"/>
                    <a:pt x="18" y="21"/>
                  </a:cubicBezTo>
                  <a:cubicBezTo>
                    <a:pt x="18" y="20"/>
                    <a:pt x="21" y="20"/>
                    <a:pt x="21" y="19"/>
                  </a:cubicBezTo>
                  <a:cubicBezTo>
                    <a:pt x="22" y="18"/>
                    <a:pt x="21" y="15"/>
                    <a:pt x="22" y="14"/>
                  </a:cubicBezTo>
                  <a:cubicBezTo>
                    <a:pt x="23" y="14"/>
                    <a:pt x="27" y="12"/>
                    <a:pt x="28" y="12"/>
                  </a:cubicBezTo>
                  <a:cubicBezTo>
                    <a:pt x="29" y="11"/>
                    <a:pt x="37" y="8"/>
                    <a:pt x="37" y="8"/>
                  </a:cubicBezTo>
                  <a:cubicBezTo>
                    <a:pt x="37" y="8"/>
                    <a:pt x="41" y="6"/>
                    <a:pt x="41" y="6"/>
                  </a:cubicBezTo>
                  <a:cubicBezTo>
                    <a:pt x="42" y="6"/>
                    <a:pt x="44" y="7"/>
                    <a:pt x="46" y="7"/>
                  </a:cubicBezTo>
                  <a:cubicBezTo>
                    <a:pt x="48" y="7"/>
                    <a:pt x="55" y="6"/>
                    <a:pt x="56" y="4"/>
                  </a:cubicBezTo>
                  <a:cubicBezTo>
                    <a:pt x="58" y="4"/>
                    <a:pt x="61" y="0"/>
                    <a:pt x="65" y="0"/>
                  </a:cubicBezTo>
                  <a:cubicBezTo>
                    <a:pt x="68" y="0"/>
                    <a:pt x="70" y="1"/>
                    <a:pt x="70" y="3"/>
                  </a:cubicBezTo>
                  <a:cubicBezTo>
                    <a:pt x="69" y="4"/>
                    <a:pt x="68" y="7"/>
                    <a:pt x="66" y="7"/>
                  </a:cubicBezTo>
                  <a:cubicBezTo>
                    <a:pt x="65" y="7"/>
                    <a:pt x="42" y="14"/>
                    <a:pt x="39" y="15"/>
                  </a:cubicBezTo>
                  <a:cubicBezTo>
                    <a:pt x="36" y="17"/>
                    <a:pt x="32" y="21"/>
                    <a:pt x="31" y="21"/>
                  </a:cubicBezTo>
                  <a:cubicBezTo>
                    <a:pt x="29" y="22"/>
                    <a:pt x="25" y="26"/>
                    <a:pt x="23" y="28"/>
                  </a:cubicBezTo>
                  <a:cubicBezTo>
                    <a:pt x="21" y="30"/>
                    <a:pt x="17" y="33"/>
                    <a:pt x="17" y="36"/>
                  </a:cubicBezTo>
                  <a:cubicBezTo>
                    <a:pt x="17" y="39"/>
                    <a:pt x="17" y="41"/>
                    <a:pt x="18" y="42"/>
                  </a:cubicBezTo>
                  <a:cubicBezTo>
                    <a:pt x="20" y="44"/>
                    <a:pt x="27" y="47"/>
                    <a:pt x="26" y="48"/>
                  </a:cubicBezTo>
                  <a:cubicBezTo>
                    <a:pt x="25" y="49"/>
                    <a:pt x="21" y="50"/>
                    <a:pt x="19" y="49"/>
                  </a:cubicBezTo>
                  <a:cubicBezTo>
                    <a:pt x="16" y="48"/>
                    <a:pt x="12" y="48"/>
                    <a:pt x="12" y="48"/>
                  </a:cubicBezTo>
                  <a:cubicBezTo>
                    <a:pt x="10" y="47"/>
                    <a:pt x="10" y="46"/>
                    <a:pt x="9" y="4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2" name="Freeform 637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5459956" y="1963394"/>
              <a:ext cx="53122" cy="36835"/>
            </a:xfrm>
            <a:custGeom>
              <a:avLst/>
              <a:gdLst>
                <a:gd name="T0" fmla="*/ 4 w 9"/>
                <a:gd name="T1" fmla="*/ 6 h 6"/>
                <a:gd name="T2" fmla="*/ 0 w 9"/>
                <a:gd name="T3" fmla="*/ 5 h 6"/>
                <a:gd name="T4" fmla="*/ 3 w 9"/>
                <a:gd name="T5" fmla="*/ 0 h 6"/>
                <a:gd name="T6" fmla="*/ 7 w 9"/>
                <a:gd name="T7" fmla="*/ 1 h 6"/>
                <a:gd name="T8" fmla="*/ 9 w 9"/>
                <a:gd name="T9" fmla="*/ 3 h 6"/>
                <a:gd name="T10" fmla="*/ 4 w 9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cubicBezTo>
                    <a:pt x="3" y="6"/>
                    <a:pt x="1" y="5"/>
                    <a:pt x="0" y="5"/>
                  </a:cubicBezTo>
                  <a:cubicBezTo>
                    <a:pt x="0" y="4"/>
                    <a:pt x="2" y="1"/>
                    <a:pt x="3" y="0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9" y="3"/>
                    <a:pt x="9" y="3"/>
                  </a:cubicBezTo>
                  <a:cubicBezTo>
                    <a:pt x="8" y="4"/>
                    <a:pt x="6" y="6"/>
                    <a:pt x="4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3" name="Freeform 6375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4975604" y="1558203"/>
              <a:ext cx="3821692" cy="1413142"/>
            </a:xfrm>
            <a:custGeom>
              <a:avLst/>
              <a:gdLst>
                <a:gd name="T0" fmla="*/ 11 w 632"/>
                <a:gd name="T1" fmla="*/ 121 h 218"/>
                <a:gd name="T2" fmla="*/ 9 w 632"/>
                <a:gd name="T3" fmla="*/ 93 h 218"/>
                <a:gd name="T4" fmla="*/ 10 w 632"/>
                <a:gd name="T5" fmla="*/ 63 h 218"/>
                <a:gd name="T6" fmla="*/ 50 w 632"/>
                <a:gd name="T7" fmla="*/ 73 h 218"/>
                <a:gd name="T8" fmla="*/ 17 w 632"/>
                <a:gd name="T9" fmla="*/ 78 h 218"/>
                <a:gd name="T10" fmla="*/ 41 w 632"/>
                <a:gd name="T11" fmla="*/ 99 h 218"/>
                <a:gd name="T12" fmla="*/ 48 w 632"/>
                <a:gd name="T13" fmla="*/ 88 h 218"/>
                <a:gd name="T14" fmla="*/ 66 w 632"/>
                <a:gd name="T15" fmla="*/ 74 h 218"/>
                <a:gd name="T16" fmla="*/ 74 w 632"/>
                <a:gd name="T17" fmla="*/ 80 h 218"/>
                <a:gd name="T18" fmla="*/ 111 w 632"/>
                <a:gd name="T19" fmla="*/ 68 h 218"/>
                <a:gd name="T20" fmla="*/ 122 w 632"/>
                <a:gd name="T21" fmla="*/ 56 h 218"/>
                <a:gd name="T22" fmla="*/ 156 w 632"/>
                <a:gd name="T23" fmla="*/ 62 h 218"/>
                <a:gd name="T24" fmla="*/ 176 w 632"/>
                <a:gd name="T25" fmla="*/ 40 h 218"/>
                <a:gd name="T26" fmla="*/ 176 w 632"/>
                <a:gd name="T27" fmla="*/ 72 h 218"/>
                <a:gd name="T28" fmla="*/ 180 w 632"/>
                <a:gd name="T29" fmla="*/ 76 h 218"/>
                <a:gd name="T30" fmla="*/ 198 w 632"/>
                <a:gd name="T31" fmla="*/ 75 h 218"/>
                <a:gd name="T32" fmla="*/ 180 w 632"/>
                <a:gd name="T33" fmla="*/ 58 h 218"/>
                <a:gd name="T34" fmla="*/ 186 w 632"/>
                <a:gd name="T35" fmla="*/ 46 h 218"/>
                <a:gd name="T36" fmla="*/ 191 w 632"/>
                <a:gd name="T37" fmla="*/ 45 h 218"/>
                <a:gd name="T38" fmla="*/ 210 w 632"/>
                <a:gd name="T39" fmla="*/ 46 h 218"/>
                <a:gd name="T40" fmla="*/ 218 w 632"/>
                <a:gd name="T41" fmla="*/ 55 h 218"/>
                <a:gd name="T42" fmla="*/ 231 w 632"/>
                <a:gd name="T43" fmla="*/ 30 h 218"/>
                <a:gd name="T44" fmla="*/ 262 w 632"/>
                <a:gd name="T45" fmla="*/ 13 h 218"/>
                <a:gd name="T46" fmla="*/ 298 w 632"/>
                <a:gd name="T47" fmla="*/ 0 h 218"/>
                <a:gd name="T48" fmla="*/ 322 w 632"/>
                <a:gd name="T49" fmla="*/ 8 h 218"/>
                <a:gd name="T50" fmla="*/ 308 w 632"/>
                <a:gd name="T51" fmla="*/ 32 h 218"/>
                <a:gd name="T52" fmla="*/ 331 w 632"/>
                <a:gd name="T53" fmla="*/ 31 h 218"/>
                <a:gd name="T54" fmla="*/ 372 w 632"/>
                <a:gd name="T55" fmla="*/ 33 h 218"/>
                <a:gd name="T56" fmla="*/ 393 w 632"/>
                <a:gd name="T57" fmla="*/ 45 h 218"/>
                <a:gd name="T58" fmla="*/ 419 w 632"/>
                <a:gd name="T59" fmla="*/ 47 h 218"/>
                <a:gd name="T60" fmla="*/ 433 w 632"/>
                <a:gd name="T61" fmla="*/ 42 h 218"/>
                <a:gd name="T62" fmla="*/ 472 w 632"/>
                <a:gd name="T63" fmla="*/ 42 h 218"/>
                <a:gd name="T64" fmla="*/ 513 w 632"/>
                <a:gd name="T65" fmla="*/ 60 h 218"/>
                <a:gd name="T66" fmla="*/ 551 w 632"/>
                <a:gd name="T67" fmla="*/ 65 h 218"/>
                <a:gd name="T68" fmla="*/ 596 w 632"/>
                <a:gd name="T69" fmla="*/ 67 h 218"/>
                <a:gd name="T70" fmla="*/ 626 w 632"/>
                <a:gd name="T71" fmla="*/ 88 h 218"/>
                <a:gd name="T72" fmla="*/ 600 w 632"/>
                <a:gd name="T73" fmla="*/ 89 h 218"/>
                <a:gd name="T74" fmla="*/ 577 w 632"/>
                <a:gd name="T75" fmla="*/ 95 h 218"/>
                <a:gd name="T76" fmla="*/ 562 w 632"/>
                <a:gd name="T77" fmla="*/ 115 h 218"/>
                <a:gd name="T78" fmla="*/ 526 w 632"/>
                <a:gd name="T79" fmla="*/ 126 h 218"/>
                <a:gd name="T80" fmla="*/ 523 w 632"/>
                <a:gd name="T81" fmla="*/ 144 h 218"/>
                <a:gd name="T82" fmla="*/ 507 w 632"/>
                <a:gd name="T83" fmla="*/ 166 h 218"/>
                <a:gd name="T84" fmla="*/ 522 w 632"/>
                <a:gd name="T85" fmla="*/ 120 h 218"/>
                <a:gd name="T86" fmla="*/ 516 w 632"/>
                <a:gd name="T87" fmla="*/ 117 h 218"/>
                <a:gd name="T88" fmla="*/ 491 w 632"/>
                <a:gd name="T89" fmla="*/ 128 h 218"/>
                <a:gd name="T90" fmla="*/ 439 w 632"/>
                <a:gd name="T91" fmla="*/ 134 h 218"/>
                <a:gd name="T92" fmla="*/ 431 w 632"/>
                <a:gd name="T93" fmla="*/ 153 h 218"/>
                <a:gd name="T94" fmla="*/ 415 w 632"/>
                <a:gd name="T95" fmla="*/ 208 h 218"/>
                <a:gd name="T96" fmla="*/ 410 w 632"/>
                <a:gd name="T97" fmla="*/ 200 h 218"/>
                <a:gd name="T98" fmla="*/ 382 w 632"/>
                <a:gd name="T99" fmla="*/ 161 h 218"/>
                <a:gd name="T100" fmla="*/ 342 w 632"/>
                <a:gd name="T101" fmla="*/ 175 h 218"/>
                <a:gd name="T102" fmla="*/ 277 w 632"/>
                <a:gd name="T103" fmla="*/ 164 h 218"/>
                <a:gd name="T104" fmla="*/ 235 w 632"/>
                <a:gd name="T105" fmla="*/ 180 h 218"/>
                <a:gd name="T106" fmla="*/ 193 w 632"/>
                <a:gd name="T107" fmla="*/ 157 h 218"/>
                <a:gd name="T108" fmla="*/ 150 w 632"/>
                <a:gd name="T109" fmla="*/ 152 h 218"/>
                <a:gd name="T110" fmla="*/ 124 w 632"/>
                <a:gd name="T111" fmla="*/ 172 h 218"/>
                <a:gd name="T112" fmla="*/ 81 w 632"/>
                <a:gd name="T113" fmla="*/ 177 h 218"/>
                <a:gd name="T114" fmla="*/ 80 w 632"/>
                <a:gd name="T115" fmla="*/ 197 h 218"/>
                <a:gd name="T116" fmla="*/ 75 w 632"/>
                <a:gd name="T117" fmla="*/ 216 h 218"/>
                <a:gd name="T118" fmla="*/ 43 w 632"/>
                <a:gd name="T119" fmla="*/ 204 h 218"/>
                <a:gd name="T120" fmla="*/ 42 w 632"/>
                <a:gd name="T121" fmla="*/ 189 h 218"/>
                <a:gd name="T122" fmla="*/ 25 w 632"/>
                <a:gd name="T123" fmla="*/ 16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2" h="218">
                  <a:moveTo>
                    <a:pt x="8" y="145"/>
                  </a:moveTo>
                  <a:cubicBezTo>
                    <a:pt x="6" y="144"/>
                    <a:pt x="4" y="144"/>
                    <a:pt x="3" y="144"/>
                  </a:cubicBezTo>
                  <a:cubicBezTo>
                    <a:pt x="2" y="144"/>
                    <a:pt x="2" y="141"/>
                    <a:pt x="2" y="140"/>
                  </a:cubicBezTo>
                  <a:cubicBezTo>
                    <a:pt x="2" y="139"/>
                    <a:pt x="1" y="135"/>
                    <a:pt x="1" y="135"/>
                  </a:cubicBezTo>
                  <a:cubicBezTo>
                    <a:pt x="0" y="135"/>
                    <a:pt x="0" y="132"/>
                    <a:pt x="0" y="130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3" y="125"/>
                    <a:pt x="3" y="123"/>
                    <a:pt x="3" y="122"/>
                  </a:cubicBezTo>
                  <a:cubicBezTo>
                    <a:pt x="4" y="122"/>
                    <a:pt x="9" y="122"/>
                    <a:pt x="9" y="122"/>
                  </a:cubicBezTo>
                  <a:cubicBezTo>
                    <a:pt x="10" y="122"/>
                    <a:pt x="11" y="122"/>
                    <a:pt x="11" y="121"/>
                  </a:cubicBezTo>
                  <a:cubicBezTo>
                    <a:pt x="11" y="121"/>
                    <a:pt x="7" y="120"/>
                    <a:pt x="7" y="120"/>
                  </a:cubicBezTo>
                  <a:cubicBezTo>
                    <a:pt x="6" y="119"/>
                    <a:pt x="5" y="118"/>
                    <a:pt x="5" y="117"/>
                  </a:cubicBezTo>
                  <a:cubicBezTo>
                    <a:pt x="5" y="117"/>
                    <a:pt x="5" y="117"/>
                    <a:pt x="4" y="117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7" y="114"/>
                    <a:pt x="15" y="107"/>
                    <a:pt x="15" y="106"/>
                  </a:cubicBezTo>
                  <a:cubicBezTo>
                    <a:pt x="16" y="104"/>
                    <a:pt x="15" y="103"/>
                    <a:pt x="14" y="102"/>
                  </a:cubicBezTo>
                  <a:cubicBezTo>
                    <a:pt x="13" y="102"/>
                    <a:pt x="10" y="101"/>
                    <a:pt x="10" y="100"/>
                  </a:cubicBezTo>
                  <a:cubicBezTo>
                    <a:pt x="10" y="99"/>
                    <a:pt x="12" y="97"/>
                    <a:pt x="12" y="96"/>
                  </a:cubicBezTo>
                  <a:cubicBezTo>
                    <a:pt x="11" y="95"/>
                    <a:pt x="9" y="95"/>
                    <a:pt x="9" y="93"/>
                  </a:cubicBezTo>
                  <a:cubicBezTo>
                    <a:pt x="9" y="91"/>
                    <a:pt x="10" y="90"/>
                    <a:pt x="10" y="88"/>
                  </a:cubicBezTo>
                  <a:cubicBezTo>
                    <a:pt x="10" y="87"/>
                    <a:pt x="10" y="85"/>
                    <a:pt x="9" y="84"/>
                  </a:cubicBezTo>
                  <a:cubicBezTo>
                    <a:pt x="9" y="82"/>
                    <a:pt x="6" y="81"/>
                    <a:pt x="7" y="79"/>
                  </a:cubicBezTo>
                  <a:cubicBezTo>
                    <a:pt x="7" y="78"/>
                    <a:pt x="10" y="76"/>
                    <a:pt x="10" y="74"/>
                  </a:cubicBezTo>
                  <a:cubicBezTo>
                    <a:pt x="10" y="73"/>
                    <a:pt x="6" y="72"/>
                    <a:pt x="5" y="71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7"/>
                    <a:pt x="8" y="67"/>
                    <a:pt x="8" y="66"/>
                  </a:cubicBezTo>
                  <a:cubicBezTo>
                    <a:pt x="8" y="63"/>
                    <a:pt x="9" y="64"/>
                    <a:pt x="10" y="63"/>
                  </a:cubicBezTo>
                  <a:cubicBezTo>
                    <a:pt x="11" y="62"/>
                    <a:pt x="11" y="60"/>
                    <a:pt x="11" y="60"/>
                  </a:cubicBezTo>
                  <a:cubicBezTo>
                    <a:pt x="13" y="61"/>
                    <a:pt x="17" y="62"/>
                    <a:pt x="17" y="62"/>
                  </a:cubicBezTo>
                  <a:cubicBezTo>
                    <a:pt x="18" y="62"/>
                    <a:pt x="17" y="60"/>
                    <a:pt x="19" y="60"/>
                  </a:cubicBezTo>
                  <a:cubicBezTo>
                    <a:pt x="20" y="60"/>
                    <a:pt x="23" y="60"/>
                    <a:pt x="23" y="61"/>
                  </a:cubicBezTo>
                  <a:cubicBezTo>
                    <a:pt x="23" y="61"/>
                    <a:pt x="20" y="62"/>
                    <a:pt x="20" y="63"/>
                  </a:cubicBezTo>
                  <a:cubicBezTo>
                    <a:pt x="20" y="63"/>
                    <a:pt x="23" y="63"/>
                    <a:pt x="25" y="63"/>
                  </a:cubicBezTo>
                  <a:cubicBezTo>
                    <a:pt x="27" y="64"/>
                    <a:pt x="31" y="64"/>
                    <a:pt x="32" y="64"/>
                  </a:cubicBezTo>
                  <a:cubicBezTo>
                    <a:pt x="34" y="65"/>
                    <a:pt x="40" y="67"/>
                    <a:pt x="42" y="69"/>
                  </a:cubicBezTo>
                  <a:cubicBezTo>
                    <a:pt x="43" y="70"/>
                    <a:pt x="49" y="73"/>
                    <a:pt x="50" y="73"/>
                  </a:cubicBezTo>
                  <a:cubicBezTo>
                    <a:pt x="51" y="73"/>
                    <a:pt x="53" y="73"/>
                    <a:pt x="53" y="74"/>
                  </a:cubicBezTo>
                  <a:cubicBezTo>
                    <a:pt x="53" y="74"/>
                    <a:pt x="53" y="76"/>
                    <a:pt x="53" y="77"/>
                  </a:cubicBezTo>
                  <a:cubicBezTo>
                    <a:pt x="54" y="78"/>
                    <a:pt x="55" y="79"/>
                    <a:pt x="53" y="80"/>
                  </a:cubicBezTo>
                  <a:cubicBezTo>
                    <a:pt x="52" y="81"/>
                    <a:pt x="50" y="83"/>
                    <a:pt x="47" y="84"/>
                  </a:cubicBezTo>
                  <a:cubicBezTo>
                    <a:pt x="40" y="85"/>
                    <a:pt x="38" y="83"/>
                    <a:pt x="37" y="83"/>
                  </a:cubicBezTo>
                  <a:cubicBezTo>
                    <a:pt x="35" y="83"/>
                    <a:pt x="32" y="82"/>
                    <a:pt x="31" y="82"/>
                  </a:cubicBezTo>
                  <a:cubicBezTo>
                    <a:pt x="29" y="81"/>
                    <a:pt x="26" y="80"/>
                    <a:pt x="25" y="79"/>
                  </a:cubicBezTo>
                  <a:cubicBezTo>
                    <a:pt x="23" y="79"/>
                    <a:pt x="22" y="78"/>
                    <a:pt x="21" y="78"/>
                  </a:cubicBezTo>
                  <a:cubicBezTo>
                    <a:pt x="20" y="77"/>
                    <a:pt x="18" y="77"/>
                    <a:pt x="17" y="78"/>
                  </a:cubicBezTo>
                  <a:cubicBezTo>
                    <a:pt x="17" y="78"/>
                    <a:pt x="19" y="79"/>
                    <a:pt x="20" y="80"/>
                  </a:cubicBezTo>
                  <a:cubicBezTo>
                    <a:pt x="20" y="81"/>
                    <a:pt x="23" y="83"/>
                    <a:pt x="25" y="84"/>
                  </a:cubicBezTo>
                  <a:cubicBezTo>
                    <a:pt x="27" y="85"/>
                    <a:pt x="29" y="85"/>
                    <a:pt x="29" y="86"/>
                  </a:cubicBezTo>
                  <a:cubicBezTo>
                    <a:pt x="28" y="87"/>
                    <a:pt x="27" y="89"/>
                    <a:pt x="27" y="90"/>
                  </a:cubicBezTo>
                  <a:cubicBezTo>
                    <a:pt x="28" y="90"/>
                    <a:pt x="29" y="92"/>
                    <a:pt x="29" y="93"/>
                  </a:cubicBezTo>
                  <a:cubicBezTo>
                    <a:pt x="29" y="93"/>
                    <a:pt x="29" y="95"/>
                    <a:pt x="30" y="95"/>
                  </a:cubicBezTo>
                  <a:cubicBezTo>
                    <a:pt x="31" y="96"/>
                    <a:pt x="33" y="96"/>
                    <a:pt x="33" y="96"/>
                  </a:cubicBezTo>
                  <a:cubicBezTo>
                    <a:pt x="34" y="97"/>
                    <a:pt x="35" y="98"/>
                    <a:pt x="36" y="99"/>
                  </a:cubicBezTo>
                  <a:cubicBezTo>
                    <a:pt x="37" y="99"/>
                    <a:pt x="40" y="100"/>
                    <a:pt x="41" y="99"/>
                  </a:cubicBezTo>
                  <a:cubicBezTo>
                    <a:pt x="41" y="99"/>
                    <a:pt x="42" y="97"/>
                    <a:pt x="41" y="96"/>
                  </a:cubicBezTo>
                  <a:cubicBezTo>
                    <a:pt x="40" y="95"/>
                    <a:pt x="38" y="95"/>
                    <a:pt x="37" y="95"/>
                  </a:cubicBezTo>
                  <a:cubicBezTo>
                    <a:pt x="37" y="94"/>
                    <a:pt x="35" y="93"/>
                    <a:pt x="35" y="93"/>
                  </a:cubicBezTo>
                  <a:cubicBezTo>
                    <a:pt x="35" y="92"/>
                    <a:pt x="36" y="90"/>
                    <a:pt x="37" y="90"/>
                  </a:cubicBezTo>
                  <a:cubicBezTo>
                    <a:pt x="37" y="90"/>
                    <a:pt x="39" y="90"/>
                    <a:pt x="40" y="92"/>
                  </a:cubicBezTo>
                  <a:cubicBezTo>
                    <a:pt x="40" y="92"/>
                    <a:pt x="46" y="95"/>
                    <a:pt x="47" y="95"/>
                  </a:cubicBezTo>
                  <a:cubicBezTo>
                    <a:pt x="48" y="95"/>
                    <a:pt x="50" y="94"/>
                    <a:pt x="50" y="93"/>
                  </a:cubicBezTo>
                  <a:cubicBezTo>
                    <a:pt x="51" y="93"/>
                    <a:pt x="50" y="92"/>
                    <a:pt x="50" y="91"/>
                  </a:cubicBezTo>
                  <a:cubicBezTo>
                    <a:pt x="49" y="90"/>
                    <a:pt x="48" y="90"/>
                    <a:pt x="48" y="88"/>
                  </a:cubicBezTo>
                  <a:cubicBezTo>
                    <a:pt x="48" y="88"/>
                    <a:pt x="49" y="87"/>
                    <a:pt x="49" y="87"/>
                  </a:cubicBezTo>
                  <a:cubicBezTo>
                    <a:pt x="49" y="87"/>
                    <a:pt x="52" y="86"/>
                    <a:pt x="53" y="85"/>
                  </a:cubicBezTo>
                  <a:cubicBezTo>
                    <a:pt x="53" y="85"/>
                    <a:pt x="58" y="82"/>
                    <a:pt x="58" y="82"/>
                  </a:cubicBezTo>
                  <a:cubicBezTo>
                    <a:pt x="59" y="82"/>
                    <a:pt x="61" y="82"/>
                    <a:pt x="61" y="83"/>
                  </a:cubicBezTo>
                  <a:cubicBezTo>
                    <a:pt x="62" y="83"/>
                    <a:pt x="64" y="85"/>
                    <a:pt x="65" y="85"/>
                  </a:cubicBezTo>
                  <a:cubicBezTo>
                    <a:pt x="66" y="85"/>
                    <a:pt x="66" y="82"/>
                    <a:pt x="67" y="81"/>
                  </a:cubicBezTo>
                  <a:cubicBezTo>
                    <a:pt x="67" y="80"/>
                    <a:pt x="67" y="78"/>
                    <a:pt x="66" y="78"/>
                  </a:cubicBezTo>
                  <a:cubicBezTo>
                    <a:pt x="65" y="78"/>
                    <a:pt x="64" y="78"/>
                    <a:pt x="64" y="77"/>
                  </a:cubicBezTo>
                  <a:cubicBezTo>
                    <a:pt x="64" y="76"/>
                    <a:pt x="66" y="75"/>
                    <a:pt x="66" y="74"/>
                  </a:cubicBezTo>
                  <a:cubicBezTo>
                    <a:pt x="66" y="72"/>
                    <a:pt x="65" y="70"/>
                    <a:pt x="64" y="70"/>
                  </a:cubicBezTo>
                  <a:cubicBezTo>
                    <a:pt x="63" y="69"/>
                    <a:pt x="62" y="68"/>
                    <a:pt x="62" y="68"/>
                  </a:cubicBezTo>
                  <a:cubicBezTo>
                    <a:pt x="62" y="67"/>
                    <a:pt x="65" y="68"/>
                    <a:pt x="66" y="68"/>
                  </a:cubicBezTo>
                  <a:cubicBezTo>
                    <a:pt x="66" y="68"/>
                    <a:pt x="71" y="68"/>
                    <a:pt x="72" y="69"/>
                  </a:cubicBezTo>
                  <a:cubicBezTo>
                    <a:pt x="73" y="69"/>
                    <a:pt x="76" y="73"/>
                    <a:pt x="75" y="73"/>
                  </a:cubicBezTo>
                  <a:cubicBezTo>
                    <a:pt x="75" y="74"/>
                    <a:pt x="71" y="74"/>
                    <a:pt x="70" y="74"/>
                  </a:cubicBezTo>
                  <a:cubicBezTo>
                    <a:pt x="69" y="74"/>
                    <a:pt x="68" y="75"/>
                    <a:pt x="68" y="76"/>
                  </a:cubicBezTo>
                  <a:cubicBezTo>
                    <a:pt x="68" y="77"/>
                    <a:pt x="70" y="77"/>
                    <a:pt x="71" y="78"/>
                  </a:cubicBezTo>
                  <a:cubicBezTo>
                    <a:pt x="71" y="79"/>
                    <a:pt x="72" y="80"/>
                    <a:pt x="74" y="80"/>
                  </a:cubicBezTo>
                  <a:cubicBezTo>
                    <a:pt x="75" y="80"/>
                    <a:pt x="78" y="80"/>
                    <a:pt x="79" y="79"/>
                  </a:cubicBezTo>
                  <a:cubicBezTo>
                    <a:pt x="79" y="78"/>
                    <a:pt x="79" y="74"/>
                    <a:pt x="80" y="74"/>
                  </a:cubicBezTo>
                  <a:cubicBezTo>
                    <a:pt x="81" y="74"/>
                    <a:pt x="84" y="74"/>
                    <a:pt x="86" y="73"/>
                  </a:cubicBezTo>
                  <a:cubicBezTo>
                    <a:pt x="87" y="72"/>
                    <a:pt x="91" y="69"/>
                    <a:pt x="92" y="69"/>
                  </a:cubicBezTo>
                  <a:cubicBezTo>
                    <a:pt x="93" y="69"/>
                    <a:pt x="95" y="68"/>
                    <a:pt x="97" y="68"/>
                  </a:cubicBezTo>
                  <a:cubicBezTo>
                    <a:pt x="99" y="68"/>
                    <a:pt x="104" y="65"/>
                    <a:pt x="105" y="65"/>
                  </a:cubicBezTo>
                  <a:cubicBezTo>
                    <a:pt x="106" y="65"/>
                    <a:pt x="103" y="69"/>
                    <a:pt x="103" y="69"/>
                  </a:cubicBezTo>
                  <a:cubicBezTo>
                    <a:pt x="103" y="70"/>
                    <a:pt x="105" y="71"/>
                    <a:pt x="106" y="71"/>
                  </a:cubicBezTo>
                  <a:cubicBezTo>
                    <a:pt x="108" y="70"/>
                    <a:pt x="110" y="68"/>
                    <a:pt x="111" y="68"/>
                  </a:cubicBezTo>
                  <a:cubicBezTo>
                    <a:pt x="112" y="68"/>
                    <a:pt x="113" y="69"/>
                    <a:pt x="115" y="69"/>
                  </a:cubicBezTo>
                  <a:cubicBezTo>
                    <a:pt x="116" y="68"/>
                    <a:pt x="119" y="67"/>
                    <a:pt x="120" y="66"/>
                  </a:cubicBezTo>
                  <a:cubicBezTo>
                    <a:pt x="122" y="66"/>
                    <a:pt x="123" y="66"/>
                    <a:pt x="123" y="67"/>
                  </a:cubicBezTo>
                  <a:cubicBezTo>
                    <a:pt x="124" y="67"/>
                    <a:pt x="122" y="70"/>
                    <a:pt x="123" y="70"/>
                  </a:cubicBezTo>
                  <a:cubicBezTo>
                    <a:pt x="126" y="70"/>
                    <a:pt x="126" y="69"/>
                    <a:pt x="126" y="69"/>
                  </a:cubicBezTo>
                  <a:cubicBezTo>
                    <a:pt x="127" y="69"/>
                    <a:pt x="131" y="67"/>
                    <a:pt x="130" y="65"/>
                  </a:cubicBezTo>
                  <a:cubicBezTo>
                    <a:pt x="129" y="64"/>
                    <a:pt x="128" y="63"/>
                    <a:pt x="128" y="62"/>
                  </a:cubicBezTo>
                  <a:cubicBezTo>
                    <a:pt x="126" y="61"/>
                    <a:pt x="122" y="59"/>
                    <a:pt x="121" y="58"/>
                  </a:cubicBezTo>
                  <a:cubicBezTo>
                    <a:pt x="121" y="58"/>
                    <a:pt x="121" y="57"/>
                    <a:pt x="122" y="56"/>
                  </a:cubicBezTo>
                  <a:cubicBezTo>
                    <a:pt x="123" y="56"/>
                    <a:pt x="124" y="56"/>
                    <a:pt x="125" y="57"/>
                  </a:cubicBezTo>
                  <a:cubicBezTo>
                    <a:pt x="126" y="58"/>
                    <a:pt x="130" y="60"/>
                    <a:pt x="130" y="60"/>
                  </a:cubicBezTo>
                  <a:cubicBezTo>
                    <a:pt x="134" y="60"/>
                    <a:pt x="138" y="60"/>
                    <a:pt x="140" y="60"/>
                  </a:cubicBezTo>
                  <a:cubicBezTo>
                    <a:pt x="142" y="61"/>
                    <a:pt x="147" y="64"/>
                    <a:pt x="147" y="64"/>
                  </a:cubicBezTo>
                  <a:cubicBezTo>
                    <a:pt x="148" y="64"/>
                    <a:pt x="155" y="68"/>
                    <a:pt x="156" y="68"/>
                  </a:cubicBezTo>
                  <a:cubicBezTo>
                    <a:pt x="156" y="69"/>
                    <a:pt x="158" y="71"/>
                    <a:pt x="158" y="71"/>
                  </a:cubicBezTo>
                  <a:cubicBezTo>
                    <a:pt x="160" y="71"/>
                    <a:pt x="161" y="67"/>
                    <a:pt x="161" y="66"/>
                  </a:cubicBezTo>
                  <a:cubicBezTo>
                    <a:pt x="162" y="65"/>
                    <a:pt x="159" y="65"/>
                    <a:pt x="158" y="64"/>
                  </a:cubicBezTo>
                  <a:cubicBezTo>
                    <a:pt x="158" y="63"/>
                    <a:pt x="157" y="62"/>
                    <a:pt x="156" y="62"/>
                  </a:cubicBezTo>
                  <a:cubicBezTo>
                    <a:pt x="156" y="61"/>
                    <a:pt x="153" y="61"/>
                    <a:pt x="153" y="61"/>
                  </a:cubicBezTo>
                  <a:cubicBezTo>
                    <a:pt x="153" y="61"/>
                    <a:pt x="153" y="59"/>
                    <a:pt x="153" y="59"/>
                  </a:cubicBezTo>
                  <a:cubicBezTo>
                    <a:pt x="153" y="58"/>
                    <a:pt x="156" y="54"/>
                    <a:pt x="155" y="53"/>
                  </a:cubicBezTo>
                  <a:cubicBezTo>
                    <a:pt x="154" y="53"/>
                    <a:pt x="152" y="54"/>
                    <a:pt x="151" y="53"/>
                  </a:cubicBezTo>
                  <a:cubicBezTo>
                    <a:pt x="151" y="51"/>
                    <a:pt x="152" y="50"/>
                    <a:pt x="153" y="50"/>
                  </a:cubicBezTo>
                  <a:cubicBezTo>
                    <a:pt x="154" y="49"/>
                    <a:pt x="158" y="48"/>
                    <a:pt x="158" y="47"/>
                  </a:cubicBezTo>
                  <a:cubicBezTo>
                    <a:pt x="158" y="46"/>
                    <a:pt x="161" y="38"/>
                    <a:pt x="163" y="37"/>
                  </a:cubicBezTo>
                  <a:cubicBezTo>
                    <a:pt x="163" y="37"/>
                    <a:pt x="169" y="38"/>
                    <a:pt x="170" y="38"/>
                  </a:cubicBezTo>
                  <a:cubicBezTo>
                    <a:pt x="172" y="38"/>
                    <a:pt x="176" y="39"/>
                    <a:pt x="176" y="40"/>
                  </a:cubicBezTo>
                  <a:cubicBezTo>
                    <a:pt x="176" y="41"/>
                    <a:pt x="176" y="42"/>
                    <a:pt x="175" y="43"/>
                  </a:cubicBezTo>
                  <a:cubicBezTo>
                    <a:pt x="175" y="45"/>
                    <a:pt x="172" y="47"/>
                    <a:pt x="172" y="48"/>
                  </a:cubicBezTo>
                  <a:cubicBezTo>
                    <a:pt x="172" y="49"/>
                    <a:pt x="175" y="50"/>
                    <a:pt x="175" y="52"/>
                  </a:cubicBezTo>
                  <a:cubicBezTo>
                    <a:pt x="176" y="53"/>
                    <a:pt x="176" y="56"/>
                    <a:pt x="175" y="56"/>
                  </a:cubicBezTo>
                  <a:cubicBezTo>
                    <a:pt x="175" y="57"/>
                    <a:pt x="174" y="57"/>
                    <a:pt x="174" y="58"/>
                  </a:cubicBezTo>
                  <a:cubicBezTo>
                    <a:pt x="175" y="59"/>
                    <a:pt x="175" y="60"/>
                    <a:pt x="175" y="61"/>
                  </a:cubicBezTo>
                  <a:cubicBezTo>
                    <a:pt x="175" y="62"/>
                    <a:pt x="174" y="64"/>
                    <a:pt x="175" y="66"/>
                  </a:cubicBezTo>
                  <a:cubicBezTo>
                    <a:pt x="175" y="67"/>
                    <a:pt x="179" y="68"/>
                    <a:pt x="179" y="69"/>
                  </a:cubicBezTo>
                  <a:cubicBezTo>
                    <a:pt x="178" y="70"/>
                    <a:pt x="176" y="70"/>
                    <a:pt x="176" y="72"/>
                  </a:cubicBezTo>
                  <a:cubicBezTo>
                    <a:pt x="177" y="73"/>
                    <a:pt x="177" y="74"/>
                    <a:pt x="177" y="74"/>
                  </a:cubicBezTo>
                  <a:cubicBezTo>
                    <a:pt x="177" y="75"/>
                    <a:pt x="173" y="77"/>
                    <a:pt x="172" y="78"/>
                  </a:cubicBezTo>
                  <a:cubicBezTo>
                    <a:pt x="172" y="79"/>
                    <a:pt x="167" y="81"/>
                    <a:pt x="166" y="80"/>
                  </a:cubicBezTo>
                  <a:cubicBezTo>
                    <a:pt x="165" y="80"/>
                    <a:pt x="162" y="79"/>
                    <a:pt x="161" y="80"/>
                  </a:cubicBezTo>
                  <a:cubicBezTo>
                    <a:pt x="161" y="81"/>
                    <a:pt x="163" y="82"/>
                    <a:pt x="165" y="83"/>
                  </a:cubicBezTo>
                  <a:cubicBezTo>
                    <a:pt x="166" y="83"/>
                    <a:pt x="173" y="84"/>
                    <a:pt x="174" y="84"/>
                  </a:cubicBezTo>
                  <a:cubicBezTo>
                    <a:pt x="175" y="84"/>
                    <a:pt x="174" y="81"/>
                    <a:pt x="176" y="81"/>
                  </a:cubicBezTo>
                  <a:cubicBezTo>
                    <a:pt x="177" y="81"/>
                    <a:pt x="179" y="80"/>
                    <a:pt x="180" y="80"/>
                  </a:cubicBezTo>
                  <a:cubicBezTo>
                    <a:pt x="181" y="79"/>
                    <a:pt x="180" y="77"/>
                    <a:pt x="180" y="76"/>
                  </a:cubicBezTo>
                  <a:cubicBezTo>
                    <a:pt x="181" y="76"/>
                    <a:pt x="183" y="76"/>
                    <a:pt x="183" y="74"/>
                  </a:cubicBezTo>
                  <a:cubicBezTo>
                    <a:pt x="183" y="73"/>
                    <a:pt x="184" y="71"/>
                    <a:pt x="183" y="71"/>
                  </a:cubicBezTo>
                  <a:cubicBezTo>
                    <a:pt x="183" y="70"/>
                    <a:pt x="182" y="69"/>
                    <a:pt x="182" y="69"/>
                  </a:cubicBezTo>
                  <a:cubicBezTo>
                    <a:pt x="183" y="68"/>
                    <a:pt x="184" y="67"/>
                    <a:pt x="184" y="67"/>
                  </a:cubicBezTo>
                  <a:cubicBezTo>
                    <a:pt x="184" y="67"/>
                    <a:pt x="189" y="66"/>
                    <a:pt x="190" y="66"/>
                  </a:cubicBezTo>
                  <a:cubicBezTo>
                    <a:pt x="191" y="66"/>
                    <a:pt x="193" y="69"/>
                    <a:pt x="193" y="69"/>
                  </a:cubicBezTo>
                  <a:cubicBezTo>
                    <a:pt x="193" y="70"/>
                    <a:pt x="192" y="73"/>
                    <a:pt x="193" y="74"/>
                  </a:cubicBezTo>
                  <a:cubicBezTo>
                    <a:pt x="193" y="75"/>
                    <a:pt x="195" y="76"/>
                    <a:pt x="196" y="76"/>
                  </a:cubicBezTo>
                  <a:cubicBezTo>
                    <a:pt x="196" y="76"/>
                    <a:pt x="197" y="75"/>
                    <a:pt x="198" y="75"/>
                  </a:cubicBezTo>
                  <a:cubicBezTo>
                    <a:pt x="198" y="75"/>
                    <a:pt x="196" y="73"/>
                    <a:pt x="196" y="73"/>
                  </a:cubicBezTo>
                  <a:cubicBezTo>
                    <a:pt x="195" y="72"/>
                    <a:pt x="195" y="71"/>
                    <a:pt x="196" y="71"/>
                  </a:cubicBezTo>
                  <a:cubicBezTo>
                    <a:pt x="197" y="71"/>
                    <a:pt x="197" y="70"/>
                    <a:pt x="196" y="69"/>
                  </a:cubicBezTo>
                  <a:cubicBezTo>
                    <a:pt x="196" y="69"/>
                    <a:pt x="195" y="67"/>
                    <a:pt x="195" y="66"/>
                  </a:cubicBezTo>
                  <a:cubicBezTo>
                    <a:pt x="194" y="65"/>
                    <a:pt x="192" y="64"/>
                    <a:pt x="191" y="64"/>
                  </a:cubicBezTo>
                  <a:cubicBezTo>
                    <a:pt x="190" y="63"/>
                    <a:pt x="188" y="63"/>
                    <a:pt x="186" y="63"/>
                  </a:cubicBezTo>
                  <a:cubicBezTo>
                    <a:pt x="184" y="64"/>
                    <a:pt x="182" y="65"/>
                    <a:pt x="181" y="64"/>
                  </a:cubicBezTo>
                  <a:cubicBezTo>
                    <a:pt x="180" y="64"/>
                    <a:pt x="181" y="63"/>
                    <a:pt x="180" y="62"/>
                  </a:cubicBezTo>
                  <a:cubicBezTo>
                    <a:pt x="180" y="61"/>
                    <a:pt x="179" y="59"/>
                    <a:pt x="180" y="58"/>
                  </a:cubicBezTo>
                  <a:cubicBezTo>
                    <a:pt x="181" y="57"/>
                    <a:pt x="183" y="56"/>
                    <a:pt x="183" y="54"/>
                  </a:cubicBezTo>
                  <a:cubicBezTo>
                    <a:pt x="182" y="53"/>
                    <a:pt x="178" y="50"/>
                    <a:pt x="178" y="48"/>
                  </a:cubicBezTo>
                  <a:cubicBezTo>
                    <a:pt x="178" y="48"/>
                    <a:pt x="179" y="46"/>
                    <a:pt x="179" y="46"/>
                  </a:cubicBezTo>
                  <a:cubicBezTo>
                    <a:pt x="179" y="46"/>
                    <a:pt x="184" y="45"/>
                    <a:pt x="184" y="45"/>
                  </a:cubicBezTo>
                  <a:cubicBezTo>
                    <a:pt x="184" y="44"/>
                    <a:pt x="185" y="41"/>
                    <a:pt x="184" y="40"/>
                  </a:cubicBezTo>
                  <a:cubicBezTo>
                    <a:pt x="183" y="38"/>
                    <a:pt x="181" y="38"/>
                    <a:pt x="181" y="37"/>
                  </a:cubicBezTo>
                  <a:cubicBezTo>
                    <a:pt x="182" y="36"/>
                    <a:pt x="184" y="37"/>
                    <a:pt x="185" y="37"/>
                  </a:cubicBezTo>
                  <a:cubicBezTo>
                    <a:pt x="185" y="37"/>
                    <a:pt x="188" y="40"/>
                    <a:pt x="188" y="41"/>
                  </a:cubicBezTo>
                  <a:cubicBezTo>
                    <a:pt x="188" y="42"/>
                    <a:pt x="186" y="45"/>
                    <a:pt x="186" y="46"/>
                  </a:cubicBezTo>
                  <a:cubicBezTo>
                    <a:pt x="186" y="48"/>
                    <a:pt x="185" y="48"/>
                    <a:pt x="186" y="50"/>
                  </a:cubicBezTo>
                  <a:cubicBezTo>
                    <a:pt x="187" y="51"/>
                    <a:pt x="190" y="51"/>
                    <a:pt x="191" y="51"/>
                  </a:cubicBezTo>
                  <a:cubicBezTo>
                    <a:pt x="193" y="51"/>
                    <a:pt x="193" y="51"/>
                    <a:pt x="194" y="51"/>
                  </a:cubicBezTo>
                  <a:cubicBezTo>
                    <a:pt x="195" y="52"/>
                    <a:pt x="197" y="53"/>
                    <a:pt x="198" y="53"/>
                  </a:cubicBezTo>
                  <a:cubicBezTo>
                    <a:pt x="198" y="52"/>
                    <a:pt x="198" y="51"/>
                    <a:pt x="198" y="50"/>
                  </a:cubicBezTo>
                  <a:cubicBezTo>
                    <a:pt x="197" y="49"/>
                    <a:pt x="196" y="49"/>
                    <a:pt x="196" y="49"/>
                  </a:cubicBezTo>
                  <a:cubicBezTo>
                    <a:pt x="195" y="49"/>
                    <a:pt x="193" y="48"/>
                    <a:pt x="191" y="48"/>
                  </a:cubicBezTo>
                  <a:cubicBezTo>
                    <a:pt x="190" y="47"/>
                    <a:pt x="189" y="46"/>
                    <a:pt x="189" y="45"/>
                  </a:cubicBezTo>
                  <a:cubicBezTo>
                    <a:pt x="189" y="45"/>
                    <a:pt x="191" y="45"/>
                    <a:pt x="191" y="45"/>
                  </a:cubicBezTo>
                  <a:cubicBezTo>
                    <a:pt x="192" y="45"/>
                    <a:pt x="193" y="46"/>
                    <a:pt x="194" y="46"/>
                  </a:cubicBezTo>
                  <a:cubicBezTo>
                    <a:pt x="196" y="46"/>
                    <a:pt x="197" y="46"/>
                    <a:pt x="197" y="45"/>
                  </a:cubicBezTo>
                  <a:cubicBezTo>
                    <a:pt x="197" y="44"/>
                    <a:pt x="196" y="42"/>
                    <a:pt x="194" y="42"/>
                  </a:cubicBezTo>
                  <a:cubicBezTo>
                    <a:pt x="193" y="42"/>
                    <a:pt x="192" y="42"/>
                    <a:pt x="192" y="41"/>
                  </a:cubicBezTo>
                  <a:cubicBezTo>
                    <a:pt x="192" y="41"/>
                    <a:pt x="194" y="40"/>
                    <a:pt x="195" y="40"/>
                  </a:cubicBezTo>
                  <a:cubicBezTo>
                    <a:pt x="196" y="40"/>
                    <a:pt x="197" y="40"/>
                    <a:pt x="198" y="41"/>
                  </a:cubicBezTo>
                  <a:cubicBezTo>
                    <a:pt x="198" y="42"/>
                    <a:pt x="200" y="42"/>
                    <a:pt x="200" y="42"/>
                  </a:cubicBezTo>
                  <a:cubicBezTo>
                    <a:pt x="202" y="42"/>
                    <a:pt x="204" y="43"/>
                    <a:pt x="205" y="43"/>
                  </a:cubicBezTo>
                  <a:cubicBezTo>
                    <a:pt x="206" y="43"/>
                    <a:pt x="208" y="46"/>
                    <a:pt x="210" y="46"/>
                  </a:cubicBezTo>
                  <a:cubicBezTo>
                    <a:pt x="211" y="47"/>
                    <a:pt x="215" y="46"/>
                    <a:pt x="215" y="47"/>
                  </a:cubicBezTo>
                  <a:cubicBezTo>
                    <a:pt x="215" y="49"/>
                    <a:pt x="212" y="48"/>
                    <a:pt x="212" y="50"/>
                  </a:cubicBezTo>
                  <a:cubicBezTo>
                    <a:pt x="212" y="51"/>
                    <a:pt x="212" y="51"/>
                    <a:pt x="213" y="52"/>
                  </a:cubicBezTo>
                  <a:cubicBezTo>
                    <a:pt x="214" y="53"/>
                    <a:pt x="213" y="54"/>
                    <a:pt x="212" y="55"/>
                  </a:cubicBezTo>
                  <a:cubicBezTo>
                    <a:pt x="212" y="56"/>
                    <a:pt x="211" y="56"/>
                    <a:pt x="213" y="57"/>
                  </a:cubicBezTo>
                  <a:cubicBezTo>
                    <a:pt x="214" y="58"/>
                    <a:pt x="217" y="60"/>
                    <a:pt x="218" y="60"/>
                  </a:cubicBezTo>
                  <a:cubicBezTo>
                    <a:pt x="219" y="61"/>
                    <a:pt x="220" y="61"/>
                    <a:pt x="220" y="61"/>
                  </a:cubicBezTo>
                  <a:cubicBezTo>
                    <a:pt x="220" y="60"/>
                    <a:pt x="216" y="57"/>
                    <a:pt x="216" y="57"/>
                  </a:cubicBezTo>
                  <a:cubicBezTo>
                    <a:pt x="216" y="56"/>
                    <a:pt x="219" y="56"/>
                    <a:pt x="218" y="55"/>
                  </a:cubicBezTo>
                  <a:cubicBezTo>
                    <a:pt x="218" y="53"/>
                    <a:pt x="217" y="51"/>
                    <a:pt x="217" y="50"/>
                  </a:cubicBezTo>
                  <a:cubicBezTo>
                    <a:pt x="217" y="49"/>
                    <a:pt x="219" y="48"/>
                    <a:pt x="218" y="46"/>
                  </a:cubicBezTo>
                  <a:cubicBezTo>
                    <a:pt x="217" y="45"/>
                    <a:pt x="216" y="45"/>
                    <a:pt x="215" y="44"/>
                  </a:cubicBezTo>
                  <a:cubicBezTo>
                    <a:pt x="214" y="43"/>
                    <a:pt x="209" y="41"/>
                    <a:pt x="208" y="41"/>
                  </a:cubicBezTo>
                  <a:cubicBezTo>
                    <a:pt x="207" y="41"/>
                    <a:pt x="208" y="38"/>
                    <a:pt x="208" y="37"/>
                  </a:cubicBezTo>
                  <a:cubicBezTo>
                    <a:pt x="207" y="36"/>
                    <a:pt x="205" y="34"/>
                    <a:pt x="205" y="34"/>
                  </a:cubicBezTo>
                  <a:cubicBezTo>
                    <a:pt x="206" y="33"/>
                    <a:pt x="208" y="33"/>
                    <a:pt x="210" y="33"/>
                  </a:cubicBezTo>
                  <a:cubicBezTo>
                    <a:pt x="211" y="33"/>
                    <a:pt x="222" y="32"/>
                    <a:pt x="223" y="32"/>
                  </a:cubicBezTo>
                  <a:cubicBezTo>
                    <a:pt x="224" y="32"/>
                    <a:pt x="231" y="32"/>
                    <a:pt x="231" y="30"/>
                  </a:cubicBezTo>
                  <a:cubicBezTo>
                    <a:pt x="231" y="29"/>
                    <a:pt x="231" y="28"/>
                    <a:pt x="230" y="28"/>
                  </a:cubicBezTo>
                  <a:cubicBezTo>
                    <a:pt x="229" y="27"/>
                    <a:pt x="227" y="28"/>
                    <a:pt x="227" y="27"/>
                  </a:cubicBezTo>
                  <a:cubicBezTo>
                    <a:pt x="227" y="26"/>
                    <a:pt x="223" y="27"/>
                    <a:pt x="223" y="26"/>
                  </a:cubicBezTo>
                  <a:cubicBezTo>
                    <a:pt x="223" y="25"/>
                    <a:pt x="227" y="25"/>
                    <a:pt x="228" y="24"/>
                  </a:cubicBezTo>
                  <a:cubicBezTo>
                    <a:pt x="229" y="24"/>
                    <a:pt x="231" y="23"/>
                    <a:pt x="231" y="23"/>
                  </a:cubicBezTo>
                  <a:cubicBezTo>
                    <a:pt x="233" y="22"/>
                    <a:pt x="237" y="19"/>
                    <a:pt x="239" y="19"/>
                  </a:cubicBezTo>
                  <a:cubicBezTo>
                    <a:pt x="241" y="18"/>
                    <a:pt x="251" y="16"/>
                    <a:pt x="252" y="16"/>
                  </a:cubicBezTo>
                  <a:cubicBezTo>
                    <a:pt x="253" y="16"/>
                    <a:pt x="254" y="14"/>
                    <a:pt x="255" y="14"/>
                  </a:cubicBezTo>
                  <a:cubicBezTo>
                    <a:pt x="255" y="13"/>
                    <a:pt x="260" y="13"/>
                    <a:pt x="262" y="13"/>
                  </a:cubicBezTo>
                  <a:cubicBezTo>
                    <a:pt x="264" y="13"/>
                    <a:pt x="270" y="11"/>
                    <a:pt x="270" y="12"/>
                  </a:cubicBezTo>
                  <a:cubicBezTo>
                    <a:pt x="270" y="13"/>
                    <a:pt x="269" y="14"/>
                    <a:pt x="269" y="14"/>
                  </a:cubicBezTo>
                  <a:cubicBezTo>
                    <a:pt x="269" y="15"/>
                    <a:pt x="276" y="13"/>
                    <a:pt x="278" y="13"/>
                  </a:cubicBezTo>
                  <a:cubicBezTo>
                    <a:pt x="279" y="13"/>
                    <a:pt x="277" y="10"/>
                    <a:pt x="277" y="10"/>
                  </a:cubicBezTo>
                  <a:cubicBezTo>
                    <a:pt x="278" y="10"/>
                    <a:pt x="284" y="11"/>
                    <a:pt x="285" y="10"/>
                  </a:cubicBezTo>
                  <a:cubicBezTo>
                    <a:pt x="285" y="10"/>
                    <a:pt x="286" y="9"/>
                    <a:pt x="286" y="8"/>
                  </a:cubicBezTo>
                  <a:cubicBezTo>
                    <a:pt x="286" y="8"/>
                    <a:pt x="285" y="6"/>
                    <a:pt x="285" y="6"/>
                  </a:cubicBezTo>
                  <a:cubicBezTo>
                    <a:pt x="286" y="6"/>
                    <a:pt x="291" y="3"/>
                    <a:pt x="292" y="1"/>
                  </a:cubicBezTo>
                  <a:cubicBezTo>
                    <a:pt x="293" y="1"/>
                    <a:pt x="297" y="0"/>
                    <a:pt x="298" y="0"/>
                  </a:cubicBezTo>
                  <a:cubicBezTo>
                    <a:pt x="299" y="0"/>
                    <a:pt x="304" y="1"/>
                    <a:pt x="305" y="2"/>
                  </a:cubicBezTo>
                  <a:cubicBezTo>
                    <a:pt x="305" y="3"/>
                    <a:pt x="305" y="3"/>
                    <a:pt x="305" y="3"/>
                  </a:cubicBezTo>
                  <a:cubicBezTo>
                    <a:pt x="305" y="4"/>
                    <a:pt x="298" y="5"/>
                    <a:pt x="298" y="6"/>
                  </a:cubicBezTo>
                  <a:cubicBezTo>
                    <a:pt x="299" y="6"/>
                    <a:pt x="303" y="6"/>
                    <a:pt x="305" y="6"/>
                  </a:cubicBezTo>
                  <a:cubicBezTo>
                    <a:pt x="306" y="6"/>
                    <a:pt x="310" y="6"/>
                    <a:pt x="310" y="6"/>
                  </a:cubicBezTo>
                  <a:cubicBezTo>
                    <a:pt x="310" y="8"/>
                    <a:pt x="306" y="10"/>
                    <a:pt x="308" y="10"/>
                  </a:cubicBezTo>
                  <a:cubicBezTo>
                    <a:pt x="309" y="10"/>
                    <a:pt x="312" y="10"/>
                    <a:pt x="312" y="10"/>
                  </a:cubicBezTo>
                  <a:cubicBezTo>
                    <a:pt x="313" y="10"/>
                    <a:pt x="313" y="8"/>
                    <a:pt x="314" y="8"/>
                  </a:cubicBezTo>
                  <a:cubicBezTo>
                    <a:pt x="314" y="8"/>
                    <a:pt x="319" y="8"/>
                    <a:pt x="322" y="8"/>
                  </a:cubicBezTo>
                  <a:cubicBezTo>
                    <a:pt x="324" y="8"/>
                    <a:pt x="326" y="8"/>
                    <a:pt x="328" y="9"/>
                  </a:cubicBezTo>
                  <a:cubicBezTo>
                    <a:pt x="331" y="10"/>
                    <a:pt x="332" y="12"/>
                    <a:pt x="333" y="13"/>
                  </a:cubicBezTo>
                  <a:cubicBezTo>
                    <a:pt x="334" y="14"/>
                    <a:pt x="336" y="14"/>
                    <a:pt x="336" y="15"/>
                  </a:cubicBezTo>
                  <a:cubicBezTo>
                    <a:pt x="336" y="16"/>
                    <a:pt x="333" y="16"/>
                    <a:pt x="333" y="17"/>
                  </a:cubicBezTo>
                  <a:cubicBezTo>
                    <a:pt x="333" y="17"/>
                    <a:pt x="336" y="18"/>
                    <a:pt x="334" y="19"/>
                  </a:cubicBezTo>
                  <a:cubicBezTo>
                    <a:pt x="333" y="21"/>
                    <a:pt x="328" y="23"/>
                    <a:pt x="328" y="23"/>
                  </a:cubicBezTo>
                  <a:cubicBezTo>
                    <a:pt x="327" y="23"/>
                    <a:pt x="321" y="26"/>
                    <a:pt x="320" y="27"/>
                  </a:cubicBezTo>
                  <a:cubicBezTo>
                    <a:pt x="319" y="27"/>
                    <a:pt x="316" y="30"/>
                    <a:pt x="315" y="31"/>
                  </a:cubicBezTo>
                  <a:cubicBezTo>
                    <a:pt x="314" y="31"/>
                    <a:pt x="310" y="31"/>
                    <a:pt x="308" y="32"/>
                  </a:cubicBezTo>
                  <a:cubicBezTo>
                    <a:pt x="307" y="33"/>
                    <a:pt x="306" y="35"/>
                    <a:pt x="306" y="35"/>
                  </a:cubicBezTo>
                  <a:cubicBezTo>
                    <a:pt x="305" y="35"/>
                    <a:pt x="304" y="38"/>
                    <a:pt x="305" y="38"/>
                  </a:cubicBezTo>
                  <a:cubicBezTo>
                    <a:pt x="306" y="38"/>
                    <a:pt x="308" y="36"/>
                    <a:pt x="310" y="36"/>
                  </a:cubicBezTo>
                  <a:cubicBezTo>
                    <a:pt x="311" y="36"/>
                    <a:pt x="313" y="35"/>
                    <a:pt x="314" y="35"/>
                  </a:cubicBezTo>
                  <a:cubicBezTo>
                    <a:pt x="316" y="35"/>
                    <a:pt x="321" y="34"/>
                    <a:pt x="321" y="33"/>
                  </a:cubicBezTo>
                  <a:cubicBezTo>
                    <a:pt x="321" y="32"/>
                    <a:pt x="318" y="32"/>
                    <a:pt x="318" y="32"/>
                  </a:cubicBezTo>
                  <a:cubicBezTo>
                    <a:pt x="319" y="31"/>
                    <a:pt x="321" y="30"/>
                    <a:pt x="321" y="30"/>
                  </a:cubicBezTo>
                  <a:cubicBezTo>
                    <a:pt x="322" y="30"/>
                    <a:pt x="324" y="31"/>
                    <a:pt x="326" y="31"/>
                  </a:cubicBezTo>
                  <a:cubicBezTo>
                    <a:pt x="328" y="32"/>
                    <a:pt x="331" y="32"/>
                    <a:pt x="331" y="31"/>
                  </a:cubicBezTo>
                  <a:cubicBezTo>
                    <a:pt x="331" y="31"/>
                    <a:pt x="331" y="30"/>
                    <a:pt x="331" y="30"/>
                  </a:cubicBezTo>
                  <a:cubicBezTo>
                    <a:pt x="332" y="30"/>
                    <a:pt x="333" y="32"/>
                    <a:pt x="334" y="32"/>
                  </a:cubicBezTo>
                  <a:cubicBezTo>
                    <a:pt x="334" y="33"/>
                    <a:pt x="338" y="33"/>
                    <a:pt x="339" y="33"/>
                  </a:cubicBezTo>
                  <a:cubicBezTo>
                    <a:pt x="340" y="32"/>
                    <a:pt x="342" y="32"/>
                    <a:pt x="344" y="32"/>
                  </a:cubicBezTo>
                  <a:cubicBezTo>
                    <a:pt x="345" y="32"/>
                    <a:pt x="355" y="33"/>
                    <a:pt x="355" y="33"/>
                  </a:cubicBezTo>
                  <a:cubicBezTo>
                    <a:pt x="355" y="34"/>
                    <a:pt x="353" y="35"/>
                    <a:pt x="353" y="35"/>
                  </a:cubicBezTo>
                  <a:cubicBezTo>
                    <a:pt x="354" y="36"/>
                    <a:pt x="357" y="36"/>
                    <a:pt x="359" y="36"/>
                  </a:cubicBezTo>
                  <a:cubicBezTo>
                    <a:pt x="361" y="37"/>
                    <a:pt x="372" y="38"/>
                    <a:pt x="372" y="37"/>
                  </a:cubicBezTo>
                  <a:cubicBezTo>
                    <a:pt x="373" y="37"/>
                    <a:pt x="371" y="34"/>
                    <a:pt x="372" y="33"/>
                  </a:cubicBezTo>
                  <a:cubicBezTo>
                    <a:pt x="372" y="33"/>
                    <a:pt x="374" y="31"/>
                    <a:pt x="376" y="31"/>
                  </a:cubicBezTo>
                  <a:cubicBezTo>
                    <a:pt x="377" y="30"/>
                    <a:pt x="378" y="31"/>
                    <a:pt x="380" y="32"/>
                  </a:cubicBezTo>
                  <a:cubicBezTo>
                    <a:pt x="382" y="33"/>
                    <a:pt x="385" y="34"/>
                    <a:pt x="386" y="34"/>
                  </a:cubicBezTo>
                  <a:cubicBezTo>
                    <a:pt x="386" y="33"/>
                    <a:pt x="387" y="32"/>
                    <a:pt x="388" y="33"/>
                  </a:cubicBezTo>
                  <a:cubicBezTo>
                    <a:pt x="389" y="33"/>
                    <a:pt x="391" y="34"/>
                    <a:pt x="392" y="35"/>
                  </a:cubicBezTo>
                  <a:cubicBezTo>
                    <a:pt x="394" y="35"/>
                    <a:pt x="396" y="37"/>
                    <a:pt x="396" y="37"/>
                  </a:cubicBezTo>
                  <a:cubicBezTo>
                    <a:pt x="396" y="38"/>
                    <a:pt x="396" y="40"/>
                    <a:pt x="395" y="40"/>
                  </a:cubicBezTo>
                  <a:cubicBezTo>
                    <a:pt x="393" y="40"/>
                    <a:pt x="396" y="41"/>
                    <a:pt x="396" y="42"/>
                  </a:cubicBezTo>
                  <a:cubicBezTo>
                    <a:pt x="396" y="43"/>
                    <a:pt x="393" y="45"/>
                    <a:pt x="393" y="45"/>
                  </a:cubicBezTo>
                  <a:cubicBezTo>
                    <a:pt x="393" y="45"/>
                    <a:pt x="394" y="47"/>
                    <a:pt x="395" y="48"/>
                  </a:cubicBezTo>
                  <a:cubicBezTo>
                    <a:pt x="395" y="48"/>
                    <a:pt x="397" y="51"/>
                    <a:pt x="398" y="51"/>
                  </a:cubicBezTo>
                  <a:cubicBezTo>
                    <a:pt x="399" y="51"/>
                    <a:pt x="401" y="52"/>
                    <a:pt x="401" y="52"/>
                  </a:cubicBezTo>
                  <a:cubicBezTo>
                    <a:pt x="402" y="52"/>
                    <a:pt x="401" y="54"/>
                    <a:pt x="403" y="53"/>
                  </a:cubicBezTo>
                  <a:cubicBezTo>
                    <a:pt x="404" y="53"/>
                    <a:pt x="405" y="51"/>
                    <a:pt x="406" y="50"/>
                  </a:cubicBezTo>
                  <a:cubicBezTo>
                    <a:pt x="406" y="48"/>
                    <a:pt x="407" y="45"/>
                    <a:pt x="409" y="45"/>
                  </a:cubicBezTo>
                  <a:cubicBezTo>
                    <a:pt x="410" y="45"/>
                    <a:pt x="409" y="46"/>
                    <a:pt x="410" y="48"/>
                  </a:cubicBezTo>
                  <a:cubicBezTo>
                    <a:pt x="411" y="48"/>
                    <a:pt x="414" y="49"/>
                    <a:pt x="415" y="48"/>
                  </a:cubicBezTo>
                  <a:cubicBezTo>
                    <a:pt x="417" y="48"/>
                    <a:pt x="418" y="47"/>
                    <a:pt x="419" y="47"/>
                  </a:cubicBezTo>
                  <a:cubicBezTo>
                    <a:pt x="421" y="47"/>
                    <a:pt x="423" y="48"/>
                    <a:pt x="425" y="48"/>
                  </a:cubicBezTo>
                  <a:cubicBezTo>
                    <a:pt x="427" y="48"/>
                    <a:pt x="428" y="51"/>
                    <a:pt x="429" y="50"/>
                  </a:cubicBezTo>
                  <a:cubicBezTo>
                    <a:pt x="429" y="50"/>
                    <a:pt x="429" y="47"/>
                    <a:pt x="430" y="47"/>
                  </a:cubicBezTo>
                  <a:cubicBezTo>
                    <a:pt x="430" y="47"/>
                    <a:pt x="433" y="47"/>
                    <a:pt x="433" y="48"/>
                  </a:cubicBezTo>
                  <a:cubicBezTo>
                    <a:pt x="433" y="48"/>
                    <a:pt x="433" y="48"/>
                    <a:pt x="434" y="48"/>
                  </a:cubicBezTo>
                  <a:cubicBezTo>
                    <a:pt x="435" y="48"/>
                    <a:pt x="436" y="48"/>
                    <a:pt x="436" y="48"/>
                  </a:cubicBezTo>
                  <a:cubicBezTo>
                    <a:pt x="437" y="48"/>
                    <a:pt x="435" y="46"/>
                    <a:pt x="436" y="45"/>
                  </a:cubicBezTo>
                  <a:cubicBezTo>
                    <a:pt x="436" y="45"/>
                    <a:pt x="437" y="44"/>
                    <a:pt x="437" y="43"/>
                  </a:cubicBezTo>
                  <a:cubicBezTo>
                    <a:pt x="437" y="43"/>
                    <a:pt x="433" y="43"/>
                    <a:pt x="433" y="42"/>
                  </a:cubicBezTo>
                  <a:cubicBezTo>
                    <a:pt x="433" y="42"/>
                    <a:pt x="435" y="41"/>
                    <a:pt x="435" y="41"/>
                  </a:cubicBezTo>
                  <a:cubicBezTo>
                    <a:pt x="435" y="41"/>
                    <a:pt x="436" y="40"/>
                    <a:pt x="437" y="40"/>
                  </a:cubicBezTo>
                  <a:cubicBezTo>
                    <a:pt x="437" y="40"/>
                    <a:pt x="440" y="41"/>
                    <a:pt x="441" y="41"/>
                  </a:cubicBezTo>
                  <a:cubicBezTo>
                    <a:pt x="441" y="40"/>
                    <a:pt x="439" y="38"/>
                    <a:pt x="439" y="38"/>
                  </a:cubicBezTo>
                  <a:cubicBezTo>
                    <a:pt x="440" y="37"/>
                    <a:pt x="442" y="38"/>
                    <a:pt x="442" y="38"/>
                  </a:cubicBezTo>
                  <a:cubicBezTo>
                    <a:pt x="442" y="38"/>
                    <a:pt x="445" y="39"/>
                    <a:pt x="446" y="39"/>
                  </a:cubicBezTo>
                  <a:cubicBezTo>
                    <a:pt x="448" y="39"/>
                    <a:pt x="458" y="40"/>
                    <a:pt x="459" y="40"/>
                  </a:cubicBezTo>
                  <a:cubicBezTo>
                    <a:pt x="461" y="41"/>
                    <a:pt x="462" y="42"/>
                    <a:pt x="464" y="42"/>
                  </a:cubicBezTo>
                  <a:cubicBezTo>
                    <a:pt x="465" y="42"/>
                    <a:pt x="471" y="42"/>
                    <a:pt x="472" y="42"/>
                  </a:cubicBezTo>
                  <a:cubicBezTo>
                    <a:pt x="474" y="43"/>
                    <a:pt x="476" y="45"/>
                    <a:pt x="475" y="45"/>
                  </a:cubicBezTo>
                  <a:cubicBezTo>
                    <a:pt x="475" y="46"/>
                    <a:pt x="473" y="46"/>
                    <a:pt x="474" y="47"/>
                  </a:cubicBezTo>
                  <a:cubicBezTo>
                    <a:pt x="474" y="48"/>
                    <a:pt x="477" y="48"/>
                    <a:pt x="479" y="48"/>
                  </a:cubicBezTo>
                  <a:cubicBezTo>
                    <a:pt x="480" y="50"/>
                    <a:pt x="483" y="51"/>
                    <a:pt x="483" y="52"/>
                  </a:cubicBezTo>
                  <a:cubicBezTo>
                    <a:pt x="484" y="53"/>
                    <a:pt x="487" y="53"/>
                    <a:pt x="488" y="53"/>
                  </a:cubicBezTo>
                  <a:cubicBezTo>
                    <a:pt x="490" y="53"/>
                    <a:pt x="497" y="51"/>
                    <a:pt x="500" y="51"/>
                  </a:cubicBezTo>
                  <a:cubicBezTo>
                    <a:pt x="503" y="51"/>
                    <a:pt x="508" y="52"/>
                    <a:pt x="509" y="52"/>
                  </a:cubicBezTo>
                  <a:cubicBezTo>
                    <a:pt x="511" y="53"/>
                    <a:pt x="515" y="55"/>
                    <a:pt x="515" y="56"/>
                  </a:cubicBezTo>
                  <a:cubicBezTo>
                    <a:pt x="515" y="57"/>
                    <a:pt x="511" y="59"/>
                    <a:pt x="513" y="60"/>
                  </a:cubicBezTo>
                  <a:cubicBezTo>
                    <a:pt x="515" y="61"/>
                    <a:pt x="517" y="61"/>
                    <a:pt x="517" y="61"/>
                  </a:cubicBezTo>
                  <a:cubicBezTo>
                    <a:pt x="518" y="62"/>
                    <a:pt x="517" y="65"/>
                    <a:pt x="519" y="64"/>
                  </a:cubicBezTo>
                  <a:cubicBezTo>
                    <a:pt x="521" y="64"/>
                    <a:pt x="522" y="62"/>
                    <a:pt x="524" y="61"/>
                  </a:cubicBezTo>
                  <a:cubicBezTo>
                    <a:pt x="526" y="61"/>
                    <a:pt x="530" y="60"/>
                    <a:pt x="530" y="61"/>
                  </a:cubicBezTo>
                  <a:cubicBezTo>
                    <a:pt x="531" y="61"/>
                    <a:pt x="539" y="62"/>
                    <a:pt x="540" y="62"/>
                  </a:cubicBezTo>
                  <a:cubicBezTo>
                    <a:pt x="541" y="62"/>
                    <a:pt x="544" y="60"/>
                    <a:pt x="544" y="60"/>
                  </a:cubicBezTo>
                  <a:cubicBezTo>
                    <a:pt x="545" y="60"/>
                    <a:pt x="545" y="61"/>
                    <a:pt x="546" y="62"/>
                  </a:cubicBezTo>
                  <a:cubicBezTo>
                    <a:pt x="547" y="62"/>
                    <a:pt x="545" y="64"/>
                    <a:pt x="547" y="64"/>
                  </a:cubicBezTo>
                  <a:cubicBezTo>
                    <a:pt x="548" y="65"/>
                    <a:pt x="550" y="64"/>
                    <a:pt x="551" y="65"/>
                  </a:cubicBezTo>
                  <a:cubicBezTo>
                    <a:pt x="551" y="65"/>
                    <a:pt x="550" y="67"/>
                    <a:pt x="552" y="67"/>
                  </a:cubicBezTo>
                  <a:cubicBezTo>
                    <a:pt x="553" y="67"/>
                    <a:pt x="557" y="67"/>
                    <a:pt x="557" y="65"/>
                  </a:cubicBezTo>
                  <a:cubicBezTo>
                    <a:pt x="556" y="64"/>
                    <a:pt x="554" y="61"/>
                    <a:pt x="554" y="61"/>
                  </a:cubicBezTo>
                  <a:cubicBezTo>
                    <a:pt x="554" y="60"/>
                    <a:pt x="554" y="58"/>
                    <a:pt x="555" y="58"/>
                  </a:cubicBezTo>
                  <a:cubicBezTo>
                    <a:pt x="556" y="58"/>
                    <a:pt x="563" y="59"/>
                    <a:pt x="566" y="60"/>
                  </a:cubicBezTo>
                  <a:cubicBezTo>
                    <a:pt x="569" y="60"/>
                    <a:pt x="575" y="60"/>
                    <a:pt x="576" y="60"/>
                  </a:cubicBezTo>
                  <a:cubicBezTo>
                    <a:pt x="577" y="60"/>
                    <a:pt x="580" y="61"/>
                    <a:pt x="582" y="62"/>
                  </a:cubicBezTo>
                  <a:cubicBezTo>
                    <a:pt x="584" y="62"/>
                    <a:pt x="589" y="63"/>
                    <a:pt x="590" y="64"/>
                  </a:cubicBezTo>
                  <a:cubicBezTo>
                    <a:pt x="591" y="65"/>
                    <a:pt x="595" y="66"/>
                    <a:pt x="596" y="67"/>
                  </a:cubicBezTo>
                  <a:cubicBezTo>
                    <a:pt x="597" y="68"/>
                    <a:pt x="607" y="73"/>
                    <a:pt x="610" y="74"/>
                  </a:cubicBezTo>
                  <a:cubicBezTo>
                    <a:pt x="612" y="76"/>
                    <a:pt x="612" y="78"/>
                    <a:pt x="612" y="78"/>
                  </a:cubicBezTo>
                  <a:cubicBezTo>
                    <a:pt x="612" y="79"/>
                    <a:pt x="611" y="81"/>
                    <a:pt x="612" y="81"/>
                  </a:cubicBezTo>
                  <a:cubicBezTo>
                    <a:pt x="613" y="82"/>
                    <a:pt x="615" y="83"/>
                    <a:pt x="615" y="82"/>
                  </a:cubicBezTo>
                  <a:cubicBezTo>
                    <a:pt x="615" y="81"/>
                    <a:pt x="614" y="78"/>
                    <a:pt x="615" y="78"/>
                  </a:cubicBezTo>
                  <a:cubicBezTo>
                    <a:pt x="615" y="78"/>
                    <a:pt x="623" y="79"/>
                    <a:pt x="624" y="79"/>
                  </a:cubicBezTo>
                  <a:cubicBezTo>
                    <a:pt x="624" y="79"/>
                    <a:pt x="632" y="83"/>
                    <a:pt x="632" y="84"/>
                  </a:cubicBezTo>
                  <a:cubicBezTo>
                    <a:pt x="632" y="85"/>
                    <a:pt x="629" y="85"/>
                    <a:pt x="629" y="86"/>
                  </a:cubicBezTo>
                  <a:cubicBezTo>
                    <a:pt x="629" y="86"/>
                    <a:pt x="627" y="87"/>
                    <a:pt x="626" y="88"/>
                  </a:cubicBezTo>
                  <a:cubicBezTo>
                    <a:pt x="625" y="88"/>
                    <a:pt x="621" y="87"/>
                    <a:pt x="621" y="87"/>
                  </a:cubicBezTo>
                  <a:cubicBezTo>
                    <a:pt x="621" y="88"/>
                    <a:pt x="623" y="91"/>
                    <a:pt x="622" y="92"/>
                  </a:cubicBezTo>
                  <a:cubicBezTo>
                    <a:pt x="622" y="92"/>
                    <a:pt x="619" y="93"/>
                    <a:pt x="619" y="93"/>
                  </a:cubicBezTo>
                  <a:cubicBezTo>
                    <a:pt x="619" y="95"/>
                    <a:pt x="621" y="97"/>
                    <a:pt x="619" y="97"/>
                  </a:cubicBezTo>
                  <a:cubicBezTo>
                    <a:pt x="618" y="97"/>
                    <a:pt x="615" y="96"/>
                    <a:pt x="613" y="95"/>
                  </a:cubicBezTo>
                  <a:cubicBezTo>
                    <a:pt x="612" y="93"/>
                    <a:pt x="608" y="93"/>
                    <a:pt x="608" y="92"/>
                  </a:cubicBezTo>
                  <a:cubicBezTo>
                    <a:pt x="608" y="90"/>
                    <a:pt x="607" y="88"/>
                    <a:pt x="607" y="88"/>
                  </a:cubicBezTo>
                  <a:cubicBezTo>
                    <a:pt x="606" y="87"/>
                    <a:pt x="603" y="87"/>
                    <a:pt x="603" y="87"/>
                  </a:cubicBezTo>
                  <a:cubicBezTo>
                    <a:pt x="602" y="87"/>
                    <a:pt x="601" y="89"/>
                    <a:pt x="600" y="89"/>
                  </a:cubicBezTo>
                  <a:cubicBezTo>
                    <a:pt x="598" y="88"/>
                    <a:pt x="597" y="88"/>
                    <a:pt x="597" y="87"/>
                  </a:cubicBezTo>
                  <a:cubicBezTo>
                    <a:pt x="597" y="87"/>
                    <a:pt x="598" y="84"/>
                    <a:pt x="597" y="83"/>
                  </a:cubicBezTo>
                  <a:cubicBezTo>
                    <a:pt x="597" y="82"/>
                    <a:pt x="593" y="83"/>
                    <a:pt x="592" y="84"/>
                  </a:cubicBezTo>
                  <a:cubicBezTo>
                    <a:pt x="592" y="85"/>
                    <a:pt x="591" y="86"/>
                    <a:pt x="592" y="87"/>
                  </a:cubicBezTo>
                  <a:cubicBezTo>
                    <a:pt x="593" y="87"/>
                    <a:pt x="595" y="87"/>
                    <a:pt x="594" y="88"/>
                  </a:cubicBezTo>
                  <a:cubicBezTo>
                    <a:pt x="594" y="89"/>
                    <a:pt x="590" y="93"/>
                    <a:pt x="589" y="93"/>
                  </a:cubicBezTo>
                  <a:cubicBezTo>
                    <a:pt x="587" y="93"/>
                    <a:pt x="582" y="92"/>
                    <a:pt x="581" y="92"/>
                  </a:cubicBezTo>
                  <a:cubicBezTo>
                    <a:pt x="580" y="92"/>
                    <a:pt x="577" y="92"/>
                    <a:pt x="576" y="92"/>
                  </a:cubicBezTo>
                  <a:cubicBezTo>
                    <a:pt x="576" y="93"/>
                    <a:pt x="576" y="94"/>
                    <a:pt x="577" y="95"/>
                  </a:cubicBezTo>
                  <a:cubicBezTo>
                    <a:pt x="579" y="95"/>
                    <a:pt x="580" y="95"/>
                    <a:pt x="581" y="95"/>
                  </a:cubicBezTo>
                  <a:cubicBezTo>
                    <a:pt x="582" y="95"/>
                    <a:pt x="583" y="97"/>
                    <a:pt x="584" y="97"/>
                  </a:cubicBezTo>
                  <a:cubicBezTo>
                    <a:pt x="585" y="97"/>
                    <a:pt x="585" y="96"/>
                    <a:pt x="586" y="97"/>
                  </a:cubicBezTo>
                  <a:cubicBezTo>
                    <a:pt x="586" y="97"/>
                    <a:pt x="586" y="100"/>
                    <a:pt x="587" y="101"/>
                  </a:cubicBezTo>
                  <a:cubicBezTo>
                    <a:pt x="588" y="102"/>
                    <a:pt x="591" y="105"/>
                    <a:pt x="590" y="105"/>
                  </a:cubicBezTo>
                  <a:cubicBezTo>
                    <a:pt x="590" y="106"/>
                    <a:pt x="588" y="107"/>
                    <a:pt x="588" y="108"/>
                  </a:cubicBezTo>
                  <a:cubicBezTo>
                    <a:pt x="588" y="109"/>
                    <a:pt x="583" y="106"/>
                    <a:pt x="581" y="107"/>
                  </a:cubicBezTo>
                  <a:cubicBezTo>
                    <a:pt x="579" y="107"/>
                    <a:pt x="572" y="110"/>
                    <a:pt x="571" y="111"/>
                  </a:cubicBezTo>
                  <a:cubicBezTo>
                    <a:pt x="569" y="111"/>
                    <a:pt x="563" y="114"/>
                    <a:pt x="562" y="115"/>
                  </a:cubicBezTo>
                  <a:cubicBezTo>
                    <a:pt x="561" y="116"/>
                    <a:pt x="557" y="118"/>
                    <a:pt x="556" y="119"/>
                  </a:cubicBezTo>
                  <a:cubicBezTo>
                    <a:pt x="556" y="119"/>
                    <a:pt x="555" y="122"/>
                    <a:pt x="554" y="122"/>
                  </a:cubicBezTo>
                  <a:cubicBezTo>
                    <a:pt x="553" y="122"/>
                    <a:pt x="552" y="119"/>
                    <a:pt x="550" y="118"/>
                  </a:cubicBezTo>
                  <a:cubicBezTo>
                    <a:pt x="548" y="118"/>
                    <a:pt x="544" y="118"/>
                    <a:pt x="543" y="119"/>
                  </a:cubicBezTo>
                  <a:cubicBezTo>
                    <a:pt x="542" y="120"/>
                    <a:pt x="538" y="124"/>
                    <a:pt x="538" y="123"/>
                  </a:cubicBezTo>
                  <a:cubicBezTo>
                    <a:pt x="537" y="123"/>
                    <a:pt x="539" y="119"/>
                    <a:pt x="538" y="119"/>
                  </a:cubicBezTo>
                  <a:cubicBezTo>
                    <a:pt x="537" y="118"/>
                    <a:pt x="534" y="121"/>
                    <a:pt x="533" y="122"/>
                  </a:cubicBezTo>
                  <a:cubicBezTo>
                    <a:pt x="533" y="122"/>
                    <a:pt x="531" y="120"/>
                    <a:pt x="530" y="121"/>
                  </a:cubicBezTo>
                  <a:cubicBezTo>
                    <a:pt x="528" y="122"/>
                    <a:pt x="527" y="125"/>
                    <a:pt x="526" y="126"/>
                  </a:cubicBezTo>
                  <a:cubicBezTo>
                    <a:pt x="526" y="127"/>
                    <a:pt x="522" y="129"/>
                    <a:pt x="522" y="132"/>
                  </a:cubicBezTo>
                  <a:cubicBezTo>
                    <a:pt x="522" y="134"/>
                    <a:pt x="523" y="135"/>
                    <a:pt x="524" y="134"/>
                  </a:cubicBezTo>
                  <a:cubicBezTo>
                    <a:pt x="524" y="134"/>
                    <a:pt x="526" y="133"/>
                    <a:pt x="526" y="133"/>
                  </a:cubicBezTo>
                  <a:cubicBezTo>
                    <a:pt x="527" y="134"/>
                    <a:pt x="527" y="135"/>
                    <a:pt x="527" y="135"/>
                  </a:cubicBezTo>
                  <a:cubicBezTo>
                    <a:pt x="526" y="136"/>
                    <a:pt x="524" y="138"/>
                    <a:pt x="524" y="138"/>
                  </a:cubicBezTo>
                  <a:cubicBezTo>
                    <a:pt x="524" y="139"/>
                    <a:pt x="524" y="140"/>
                    <a:pt x="525" y="140"/>
                  </a:cubicBezTo>
                  <a:cubicBezTo>
                    <a:pt x="525" y="140"/>
                    <a:pt x="527" y="139"/>
                    <a:pt x="527" y="140"/>
                  </a:cubicBezTo>
                  <a:cubicBezTo>
                    <a:pt x="527" y="141"/>
                    <a:pt x="527" y="144"/>
                    <a:pt x="527" y="144"/>
                  </a:cubicBezTo>
                  <a:cubicBezTo>
                    <a:pt x="526" y="144"/>
                    <a:pt x="524" y="143"/>
                    <a:pt x="523" y="144"/>
                  </a:cubicBezTo>
                  <a:cubicBezTo>
                    <a:pt x="522" y="145"/>
                    <a:pt x="521" y="147"/>
                    <a:pt x="521" y="147"/>
                  </a:cubicBezTo>
                  <a:cubicBezTo>
                    <a:pt x="521" y="148"/>
                    <a:pt x="523" y="151"/>
                    <a:pt x="523" y="151"/>
                  </a:cubicBezTo>
                  <a:cubicBezTo>
                    <a:pt x="522" y="152"/>
                    <a:pt x="520" y="153"/>
                    <a:pt x="519" y="152"/>
                  </a:cubicBezTo>
                  <a:cubicBezTo>
                    <a:pt x="519" y="152"/>
                    <a:pt x="517" y="152"/>
                    <a:pt x="515" y="153"/>
                  </a:cubicBezTo>
                  <a:cubicBezTo>
                    <a:pt x="514" y="154"/>
                    <a:pt x="514" y="156"/>
                    <a:pt x="514" y="156"/>
                  </a:cubicBezTo>
                  <a:cubicBezTo>
                    <a:pt x="514" y="157"/>
                    <a:pt x="514" y="158"/>
                    <a:pt x="514" y="159"/>
                  </a:cubicBezTo>
                  <a:cubicBezTo>
                    <a:pt x="514" y="159"/>
                    <a:pt x="512" y="159"/>
                    <a:pt x="510" y="160"/>
                  </a:cubicBezTo>
                  <a:cubicBezTo>
                    <a:pt x="509" y="160"/>
                    <a:pt x="508" y="161"/>
                    <a:pt x="508" y="162"/>
                  </a:cubicBezTo>
                  <a:cubicBezTo>
                    <a:pt x="509" y="164"/>
                    <a:pt x="508" y="165"/>
                    <a:pt x="507" y="166"/>
                  </a:cubicBezTo>
                  <a:cubicBezTo>
                    <a:pt x="505" y="167"/>
                    <a:pt x="503" y="171"/>
                    <a:pt x="502" y="170"/>
                  </a:cubicBezTo>
                  <a:cubicBezTo>
                    <a:pt x="500" y="170"/>
                    <a:pt x="500" y="166"/>
                    <a:pt x="500" y="165"/>
                  </a:cubicBezTo>
                  <a:cubicBezTo>
                    <a:pt x="500" y="164"/>
                    <a:pt x="499" y="158"/>
                    <a:pt x="498" y="155"/>
                  </a:cubicBezTo>
                  <a:cubicBezTo>
                    <a:pt x="497" y="153"/>
                    <a:pt x="497" y="144"/>
                    <a:pt x="498" y="141"/>
                  </a:cubicBezTo>
                  <a:cubicBezTo>
                    <a:pt x="499" y="139"/>
                    <a:pt x="501" y="138"/>
                    <a:pt x="501" y="138"/>
                  </a:cubicBezTo>
                  <a:cubicBezTo>
                    <a:pt x="502" y="137"/>
                    <a:pt x="501" y="135"/>
                    <a:pt x="502" y="134"/>
                  </a:cubicBezTo>
                  <a:cubicBezTo>
                    <a:pt x="503" y="133"/>
                    <a:pt x="505" y="134"/>
                    <a:pt x="506" y="133"/>
                  </a:cubicBezTo>
                  <a:cubicBezTo>
                    <a:pt x="508" y="132"/>
                    <a:pt x="514" y="128"/>
                    <a:pt x="515" y="126"/>
                  </a:cubicBezTo>
                  <a:cubicBezTo>
                    <a:pt x="516" y="124"/>
                    <a:pt x="521" y="120"/>
                    <a:pt x="522" y="120"/>
                  </a:cubicBezTo>
                  <a:cubicBezTo>
                    <a:pt x="523" y="119"/>
                    <a:pt x="528" y="117"/>
                    <a:pt x="528" y="116"/>
                  </a:cubicBezTo>
                  <a:cubicBezTo>
                    <a:pt x="529" y="115"/>
                    <a:pt x="530" y="114"/>
                    <a:pt x="530" y="113"/>
                  </a:cubicBezTo>
                  <a:cubicBezTo>
                    <a:pt x="530" y="112"/>
                    <a:pt x="530" y="109"/>
                    <a:pt x="531" y="109"/>
                  </a:cubicBezTo>
                  <a:cubicBezTo>
                    <a:pt x="532" y="108"/>
                    <a:pt x="534" y="108"/>
                    <a:pt x="534" y="107"/>
                  </a:cubicBezTo>
                  <a:cubicBezTo>
                    <a:pt x="534" y="106"/>
                    <a:pt x="532" y="105"/>
                    <a:pt x="530" y="105"/>
                  </a:cubicBezTo>
                  <a:cubicBezTo>
                    <a:pt x="529" y="106"/>
                    <a:pt x="526" y="106"/>
                    <a:pt x="526" y="108"/>
                  </a:cubicBezTo>
                  <a:cubicBezTo>
                    <a:pt x="526" y="109"/>
                    <a:pt x="526" y="112"/>
                    <a:pt x="526" y="112"/>
                  </a:cubicBezTo>
                  <a:cubicBezTo>
                    <a:pt x="525" y="112"/>
                    <a:pt x="522" y="112"/>
                    <a:pt x="521" y="113"/>
                  </a:cubicBezTo>
                  <a:cubicBezTo>
                    <a:pt x="521" y="115"/>
                    <a:pt x="517" y="117"/>
                    <a:pt x="516" y="117"/>
                  </a:cubicBezTo>
                  <a:cubicBezTo>
                    <a:pt x="514" y="117"/>
                    <a:pt x="514" y="116"/>
                    <a:pt x="514" y="115"/>
                  </a:cubicBezTo>
                  <a:cubicBezTo>
                    <a:pt x="515" y="114"/>
                    <a:pt x="516" y="110"/>
                    <a:pt x="515" y="110"/>
                  </a:cubicBezTo>
                  <a:cubicBezTo>
                    <a:pt x="514" y="110"/>
                    <a:pt x="512" y="111"/>
                    <a:pt x="510" y="111"/>
                  </a:cubicBezTo>
                  <a:cubicBezTo>
                    <a:pt x="508" y="111"/>
                    <a:pt x="503" y="111"/>
                    <a:pt x="502" y="113"/>
                  </a:cubicBezTo>
                  <a:cubicBezTo>
                    <a:pt x="501" y="115"/>
                    <a:pt x="500" y="116"/>
                    <a:pt x="499" y="117"/>
                  </a:cubicBezTo>
                  <a:cubicBezTo>
                    <a:pt x="497" y="118"/>
                    <a:pt x="492" y="121"/>
                    <a:pt x="492" y="122"/>
                  </a:cubicBezTo>
                  <a:cubicBezTo>
                    <a:pt x="492" y="123"/>
                    <a:pt x="491" y="124"/>
                    <a:pt x="492" y="124"/>
                  </a:cubicBezTo>
                  <a:cubicBezTo>
                    <a:pt x="493" y="124"/>
                    <a:pt x="496" y="124"/>
                    <a:pt x="496" y="125"/>
                  </a:cubicBezTo>
                  <a:cubicBezTo>
                    <a:pt x="496" y="127"/>
                    <a:pt x="494" y="128"/>
                    <a:pt x="491" y="128"/>
                  </a:cubicBezTo>
                  <a:cubicBezTo>
                    <a:pt x="489" y="128"/>
                    <a:pt x="487" y="128"/>
                    <a:pt x="485" y="128"/>
                  </a:cubicBezTo>
                  <a:cubicBezTo>
                    <a:pt x="483" y="128"/>
                    <a:pt x="481" y="128"/>
                    <a:pt x="481" y="127"/>
                  </a:cubicBezTo>
                  <a:cubicBezTo>
                    <a:pt x="481" y="127"/>
                    <a:pt x="482" y="124"/>
                    <a:pt x="480" y="124"/>
                  </a:cubicBezTo>
                  <a:cubicBezTo>
                    <a:pt x="477" y="124"/>
                    <a:pt x="474" y="122"/>
                    <a:pt x="473" y="123"/>
                  </a:cubicBezTo>
                  <a:cubicBezTo>
                    <a:pt x="471" y="123"/>
                    <a:pt x="472" y="125"/>
                    <a:pt x="470" y="126"/>
                  </a:cubicBezTo>
                  <a:cubicBezTo>
                    <a:pt x="468" y="126"/>
                    <a:pt x="462" y="125"/>
                    <a:pt x="461" y="125"/>
                  </a:cubicBezTo>
                  <a:cubicBezTo>
                    <a:pt x="459" y="125"/>
                    <a:pt x="453" y="125"/>
                    <a:pt x="451" y="125"/>
                  </a:cubicBezTo>
                  <a:cubicBezTo>
                    <a:pt x="449" y="125"/>
                    <a:pt x="445" y="127"/>
                    <a:pt x="444" y="129"/>
                  </a:cubicBezTo>
                  <a:cubicBezTo>
                    <a:pt x="442" y="131"/>
                    <a:pt x="440" y="132"/>
                    <a:pt x="439" y="134"/>
                  </a:cubicBezTo>
                  <a:cubicBezTo>
                    <a:pt x="436" y="135"/>
                    <a:pt x="433" y="138"/>
                    <a:pt x="432" y="139"/>
                  </a:cubicBezTo>
                  <a:cubicBezTo>
                    <a:pt x="431" y="140"/>
                    <a:pt x="425" y="145"/>
                    <a:pt x="423" y="147"/>
                  </a:cubicBezTo>
                  <a:cubicBezTo>
                    <a:pt x="421" y="148"/>
                    <a:pt x="417" y="150"/>
                    <a:pt x="418" y="151"/>
                  </a:cubicBezTo>
                  <a:cubicBezTo>
                    <a:pt x="419" y="152"/>
                    <a:pt x="420" y="152"/>
                    <a:pt x="421" y="152"/>
                  </a:cubicBezTo>
                  <a:cubicBezTo>
                    <a:pt x="422" y="152"/>
                    <a:pt x="424" y="152"/>
                    <a:pt x="424" y="152"/>
                  </a:cubicBezTo>
                  <a:cubicBezTo>
                    <a:pt x="424" y="152"/>
                    <a:pt x="423" y="156"/>
                    <a:pt x="425" y="156"/>
                  </a:cubicBezTo>
                  <a:cubicBezTo>
                    <a:pt x="426" y="156"/>
                    <a:pt x="426" y="155"/>
                    <a:pt x="427" y="155"/>
                  </a:cubicBezTo>
                  <a:cubicBezTo>
                    <a:pt x="427" y="155"/>
                    <a:pt x="430" y="158"/>
                    <a:pt x="430" y="157"/>
                  </a:cubicBezTo>
                  <a:cubicBezTo>
                    <a:pt x="431" y="157"/>
                    <a:pt x="431" y="153"/>
                    <a:pt x="431" y="153"/>
                  </a:cubicBezTo>
                  <a:cubicBezTo>
                    <a:pt x="432" y="153"/>
                    <a:pt x="435" y="153"/>
                    <a:pt x="435" y="153"/>
                  </a:cubicBezTo>
                  <a:cubicBezTo>
                    <a:pt x="436" y="153"/>
                    <a:pt x="439" y="157"/>
                    <a:pt x="441" y="158"/>
                  </a:cubicBezTo>
                  <a:cubicBezTo>
                    <a:pt x="442" y="158"/>
                    <a:pt x="442" y="159"/>
                    <a:pt x="442" y="160"/>
                  </a:cubicBezTo>
                  <a:cubicBezTo>
                    <a:pt x="441" y="161"/>
                    <a:pt x="441" y="163"/>
                    <a:pt x="441" y="165"/>
                  </a:cubicBezTo>
                  <a:cubicBezTo>
                    <a:pt x="441" y="166"/>
                    <a:pt x="439" y="167"/>
                    <a:pt x="439" y="169"/>
                  </a:cubicBezTo>
                  <a:cubicBezTo>
                    <a:pt x="439" y="171"/>
                    <a:pt x="437" y="182"/>
                    <a:pt x="437" y="183"/>
                  </a:cubicBezTo>
                  <a:cubicBezTo>
                    <a:pt x="437" y="184"/>
                    <a:pt x="432" y="188"/>
                    <a:pt x="431" y="190"/>
                  </a:cubicBezTo>
                  <a:cubicBezTo>
                    <a:pt x="430" y="192"/>
                    <a:pt x="427" y="196"/>
                    <a:pt x="425" y="198"/>
                  </a:cubicBezTo>
                  <a:cubicBezTo>
                    <a:pt x="423" y="201"/>
                    <a:pt x="417" y="207"/>
                    <a:pt x="415" y="208"/>
                  </a:cubicBezTo>
                  <a:cubicBezTo>
                    <a:pt x="413" y="210"/>
                    <a:pt x="411" y="212"/>
                    <a:pt x="409" y="211"/>
                  </a:cubicBezTo>
                  <a:cubicBezTo>
                    <a:pt x="407" y="209"/>
                    <a:pt x="407" y="209"/>
                    <a:pt x="405" y="209"/>
                  </a:cubicBezTo>
                  <a:cubicBezTo>
                    <a:pt x="403" y="210"/>
                    <a:pt x="404" y="211"/>
                    <a:pt x="402" y="212"/>
                  </a:cubicBezTo>
                  <a:cubicBezTo>
                    <a:pt x="401" y="212"/>
                    <a:pt x="401" y="212"/>
                    <a:pt x="400" y="213"/>
                  </a:cubicBezTo>
                  <a:cubicBezTo>
                    <a:pt x="399" y="209"/>
                    <a:pt x="399" y="209"/>
                    <a:pt x="399" y="209"/>
                  </a:cubicBezTo>
                  <a:cubicBezTo>
                    <a:pt x="399" y="209"/>
                    <a:pt x="400" y="209"/>
                    <a:pt x="400" y="209"/>
                  </a:cubicBezTo>
                  <a:cubicBezTo>
                    <a:pt x="401" y="208"/>
                    <a:pt x="402" y="202"/>
                    <a:pt x="401" y="201"/>
                  </a:cubicBezTo>
                  <a:cubicBezTo>
                    <a:pt x="400" y="200"/>
                    <a:pt x="403" y="200"/>
                    <a:pt x="404" y="199"/>
                  </a:cubicBezTo>
                  <a:cubicBezTo>
                    <a:pt x="406" y="199"/>
                    <a:pt x="410" y="200"/>
                    <a:pt x="410" y="200"/>
                  </a:cubicBezTo>
                  <a:cubicBezTo>
                    <a:pt x="411" y="200"/>
                    <a:pt x="413" y="194"/>
                    <a:pt x="413" y="192"/>
                  </a:cubicBezTo>
                  <a:cubicBezTo>
                    <a:pt x="413" y="191"/>
                    <a:pt x="416" y="188"/>
                    <a:pt x="416" y="187"/>
                  </a:cubicBezTo>
                  <a:cubicBezTo>
                    <a:pt x="416" y="187"/>
                    <a:pt x="416" y="185"/>
                    <a:pt x="415" y="184"/>
                  </a:cubicBezTo>
                  <a:cubicBezTo>
                    <a:pt x="414" y="182"/>
                    <a:pt x="409" y="186"/>
                    <a:pt x="407" y="187"/>
                  </a:cubicBezTo>
                  <a:cubicBezTo>
                    <a:pt x="407" y="187"/>
                    <a:pt x="402" y="187"/>
                    <a:pt x="402" y="187"/>
                  </a:cubicBezTo>
                  <a:cubicBezTo>
                    <a:pt x="401" y="187"/>
                    <a:pt x="400" y="182"/>
                    <a:pt x="399" y="180"/>
                  </a:cubicBezTo>
                  <a:cubicBezTo>
                    <a:pt x="398" y="180"/>
                    <a:pt x="391" y="179"/>
                    <a:pt x="389" y="177"/>
                  </a:cubicBezTo>
                  <a:cubicBezTo>
                    <a:pt x="388" y="177"/>
                    <a:pt x="388" y="175"/>
                    <a:pt x="388" y="174"/>
                  </a:cubicBezTo>
                  <a:cubicBezTo>
                    <a:pt x="387" y="173"/>
                    <a:pt x="383" y="162"/>
                    <a:pt x="382" y="161"/>
                  </a:cubicBezTo>
                  <a:cubicBezTo>
                    <a:pt x="381" y="160"/>
                    <a:pt x="377" y="159"/>
                    <a:pt x="374" y="158"/>
                  </a:cubicBezTo>
                  <a:cubicBezTo>
                    <a:pt x="372" y="156"/>
                    <a:pt x="364" y="158"/>
                    <a:pt x="362" y="158"/>
                  </a:cubicBezTo>
                  <a:cubicBezTo>
                    <a:pt x="360" y="159"/>
                    <a:pt x="358" y="161"/>
                    <a:pt x="358" y="162"/>
                  </a:cubicBezTo>
                  <a:cubicBezTo>
                    <a:pt x="358" y="163"/>
                    <a:pt x="361" y="163"/>
                    <a:pt x="361" y="163"/>
                  </a:cubicBezTo>
                  <a:cubicBezTo>
                    <a:pt x="362" y="164"/>
                    <a:pt x="362" y="165"/>
                    <a:pt x="361" y="167"/>
                  </a:cubicBezTo>
                  <a:cubicBezTo>
                    <a:pt x="360" y="168"/>
                    <a:pt x="356" y="173"/>
                    <a:pt x="356" y="174"/>
                  </a:cubicBezTo>
                  <a:cubicBezTo>
                    <a:pt x="356" y="175"/>
                    <a:pt x="352" y="177"/>
                    <a:pt x="352" y="177"/>
                  </a:cubicBezTo>
                  <a:cubicBezTo>
                    <a:pt x="351" y="178"/>
                    <a:pt x="346" y="177"/>
                    <a:pt x="346" y="177"/>
                  </a:cubicBezTo>
                  <a:cubicBezTo>
                    <a:pt x="342" y="175"/>
                    <a:pt x="342" y="175"/>
                    <a:pt x="342" y="175"/>
                  </a:cubicBezTo>
                  <a:cubicBezTo>
                    <a:pt x="340" y="175"/>
                    <a:pt x="336" y="173"/>
                    <a:pt x="333" y="176"/>
                  </a:cubicBezTo>
                  <a:cubicBezTo>
                    <a:pt x="330" y="179"/>
                    <a:pt x="327" y="179"/>
                    <a:pt x="325" y="180"/>
                  </a:cubicBezTo>
                  <a:cubicBezTo>
                    <a:pt x="323" y="180"/>
                    <a:pt x="316" y="180"/>
                    <a:pt x="314" y="179"/>
                  </a:cubicBezTo>
                  <a:cubicBezTo>
                    <a:pt x="313" y="178"/>
                    <a:pt x="312" y="175"/>
                    <a:pt x="311" y="175"/>
                  </a:cubicBezTo>
                  <a:cubicBezTo>
                    <a:pt x="310" y="174"/>
                    <a:pt x="304" y="173"/>
                    <a:pt x="303" y="173"/>
                  </a:cubicBezTo>
                  <a:cubicBezTo>
                    <a:pt x="301" y="173"/>
                    <a:pt x="298" y="174"/>
                    <a:pt x="296" y="174"/>
                  </a:cubicBezTo>
                  <a:cubicBezTo>
                    <a:pt x="294" y="174"/>
                    <a:pt x="291" y="173"/>
                    <a:pt x="290" y="172"/>
                  </a:cubicBezTo>
                  <a:cubicBezTo>
                    <a:pt x="290" y="170"/>
                    <a:pt x="290" y="169"/>
                    <a:pt x="290" y="168"/>
                  </a:cubicBezTo>
                  <a:cubicBezTo>
                    <a:pt x="290" y="167"/>
                    <a:pt x="278" y="165"/>
                    <a:pt x="277" y="164"/>
                  </a:cubicBezTo>
                  <a:cubicBezTo>
                    <a:pt x="276" y="164"/>
                    <a:pt x="274" y="168"/>
                    <a:pt x="274" y="169"/>
                  </a:cubicBezTo>
                  <a:cubicBezTo>
                    <a:pt x="274" y="170"/>
                    <a:pt x="276" y="174"/>
                    <a:pt x="275" y="175"/>
                  </a:cubicBezTo>
                  <a:cubicBezTo>
                    <a:pt x="273" y="176"/>
                    <a:pt x="272" y="177"/>
                    <a:pt x="270" y="177"/>
                  </a:cubicBezTo>
                  <a:cubicBezTo>
                    <a:pt x="268" y="176"/>
                    <a:pt x="262" y="176"/>
                    <a:pt x="261" y="175"/>
                  </a:cubicBezTo>
                  <a:cubicBezTo>
                    <a:pt x="260" y="174"/>
                    <a:pt x="258" y="172"/>
                    <a:pt x="258" y="172"/>
                  </a:cubicBezTo>
                  <a:cubicBezTo>
                    <a:pt x="258" y="171"/>
                    <a:pt x="252" y="172"/>
                    <a:pt x="251" y="172"/>
                  </a:cubicBezTo>
                  <a:cubicBezTo>
                    <a:pt x="249" y="173"/>
                    <a:pt x="244" y="174"/>
                    <a:pt x="243" y="175"/>
                  </a:cubicBezTo>
                  <a:cubicBezTo>
                    <a:pt x="242" y="176"/>
                    <a:pt x="238" y="178"/>
                    <a:pt x="238" y="178"/>
                  </a:cubicBezTo>
                  <a:cubicBezTo>
                    <a:pt x="235" y="180"/>
                    <a:pt x="235" y="180"/>
                    <a:pt x="235" y="180"/>
                  </a:cubicBezTo>
                  <a:cubicBezTo>
                    <a:pt x="235" y="180"/>
                    <a:pt x="233" y="180"/>
                    <a:pt x="232" y="179"/>
                  </a:cubicBezTo>
                  <a:cubicBezTo>
                    <a:pt x="231" y="179"/>
                    <a:pt x="231" y="178"/>
                    <a:pt x="230" y="177"/>
                  </a:cubicBezTo>
                  <a:cubicBezTo>
                    <a:pt x="229" y="177"/>
                    <a:pt x="228" y="177"/>
                    <a:pt x="227" y="177"/>
                  </a:cubicBezTo>
                  <a:cubicBezTo>
                    <a:pt x="225" y="178"/>
                    <a:pt x="224" y="177"/>
                    <a:pt x="223" y="177"/>
                  </a:cubicBezTo>
                  <a:cubicBezTo>
                    <a:pt x="222" y="175"/>
                    <a:pt x="219" y="171"/>
                    <a:pt x="218" y="171"/>
                  </a:cubicBezTo>
                  <a:cubicBezTo>
                    <a:pt x="216" y="170"/>
                    <a:pt x="213" y="172"/>
                    <a:pt x="211" y="171"/>
                  </a:cubicBezTo>
                  <a:cubicBezTo>
                    <a:pt x="209" y="170"/>
                    <a:pt x="209" y="169"/>
                    <a:pt x="208" y="169"/>
                  </a:cubicBezTo>
                  <a:cubicBezTo>
                    <a:pt x="207" y="169"/>
                    <a:pt x="204" y="171"/>
                    <a:pt x="204" y="171"/>
                  </a:cubicBezTo>
                  <a:cubicBezTo>
                    <a:pt x="204" y="171"/>
                    <a:pt x="194" y="158"/>
                    <a:pt x="193" y="157"/>
                  </a:cubicBezTo>
                  <a:cubicBezTo>
                    <a:pt x="193" y="155"/>
                    <a:pt x="191" y="153"/>
                    <a:pt x="191" y="153"/>
                  </a:cubicBezTo>
                  <a:cubicBezTo>
                    <a:pt x="190" y="153"/>
                    <a:pt x="185" y="156"/>
                    <a:pt x="184" y="156"/>
                  </a:cubicBezTo>
                  <a:cubicBezTo>
                    <a:pt x="182" y="157"/>
                    <a:pt x="180" y="158"/>
                    <a:pt x="179" y="158"/>
                  </a:cubicBezTo>
                  <a:cubicBezTo>
                    <a:pt x="178" y="158"/>
                    <a:pt x="178" y="155"/>
                    <a:pt x="178" y="155"/>
                  </a:cubicBezTo>
                  <a:cubicBezTo>
                    <a:pt x="178" y="154"/>
                    <a:pt x="170" y="154"/>
                    <a:pt x="170" y="154"/>
                  </a:cubicBezTo>
                  <a:cubicBezTo>
                    <a:pt x="169" y="153"/>
                    <a:pt x="169" y="149"/>
                    <a:pt x="168" y="148"/>
                  </a:cubicBezTo>
                  <a:cubicBezTo>
                    <a:pt x="168" y="148"/>
                    <a:pt x="163" y="148"/>
                    <a:pt x="162" y="148"/>
                  </a:cubicBezTo>
                  <a:cubicBezTo>
                    <a:pt x="161" y="148"/>
                    <a:pt x="159" y="149"/>
                    <a:pt x="158" y="149"/>
                  </a:cubicBezTo>
                  <a:cubicBezTo>
                    <a:pt x="158" y="150"/>
                    <a:pt x="152" y="151"/>
                    <a:pt x="150" y="152"/>
                  </a:cubicBezTo>
                  <a:cubicBezTo>
                    <a:pt x="149" y="152"/>
                    <a:pt x="137" y="155"/>
                    <a:pt x="136" y="155"/>
                  </a:cubicBezTo>
                  <a:cubicBezTo>
                    <a:pt x="134" y="155"/>
                    <a:pt x="132" y="155"/>
                    <a:pt x="132" y="155"/>
                  </a:cubicBezTo>
                  <a:cubicBezTo>
                    <a:pt x="131" y="155"/>
                    <a:pt x="130" y="160"/>
                    <a:pt x="130" y="160"/>
                  </a:cubicBezTo>
                  <a:cubicBezTo>
                    <a:pt x="130" y="161"/>
                    <a:pt x="131" y="162"/>
                    <a:pt x="131" y="163"/>
                  </a:cubicBezTo>
                  <a:cubicBezTo>
                    <a:pt x="130" y="164"/>
                    <a:pt x="128" y="165"/>
                    <a:pt x="127" y="165"/>
                  </a:cubicBezTo>
                  <a:cubicBezTo>
                    <a:pt x="126" y="166"/>
                    <a:pt x="133" y="168"/>
                    <a:pt x="133" y="168"/>
                  </a:cubicBezTo>
                  <a:cubicBezTo>
                    <a:pt x="133" y="169"/>
                    <a:pt x="133" y="171"/>
                    <a:pt x="132" y="171"/>
                  </a:cubicBezTo>
                  <a:cubicBezTo>
                    <a:pt x="131" y="172"/>
                    <a:pt x="128" y="172"/>
                    <a:pt x="127" y="172"/>
                  </a:cubicBezTo>
                  <a:cubicBezTo>
                    <a:pt x="126" y="172"/>
                    <a:pt x="126" y="172"/>
                    <a:pt x="124" y="172"/>
                  </a:cubicBezTo>
                  <a:cubicBezTo>
                    <a:pt x="123" y="172"/>
                    <a:pt x="120" y="170"/>
                    <a:pt x="119" y="170"/>
                  </a:cubicBezTo>
                  <a:cubicBezTo>
                    <a:pt x="118" y="170"/>
                    <a:pt x="115" y="170"/>
                    <a:pt x="114" y="170"/>
                  </a:cubicBezTo>
                  <a:cubicBezTo>
                    <a:pt x="112" y="170"/>
                    <a:pt x="111" y="172"/>
                    <a:pt x="110" y="173"/>
                  </a:cubicBezTo>
                  <a:cubicBezTo>
                    <a:pt x="110" y="173"/>
                    <a:pt x="106" y="172"/>
                    <a:pt x="106" y="172"/>
                  </a:cubicBezTo>
                  <a:cubicBezTo>
                    <a:pt x="105" y="172"/>
                    <a:pt x="101" y="168"/>
                    <a:pt x="101" y="168"/>
                  </a:cubicBezTo>
                  <a:cubicBezTo>
                    <a:pt x="100" y="167"/>
                    <a:pt x="92" y="167"/>
                    <a:pt x="91" y="167"/>
                  </a:cubicBezTo>
                  <a:cubicBezTo>
                    <a:pt x="90" y="167"/>
                    <a:pt x="84" y="171"/>
                    <a:pt x="83" y="172"/>
                  </a:cubicBezTo>
                  <a:cubicBezTo>
                    <a:pt x="83" y="172"/>
                    <a:pt x="84" y="175"/>
                    <a:pt x="84" y="175"/>
                  </a:cubicBezTo>
                  <a:cubicBezTo>
                    <a:pt x="83" y="175"/>
                    <a:pt x="82" y="177"/>
                    <a:pt x="81" y="177"/>
                  </a:cubicBezTo>
                  <a:cubicBezTo>
                    <a:pt x="81" y="177"/>
                    <a:pt x="78" y="173"/>
                    <a:pt x="78" y="173"/>
                  </a:cubicBezTo>
                  <a:cubicBezTo>
                    <a:pt x="77" y="174"/>
                    <a:pt x="75" y="175"/>
                    <a:pt x="75" y="177"/>
                  </a:cubicBezTo>
                  <a:cubicBezTo>
                    <a:pt x="75" y="177"/>
                    <a:pt x="74" y="184"/>
                    <a:pt x="74" y="184"/>
                  </a:cubicBezTo>
                  <a:cubicBezTo>
                    <a:pt x="74" y="184"/>
                    <a:pt x="76" y="186"/>
                    <a:pt x="77" y="187"/>
                  </a:cubicBezTo>
                  <a:cubicBezTo>
                    <a:pt x="78" y="187"/>
                    <a:pt x="81" y="188"/>
                    <a:pt x="82" y="189"/>
                  </a:cubicBezTo>
                  <a:cubicBezTo>
                    <a:pt x="83" y="190"/>
                    <a:pt x="83" y="191"/>
                    <a:pt x="82" y="192"/>
                  </a:cubicBezTo>
                  <a:cubicBezTo>
                    <a:pt x="85" y="195"/>
                    <a:pt x="85" y="195"/>
                    <a:pt x="85" y="195"/>
                  </a:cubicBezTo>
                  <a:cubicBezTo>
                    <a:pt x="84" y="195"/>
                    <a:pt x="84" y="196"/>
                    <a:pt x="83" y="196"/>
                  </a:cubicBezTo>
                  <a:cubicBezTo>
                    <a:pt x="83" y="197"/>
                    <a:pt x="81" y="197"/>
                    <a:pt x="80" y="197"/>
                  </a:cubicBezTo>
                  <a:cubicBezTo>
                    <a:pt x="79" y="197"/>
                    <a:pt x="78" y="198"/>
                    <a:pt x="78" y="199"/>
                  </a:cubicBezTo>
                  <a:cubicBezTo>
                    <a:pt x="78" y="201"/>
                    <a:pt x="75" y="201"/>
                    <a:pt x="75" y="202"/>
                  </a:cubicBezTo>
                  <a:cubicBezTo>
                    <a:pt x="75" y="203"/>
                    <a:pt x="76" y="203"/>
                    <a:pt x="77" y="204"/>
                  </a:cubicBezTo>
                  <a:cubicBezTo>
                    <a:pt x="78" y="204"/>
                    <a:pt x="79" y="205"/>
                    <a:pt x="78" y="206"/>
                  </a:cubicBezTo>
                  <a:cubicBezTo>
                    <a:pt x="78" y="207"/>
                    <a:pt x="78" y="209"/>
                    <a:pt x="78" y="210"/>
                  </a:cubicBezTo>
                  <a:cubicBezTo>
                    <a:pt x="79" y="211"/>
                    <a:pt x="81" y="213"/>
                    <a:pt x="82" y="215"/>
                  </a:cubicBezTo>
                  <a:cubicBezTo>
                    <a:pt x="80" y="217"/>
                    <a:pt x="80" y="217"/>
                    <a:pt x="80" y="217"/>
                  </a:cubicBezTo>
                  <a:cubicBezTo>
                    <a:pt x="80" y="217"/>
                    <a:pt x="79" y="218"/>
                    <a:pt x="78" y="218"/>
                  </a:cubicBezTo>
                  <a:cubicBezTo>
                    <a:pt x="78" y="218"/>
                    <a:pt x="76" y="217"/>
                    <a:pt x="75" y="216"/>
                  </a:cubicBezTo>
                  <a:cubicBezTo>
                    <a:pt x="75" y="215"/>
                    <a:pt x="74" y="215"/>
                    <a:pt x="74" y="215"/>
                  </a:cubicBezTo>
                  <a:cubicBezTo>
                    <a:pt x="73" y="214"/>
                    <a:pt x="70" y="211"/>
                    <a:pt x="69" y="211"/>
                  </a:cubicBezTo>
                  <a:cubicBezTo>
                    <a:pt x="68" y="211"/>
                    <a:pt x="67" y="211"/>
                    <a:pt x="65" y="211"/>
                  </a:cubicBezTo>
                  <a:cubicBezTo>
                    <a:pt x="64" y="211"/>
                    <a:pt x="63" y="211"/>
                    <a:pt x="62" y="210"/>
                  </a:cubicBezTo>
                  <a:cubicBezTo>
                    <a:pt x="61" y="209"/>
                    <a:pt x="58" y="208"/>
                    <a:pt x="57" y="207"/>
                  </a:cubicBezTo>
                  <a:cubicBezTo>
                    <a:pt x="56" y="207"/>
                    <a:pt x="51" y="206"/>
                    <a:pt x="50" y="206"/>
                  </a:cubicBezTo>
                  <a:cubicBezTo>
                    <a:pt x="50" y="206"/>
                    <a:pt x="49" y="208"/>
                    <a:pt x="49" y="208"/>
                  </a:cubicBezTo>
                  <a:cubicBezTo>
                    <a:pt x="48" y="208"/>
                    <a:pt x="48" y="208"/>
                    <a:pt x="48" y="207"/>
                  </a:cubicBezTo>
                  <a:cubicBezTo>
                    <a:pt x="46" y="206"/>
                    <a:pt x="44" y="204"/>
                    <a:pt x="43" y="204"/>
                  </a:cubicBezTo>
                  <a:cubicBezTo>
                    <a:pt x="42" y="203"/>
                    <a:pt x="40" y="202"/>
                    <a:pt x="39" y="202"/>
                  </a:cubicBezTo>
                  <a:cubicBezTo>
                    <a:pt x="38" y="201"/>
                    <a:pt x="36" y="202"/>
                    <a:pt x="36" y="201"/>
                  </a:cubicBezTo>
                  <a:cubicBezTo>
                    <a:pt x="36" y="200"/>
                    <a:pt x="36" y="198"/>
                    <a:pt x="37" y="198"/>
                  </a:cubicBezTo>
                  <a:cubicBezTo>
                    <a:pt x="37" y="198"/>
                    <a:pt x="39" y="199"/>
                    <a:pt x="40" y="198"/>
                  </a:cubicBezTo>
                  <a:cubicBezTo>
                    <a:pt x="40" y="198"/>
                    <a:pt x="42" y="195"/>
                    <a:pt x="42" y="194"/>
                  </a:cubicBezTo>
                  <a:cubicBezTo>
                    <a:pt x="42" y="194"/>
                    <a:pt x="41" y="193"/>
                    <a:pt x="41" y="193"/>
                  </a:cubicBezTo>
                  <a:cubicBezTo>
                    <a:pt x="42" y="192"/>
                    <a:pt x="46" y="191"/>
                    <a:pt x="46" y="191"/>
                  </a:cubicBezTo>
                  <a:cubicBezTo>
                    <a:pt x="47" y="191"/>
                    <a:pt x="46" y="189"/>
                    <a:pt x="45" y="188"/>
                  </a:cubicBezTo>
                  <a:cubicBezTo>
                    <a:pt x="45" y="188"/>
                    <a:pt x="44" y="189"/>
                    <a:pt x="42" y="189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3" y="186"/>
                    <a:pt x="47" y="186"/>
                    <a:pt x="47" y="186"/>
                  </a:cubicBezTo>
                  <a:cubicBezTo>
                    <a:pt x="48" y="186"/>
                    <a:pt x="49" y="184"/>
                    <a:pt x="49" y="183"/>
                  </a:cubicBezTo>
                  <a:cubicBezTo>
                    <a:pt x="49" y="182"/>
                    <a:pt x="49" y="179"/>
                    <a:pt x="49" y="178"/>
                  </a:cubicBezTo>
                  <a:cubicBezTo>
                    <a:pt x="49" y="177"/>
                    <a:pt x="43" y="176"/>
                    <a:pt x="42" y="175"/>
                  </a:cubicBezTo>
                  <a:cubicBezTo>
                    <a:pt x="41" y="175"/>
                    <a:pt x="33" y="174"/>
                    <a:pt x="32" y="173"/>
                  </a:cubicBezTo>
                  <a:cubicBezTo>
                    <a:pt x="31" y="172"/>
                    <a:pt x="31" y="170"/>
                    <a:pt x="30" y="169"/>
                  </a:cubicBezTo>
                  <a:cubicBezTo>
                    <a:pt x="29" y="169"/>
                    <a:pt x="27" y="170"/>
                    <a:pt x="27" y="168"/>
                  </a:cubicBezTo>
                  <a:cubicBezTo>
                    <a:pt x="27" y="167"/>
                    <a:pt x="26" y="164"/>
                    <a:pt x="25" y="163"/>
                  </a:cubicBezTo>
                  <a:cubicBezTo>
                    <a:pt x="25" y="163"/>
                    <a:pt x="21" y="164"/>
                    <a:pt x="20" y="164"/>
                  </a:cubicBezTo>
                  <a:cubicBezTo>
                    <a:pt x="20" y="164"/>
                    <a:pt x="18" y="164"/>
                    <a:pt x="16" y="164"/>
                  </a:cubicBezTo>
                  <a:cubicBezTo>
                    <a:pt x="16" y="164"/>
                    <a:pt x="15" y="160"/>
                    <a:pt x="15" y="160"/>
                  </a:cubicBezTo>
                  <a:cubicBezTo>
                    <a:pt x="15" y="159"/>
                    <a:pt x="20" y="160"/>
                    <a:pt x="20" y="159"/>
                  </a:cubicBezTo>
                  <a:cubicBezTo>
                    <a:pt x="20" y="158"/>
                    <a:pt x="17" y="155"/>
                    <a:pt x="16" y="154"/>
                  </a:cubicBezTo>
                  <a:cubicBezTo>
                    <a:pt x="15" y="153"/>
                    <a:pt x="13" y="151"/>
                    <a:pt x="13" y="150"/>
                  </a:cubicBezTo>
                  <a:cubicBezTo>
                    <a:pt x="13" y="149"/>
                    <a:pt x="14" y="147"/>
                    <a:pt x="13" y="146"/>
                  </a:cubicBezTo>
                  <a:cubicBezTo>
                    <a:pt x="12" y="145"/>
                    <a:pt x="9" y="145"/>
                    <a:pt x="8" y="14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4" name="Freeform 6376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016227" y="3955856"/>
              <a:ext cx="134369" cy="143994"/>
            </a:xfrm>
            <a:custGeom>
              <a:avLst/>
              <a:gdLst>
                <a:gd name="T0" fmla="*/ 0 w 22"/>
                <a:gd name="T1" fmla="*/ 22 h 22"/>
                <a:gd name="T2" fmla="*/ 2 w 22"/>
                <a:gd name="T3" fmla="*/ 17 h 22"/>
                <a:gd name="T4" fmla="*/ 5 w 22"/>
                <a:gd name="T5" fmla="*/ 13 h 22"/>
                <a:gd name="T6" fmla="*/ 8 w 22"/>
                <a:gd name="T7" fmla="*/ 9 h 22"/>
                <a:gd name="T8" fmla="*/ 6 w 22"/>
                <a:gd name="T9" fmla="*/ 7 h 22"/>
                <a:gd name="T10" fmla="*/ 7 w 22"/>
                <a:gd name="T11" fmla="*/ 3 h 22"/>
                <a:gd name="T12" fmla="*/ 12 w 22"/>
                <a:gd name="T13" fmla="*/ 2 h 22"/>
                <a:gd name="T14" fmla="*/ 17 w 22"/>
                <a:gd name="T15" fmla="*/ 2 h 22"/>
                <a:gd name="T16" fmla="*/ 18 w 22"/>
                <a:gd name="T17" fmla="*/ 0 h 22"/>
                <a:gd name="T18" fmla="*/ 20 w 22"/>
                <a:gd name="T19" fmla="*/ 4 h 22"/>
                <a:gd name="T20" fmla="*/ 22 w 22"/>
                <a:gd name="T21" fmla="*/ 9 h 22"/>
                <a:gd name="T22" fmla="*/ 18 w 22"/>
                <a:gd name="T23" fmla="*/ 16 h 22"/>
                <a:gd name="T24" fmla="*/ 18 w 22"/>
                <a:gd name="T25" fmla="*/ 20 h 22"/>
                <a:gd name="T26" fmla="*/ 5 w 22"/>
                <a:gd name="T27" fmla="*/ 20 h 22"/>
                <a:gd name="T28" fmla="*/ 3 w 22"/>
                <a:gd name="T29" fmla="*/ 22 h 22"/>
                <a:gd name="T30" fmla="*/ 0 w 22"/>
                <a:gd name="T3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22">
                  <a:moveTo>
                    <a:pt x="0" y="22"/>
                  </a:moveTo>
                  <a:cubicBezTo>
                    <a:pt x="1" y="21"/>
                    <a:pt x="2" y="18"/>
                    <a:pt x="2" y="17"/>
                  </a:cubicBezTo>
                  <a:cubicBezTo>
                    <a:pt x="2" y="16"/>
                    <a:pt x="3" y="14"/>
                    <a:pt x="5" y="13"/>
                  </a:cubicBezTo>
                  <a:cubicBezTo>
                    <a:pt x="6" y="12"/>
                    <a:pt x="8" y="9"/>
                    <a:pt x="8" y="9"/>
                  </a:cubicBezTo>
                  <a:cubicBezTo>
                    <a:pt x="8" y="9"/>
                    <a:pt x="6" y="7"/>
                    <a:pt x="6" y="7"/>
                  </a:cubicBezTo>
                  <a:cubicBezTo>
                    <a:pt x="6" y="6"/>
                    <a:pt x="6" y="3"/>
                    <a:pt x="7" y="3"/>
                  </a:cubicBezTo>
                  <a:cubicBezTo>
                    <a:pt x="7" y="2"/>
                    <a:pt x="11" y="2"/>
                    <a:pt x="12" y="2"/>
                  </a:cubicBezTo>
                  <a:cubicBezTo>
                    <a:pt x="14" y="2"/>
                    <a:pt x="17" y="2"/>
                    <a:pt x="1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5"/>
                    <a:pt x="22" y="7"/>
                    <a:pt x="22" y="9"/>
                  </a:cubicBezTo>
                  <a:cubicBezTo>
                    <a:pt x="21" y="11"/>
                    <a:pt x="18" y="15"/>
                    <a:pt x="18" y="16"/>
                  </a:cubicBezTo>
                  <a:cubicBezTo>
                    <a:pt x="18" y="17"/>
                    <a:pt x="18" y="20"/>
                    <a:pt x="1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5" name="Freeform 6377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5013102" y="4126640"/>
              <a:ext cx="46873" cy="53579"/>
            </a:xfrm>
            <a:custGeom>
              <a:avLst/>
              <a:gdLst>
                <a:gd name="T0" fmla="*/ 0 w 8"/>
                <a:gd name="T1" fmla="*/ 5 h 8"/>
                <a:gd name="T2" fmla="*/ 0 w 8"/>
                <a:gd name="T3" fmla="*/ 2 h 8"/>
                <a:gd name="T4" fmla="*/ 2 w 8"/>
                <a:gd name="T5" fmla="*/ 2 h 8"/>
                <a:gd name="T6" fmla="*/ 4 w 8"/>
                <a:gd name="T7" fmla="*/ 0 h 8"/>
                <a:gd name="T8" fmla="*/ 7 w 8"/>
                <a:gd name="T9" fmla="*/ 1 h 8"/>
                <a:gd name="T10" fmla="*/ 8 w 8"/>
                <a:gd name="T11" fmla="*/ 3 h 8"/>
                <a:gd name="T12" fmla="*/ 4 w 8"/>
                <a:gd name="T13" fmla="*/ 7 h 8"/>
                <a:gd name="T14" fmla="*/ 1 w 8"/>
                <a:gd name="T15" fmla="*/ 8 h 8"/>
                <a:gd name="T16" fmla="*/ 0 w 8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0" y="5"/>
                  </a:move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4" y="2"/>
                    <a:pt x="3" y="0"/>
                    <a:pt x="4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6" y="1"/>
                    <a:pt x="8" y="2"/>
                    <a:pt x="8" y="3"/>
                  </a:cubicBezTo>
                  <a:cubicBezTo>
                    <a:pt x="7" y="4"/>
                    <a:pt x="5" y="6"/>
                    <a:pt x="4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5"/>
                    <a:pt x="0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6" name="Freeform 6378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4994353" y="4270632"/>
              <a:ext cx="118744" cy="167434"/>
            </a:xfrm>
            <a:custGeom>
              <a:avLst/>
              <a:gdLst>
                <a:gd name="T0" fmla="*/ 2 w 20"/>
                <a:gd name="T1" fmla="*/ 13 h 26"/>
                <a:gd name="T2" fmla="*/ 1 w 20"/>
                <a:gd name="T3" fmla="*/ 5 h 26"/>
                <a:gd name="T4" fmla="*/ 3 w 20"/>
                <a:gd name="T5" fmla="*/ 1 h 26"/>
                <a:gd name="T6" fmla="*/ 10 w 20"/>
                <a:gd name="T7" fmla="*/ 0 h 26"/>
                <a:gd name="T8" fmla="*/ 10 w 20"/>
                <a:gd name="T9" fmla="*/ 1 h 26"/>
                <a:gd name="T10" fmla="*/ 18 w 20"/>
                <a:gd name="T11" fmla="*/ 5 h 26"/>
                <a:gd name="T12" fmla="*/ 19 w 20"/>
                <a:gd name="T13" fmla="*/ 6 h 26"/>
                <a:gd name="T14" fmla="*/ 20 w 20"/>
                <a:gd name="T15" fmla="*/ 8 h 26"/>
                <a:gd name="T16" fmla="*/ 19 w 20"/>
                <a:gd name="T17" fmla="*/ 11 h 26"/>
                <a:gd name="T18" fmla="*/ 20 w 20"/>
                <a:gd name="T19" fmla="*/ 16 h 26"/>
                <a:gd name="T20" fmla="*/ 18 w 20"/>
                <a:gd name="T21" fmla="*/ 19 h 26"/>
                <a:gd name="T22" fmla="*/ 18 w 20"/>
                <a:gd name="T23" fmla="*/ 23 h 26"/>
                <a:gd name="T24" fmla="*/ 8 w 20"/>
                <a:gd name="T25" fmla="*/ 26 h 26"/>
                <a:gd name="T26" fmla="*/ 5 w 20"/>
                <a:gd name="T27" fmla="*/ 21 h 26"/>
                <a:gd name="T28" fmla="*/ 5 w 20"/>
                <a:gd name="T29" fmla="*/ 21 h 26"/>
                <a:gd name="T30" fmla="*/ 6 w 20"/>
                <a:gd name="T31" fmla="*/ 16 h 26"/>
                <a:gd name="T32" fmla="*/ 2 w 20"/>
                <a:gd name="T33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26">
                  <a:moveTo>
                    <a:pt x="2" y="13"/>
                  </a:moveTo>
                  <a:cubicBezTo>
                    <a:pt x="1" y="11"/>
                    <a:pt x="2" y="6"/>
                    <a:pt x="1" y="5"/>
                  </a:cubicBezTo>
                  <a:cubicBezTo>
                    <a:pt x="0" y="4"/>
                    <a:pt x="3" y="1"/>
                    <a:pt x="3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1" y="3"/>
                    <a:pt x="17" y="5"/>
                    <a:pt x="18" y="5"/>
                  </a:cubicBezTo>
                  <a:cubicBezTo>
                    <a:pt x="19" y="5"/>
                    <a:pt x="19" y="6"/>
                    <a:pt x="19" y="6"/>
                  </a:cubicBezTo>
                  <a:cubicBezTo>
                    <a:pt x="20" y="7"/>
                    <a:pt x="20" y="8"/>
                    <a:pt x="20" y="8"/>
                  </a:cubicBezTo>
                  <a:cubicBezTo>
                    <a:pt x="20" y="9"/>
                    <a:pt x="20" y="10"/>
                    <a:pt x="19" y="11"/>
                  </a:cubicBezTo>
                  <a:cubicBezTo>
                    <a:pt x="19" y="12"/>
                    <a:pt x="20" y="15"/>
                    <a:pt x="20" y="16"/>
                  </a:cubicBezTo>
                  <a:cubicBezTo>
                    <a:pt x="20" y="17"/>
                    <a:pt x="19" y="18"/>
                    <a:pt x="18" y="19"/>
                  </a:cubicBezTo>
                  <a:cubicBezTo>
                    <a:pt x="18" y="21"/>
                    <a:pt x="18" y="23"/>
                    <a:pt x="18" y="23"/>
                  </a:cubicBezTo>
                  <a:cubicBezTo>
                    <a:pt x="18" y="23"/>
                    <a:pt x="9" y="26"/>
                    <a:pt x="8" y="2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17"/>
                    <a:pt x="6" y="16"/>
                  </a:cubicBezTo>
                  <a:cubicBezTo>
                    <a:pt x="6" y="15"/>
                    <a:pt x="2" y="14"/>
                    <a:pt x="2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7" name="Freeform 6379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5016227" y="4086456"/>
              <a:ext cx="265612" cy="274592"/>
            </a:xfrm>
            <a:custGeom>
              <a:avLst/>
              <a:gdLst>
                <a:gd name="T0" fmla="*/ 1 w 44"/>
                <a:gd name="T1" fmla="*/ 20 h 42"/>
                <a:gd name="T2" fmla="*/ 0 w 44"/>
                <a:gd name="T3" fmla="*/ 14 h 42"/>
                <a:gd name="T4" fmla="*/ 3 w 44"/>
                <a:gd name="T5" fmla="*/ 14 h 42"/>
                <a:gd name="T6" fmla="*/ 7 w 44"/>
                <a:gd name="T7" fmla="*/ 10 h 42"/>
                <a:gd name="T8" fmla="*/ 6 w 44"/>
                <a:gd name="T9" fmla="*/ 7 h 42"/>
                <a:gd name="T10" fmla="*/ 7 w 44"/>
                <a:gd name="T11" fmla="*/ 3 h 42"/>
                <a:gd name="T12" fmla="*/ 5 w 44"/>
                <a:gd name="T13" fmla="*/ 0 h 42"/>
                <a:gd name="T14" fmla="*/ 18 w 44"/>
                <a:gd name="T15" fmla="*/ 0 h 42"/>
                <a:gd name="T16" fmla="*/ 32 w 44"/>
                <a:gd name="T17" fmla="*/ 8 h 42"/>
                <a:gd name="T18" fmla="*/ 34 w 44"/>
                <a:gd name="T19" fmla="*/ 12 h 42"/>
                <a:gd name="T20" fmla="*/ 39 w 44"/>
                <a:gd name="T21" fmla="*/ 15 h 42"/>
                <a:gd name="T22" fmla="*/ 37 w 44"/>
                <a:gd name="T23" fmla="*/ 21 h 42"/>
                <a:gd name="T24" fmla="*/ 40 w 44"/>
                <a:gd name="T25" fmla="*/ 24 h 42"/>
                <a:gd name="T26" fmla="*/ 39 w 44"/>
                <a:gd name="T27" fmla="*/ 28 h 42"/>
                <a:gd name="T28" fmla="*/ 41 w 44"/>
                <a:gd name="T29" fmla="*/ 35 h 42"/>
                <a:gd name="T30" fmla="*/ 44 w 44"/>
                <a:gd name="T31" fmla="*/ 37 h 42"/>
                <a:gd name="T32" fmla="*/ 39 w 44"/>
                <a:gd name="T33" fmla="*/ 40 h 42"/>
                <a:gd name="T34" fmla="*/ 34 w 44"/>
                <a:gd name="T35" fmla="*/ 41 h 42"/>
                <a:gd name="T36" fmla="*/ 29 w 44"/>
                <a:gd name="T37" fmla="*/ 42 h 42"/>
                <a:gd name="T38" fmla="*/ 25 w 44"/>
                <a:gd name="T39" fmla="*/ 41 h 42"/>
                <a:gd name="T40" fmla="*/ 23 w 44"/>
                <a:gd name="T41" fmla="*/ 42 h 42"/>
                <a:gd name="T42" fmla="*/ 20 w 44"/>
                <a:gd name="T43" fmla="*/ 35 h 42"/>
                <a:gd name="T44" fmla="*/ 18 w 44"/>
                <a:gd name="T45" fmla="*/ 34 h 42"/>
                <a:gd name="T46" fmla="*/ 15 w 44"/>
                <a:gd name="T47" fmla="*/ 34 h 42"/>
                <a:gd name="T48" fmla="*/ 14 w 44"/>
                <a:gd name="T49" fmla="*/ 33 h 42"/>
                <a:gd name="T50" fmla="*/ 6 w 44"/>
                <a:gd name="T51" fmla="*/ 29 h 42"/>
                <a:gd name="T52" fmla="*/ 6 w 44"/>
                <a:gd name="T53" fmla="*/ 28 h 42"/>
                <a:gd name="T54" fmla="*/ 4 w 44"/>
                <a:gd name="T55" fmla="*/ 24 h 42"/>
                <a:gd name="T56" fmla="*/ 1 w 44"/>
                <a:gd name="T57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42">
                  <a:moveTo>
                    <a:pt x="1" y="20"/>
                  </a:moveTo>
                  <a:cubicBezTo>
                    <a:pt x="1" y="19"/>
                    <a:pt x="1" y="16"/>
                    <a:pt x="0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6" y="10"/>
                    <a:pt x="7" y="10"/>
                  </a:cubicBezTo>
                  <a:cubicBezTo>
                    <a:pt x="7" y="9"/>
                    <a:pt x="5" y="8"/>
                    <a:pt x="6" y="7"/>
                  </a:cubicBezTo>
                  <a:cubicBezTo>
                    <a:pt x="6" y="6"/>
                    <a:pt x="7" y="5"/>
                    <a:pt x="7" y="3"/>
                  </a:cubicBezTo>
                  <a:cubicBezTo>
                    <a:pt x="6" y="3"/>
                    <a:pt x="5" y="0"/>
                    <a:pt x="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31" y="8"/>
                    <a:pt x="32" y="8"/>
                  </a:cubicBezTo>
                  <a:cubicBezTo>
                    <a:pt x="33" y="9"/>
                    <a:pt x="33" y="11"/>
                    <a:pt x="34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8" y="17"/>
                    <a:pt x="37" y="19"/>
                    <a:pt x="37" y="21"/>
                  </a:cubicBezTo>
                  <a:cubicBezTo>
                    <a:pt x="37" y="22"/>
                    <a:pt x="41" y="23"/>
                    <a:pt x="40" y="24"/>
                  </a:cubicBezTo>
                  <a:cubicBezTo>
                    <a:pt x="39" y="25"/>
                    <a:pt x="39" y="26"/>
                    <a:pt x="39" y="28"/>
                  </a:cubicBezTo>
                  <a:cubicBezTo>
                    <a:pt x="39" y="30"/>
                    <a:pt x="40" y="33"/>
                    <a:pt x="41" y="35"/>
                  </a:cubicBezTo>
                  <a:cubicBezTo>
                    <a:pt x="42" y="36"/>
                    <a:pt x="44" y="37"/>
                    <a:pt x="44" y="37"/>
                  </a:cubicBezTo>
                  <a:cubicBezTo>
                    <a:pt x="44" y="37"/>
                    <a:pt x="40" y="39"/>
                    <a:pt x="39" y="40"/>
                  </a:cubicBezTo>
                  <a:cubicBezTo>
                    <a:pt x="38" y="40"/>
                    <a:pt x="35" y="40"/>
                    <a:pt x="34" y="41"/>
                  </a:cubicBezTo>
                  <a:cubicBezTo>
                    <a:pt x="33" y="41"/>
                    <a:pt x="31" y="42"/>
                    <a:pt x="29" y="42"/>
                  </a:cubicBezTo>
                  <a:cubicBezTo>
                    <a:pt x="28" y="42"/>
                    <a:pt x="26" y="42"/>
                    <a:pt x="25" y="41"/>
                  </a:cubicBezTo>
                  <a:cubicBezTo>
                    <a:pt x="25" y="41"/>
                    <a:pt x="24" y="42"/>
                    <a:pt x="23" y="42"/>
                  </a:cubicBezTo>
                  <a:cubicBezTo>
                    <a:pt x="23" y="42"/>
                    <a:pt x="21" y="36"/>
                    <a:pt x="20" y="35"/>
                  </a:cubicBezTo>
                  <a:cubicBezTo>
                    <a:pt x="20" y="34"/>
                    <a:pt x="18" y="34"/>
                    <a:pt x="18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3"/>
                    <a:pt x="14" y="33"/>
                  </a:cubicBezTo>
                  <a:cubicBezTo>
                    <a:pt x="13" y="33"/>
                    <a:pt x="7" y="31"/>
                    <a:pt x="6" y="29"/>
                  </a:cubicBezTo>
                  <a:cubicBezTo>
                    <a:pt x="6" y="29"/>
                    <a:pt x="6" y="28"/>
                    <a:pt x="6" y="28"/>
                  </a:cubicBezTo>
                  <a:cubicBezTo>
                    <a:pt x="5" y="26"/>
                    <a:pt x="5" y="24"/>
                    <a:pt x="4" y="24"/>
                  </a:cubicBezTo>
                  <a:cubicBezTo>
                    <a:pt x="3" y="23"/>
                    <a:pt x="1" y="21"/>
                    <a:pt x="1" y="2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8" name="Freeform 6380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5006853" y="4086456"/>
              <a:ext cx="53122" cy="50230"/>
            </a:xfrm>
            <a:custGeom>
              <a:avLst/>
              <a:gdLst>
                <a:gd name="T0" fmla="*/ 3 w 9"/>
                <a:gd name="T1" fmla="*/ 8 h 8"/>
                <a:gd name="T2" fmla="*/ 1 w 9"/>
                <a:gd name="T3" fmla="*/ 8 h 8"/>
                <a:gd name="T4" fmla="*/ 0 w 9"/>
                <a:gd name="T5" fmla="*/ 6 h 8"/>
                <a:gd name="T6" fmla="*/ 2 w 9"/>
                <a:gd name="T7" fmla="*/ 2 h 8"/>
                <a:gd name="T8" fmla="*/ 5 w 9"/>
                <a:gd name="T9" fmla="*/ 2 h 8"/>
                <a:gd name="T10" fmla="*/ 7 w 9"/>
                <a:gd name="T11" fmla="*/ 0 h 8"/>
                <a:gd name="T12" fmla="*/ 9 w 9"/>
                <a:gd name="T13" fmla="*/ 3 h 8"/>
                <a:gd name="T14" fmla="*/ 8 w 9"/>
                <a:gd name="T15" fmla="*/ 7 h 8"/>
                <a:gd name="T16" fmla="*/ 5 w 9"/>
                <a:gd name="T17" fmla="*/ 6 h 8"/>
                <a:gd name="T18" fmla="*/ 3 w 9"/>
                <a:gd name="T1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8">
                  <a:moveTo>
                    <a:pt x="3" y="8"/>
                  </a:moveTo>
                  <a:cubicBezTo>
                    <a:pt x="2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2"/>
                    <a:pt x="9" y="3"/>
                  </a:cubicBezTo>
                  <a:cubicBezTo>
                    <a:pt x="9" y="4"/>
                    <a:pt x="8" y="6"/>
                    <a:pt x="8" y="7"/>
                  </a:cubicBezTo>
                  <a:cubicBezTo>
                    <a:pt x="8" y="7"/>
                    <a:pt x="7" y="6"/>
                    <a:pt x="5" y="6"/>
                  </a:cubicBezTo>
                  <a:cubicBezTo>
                    <a:pt x="4" y="6"/>
                    <a:pt x="5" y="8"/>
                    <a:pt x="3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29" name="Freeform 6381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4963105" y="4799724"/>
              <a:ext cx="62497" cy="66974"/>
            </a:xfrm>
            <a:custGeom>
              <a:avLst/>
              <a:gdLst>
                <a:gd name="T0" fmla="*/ 1 w 10"/>
                <a:gd name="T1" fmla="*/ 4 h 10"/>
                <a:gd name="T2" fmla="*/ 7 w 10"/>
                <a:gd name="T3" fmla="*/ 0 h 10"/>
                <a:gd name="T4" fmla="*/ 10 w 10"/>
                <a:gd name="T5" fmla="*/ 3 h 10"/>
                <a:gd name="T6" fmla="*/ 7 w 10"/>
                <a:gd name="T7" fmla="*/ 7 h 10"/>
                <a:gd name="T8" fmla="*/ 5 w 10"/>
                <a:gd name="T9" fmla="*/ 9 h 10"/>
                <a:gd name="T10" fmla="*/ 2 w 10"/>
                <a:gd name="T11" fmla="*/ 6 h 10"/>
                <a:gd name="T12" fmla="*/ 1 w 10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" y="4"/>
                  </a:moveTo>
                  <a:cubicBezTo>
                    <a:pt x="1" y="4"/>
                    <a:pt x="5" y="0"/>
                    <a:pt x="7" y="0"/>
                  </a:cubicBezTo>
                  <a:cubicBezTo>
                    <a:pt x="8" y="0"/>
                    <a:pt x="10" y="2"/>
                    <a:pt x="10" y="3"/>
                  </a:cubicBezTo>
                  <a:cubicBezTo>
                    <a:pt x="10" y="4"/>
                    <a:pt x="8" y="7"/>
                    <a:pt x="7" y="7"/>
                  </a:cubicBezTo>
                  <a:cubicBezTo>
                    <a:pt x="7" y="7"/>
                    <a:pt x="6" y="8"/>
                    <a:pt x="5" y="9"/>
                  </a:cubicBezTo>
                  <a:cubicBezTo>
                    <a:pt x="4" y="10"/>
                    <a:pt x="2" y="6"/>
                    <a:pt x="2" y="6"/>
                  </a:cubicBezTo>
                  <a:cubicBezTo>
                    <a:pt x="1" y="6"/>
                    <a:pt x="0" y="5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0" name="Freeform 6382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4963105" y="2743636"/>
              <a:ext cx="62497" cy="90414"/>
            </a:xfrm>
            <a:custGeom>
              <a:avLst/>
              <a:gdLst>
                <a:gd name="T0" fmla="*/ 0 w 10"/>
                <a:gd name="T1" fmla="*/ 0 h 14"/>
                <a:gd name="T2" fmla="*/ 1 w 10"/>
                <a:gd name="T3" fmla="*/ 0 h 14"/>
                <a:gd name="T4" fmla="*/ 5 w 10"/>
                <a:gd name="T5" fmla="*/ 1 h 14"/>
                <a:gd name="T6" fmla="*/ 9 w 10"/>
                <a:gd name="T7" fmla="*/ 3 h 14"/>
                <a:gd name="T8" fmla="*/ 10 w 10"/>
                <a:gd name="T9" fmla="*/ 5 h 14"/>
                <a:gd name="T10" fmla="*/ 10 w 10"/>
                <a:gd name="T11" fmla="*/ 9 h 14"/>
                <a:gd name="T12" fmla="*/ 8 w 10"/>
                <a:gd name="T13" fmla="*/ 10 h 14"/>
                <a:gd name="T14" fmla="*/ 7 w 10"/>
                <a:gd name="T15" fmla="*/ 14 h 14"/>
                <a:gd name="T16" fmla="*/ 5 w 10"/>
                <a:gd name="T17" fmla="*/ 14 h 14"/>
                <a:gd name="T18" fmla="*/ 4 w 10"/>
                <a:gd name="T19" fmla="*/ 8 h 14"/>
                <a:gd name="T20" fmla="*/ 1 w 10"/>
                <a:gd name="T21" fmla="*/ 3 h 14"/>
                <a:gd name="T22" fmla="*/ 0 w 10"/>
                <a:gd name="T2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4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6"/>
                    <a:pt x="10" y="9"/>
                    <a:pt x="10" y="9"/>
                  </a:cubicBezTo>
                  <a:cubicBezTo>
                    <a:pt x="10" y="9"/>
                    <a:pt x="8" y="10"/>
                    <a:pt x="8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5" y="13"/>
                    <a:pt x="5" y="9"/>
                    <a:pt x="4" y="8"/>
                  </a:cubicBezTo>
                  <a:cubicBezTo>
                    <a:pt x="4" y="6"/>
                    <a:pt x="1" y="4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1" name="Freeform 6383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4941231" y="2947904"/>
              <a:ext cx="437479" cy="180829"/>
            </a:xfrm>
            <a:custGeom>
              <a:avLst/>
              <a:gdLst>
                <a:gd name="T0" fmla="*/ 3 w 73"/>
                <a:gd name="T1" fmla="*/ 13 h 28"/>
                <a:gd name="T2" fmla="*/ 0 w 73"/>
                <a:gd name="T3" fmla="*/ 12 h 28"/>
                <a:gd name="T4" fmla="*/ 1 w 73"/>
                <a:gd name="T5" fmla="*/ 8 h 28"/>
                <a:gd name="T6" fmla="*/ 3 w 73"/>
                <a:gd name="T7" fmla="*/ 8 h 28"/>
                <a:gd name="T8" fmla="*/ 4 w 73"/>
                <a:gd name="T9" fmla="*/ 8 h 28"/>
                <a:gd name="T10" fmla="*/ 12 w 73"/>
                <a:gd name="T11" fmla="*/ 8 h 28"/>
                <a:gd name="T12" fmla="*/ 14 w 73"/>
                <a:gd name="T13" fmla="*/ 6 h 28"/>
                <a:gd name="T14" fmla="*/ 13 w 73"/>
                <a:gd name="T15" fmla="*/ 4 h 28"/>
                <a:gd name="T16" fmla="*/ 15 w 73"/>
                <a:gd name="T17" fmla="*/ 4 h 28"/>
                <a:gd name="T18" fmla="*/ 20 w 73"/>
                <a:gd name="T19" fmla="*/ 4 h 28"/>
                <a:gd name="T20" fmla="*/ 25 w 73"/>
                <a:gd name="T21" fmla="*/ 2 h 28"/>
                <a:gd name="T22" fmla="*/ 31 w 73"/>
                <a:gd name="T23" fmla="*/ 0 h 28"/>
                <a:gd name="T24" fmla="*/ 35 w 73"/>
                <a:gd name="T25" fmla="*/ 0 h 28"/>
                <a:gd name="T26" fmla="*/ 36 w 73"/>
                <a:gd name="T27" fmla="*/ 1 h 28"/>
                <a:gd name="T28" fmla="*/ 39 w 73"/>
                <a:gd name="T29" fmla="*/ 1 h 28"/>
                <a:gd name="T30" fmla="*/ 42 w 73"/>
                <a:gd name="T31" fmla="*/ 3 h 28"/>
                <a:gd name="T32" fmla="*/ 47 w 73"/>
                <a:gd name="T33" fmla="*/ 4 h 28"/>
                <a:gd name="T34" fmla="*/ 52 w 73"/>
                <a:gd name="T35" fmla="*/ 4 h 28"/>
                <a:gd name="T36" fmla="*/ 56 w 73"/>
                <a:gd name="T37" fmla="*/ 5 h 28"/>
                <a:gd name="T38" fmla="*/ 61 w 73"/>
                <a:gd name="T39" fmla="*/ 2 h 28"/>
                <a:gd name="T40" fmla="*/ 65 w 73"/>
                <a:gd name="T41" fmla="*/ 2 h 28"/>
                <a:gd name="T42" fmla="*/ 68 w 73"/>
                <a:gd name="T43" fmla="*/ 4 h 28"/>
                <a:gd name="T44" fmla="*/ 69 w 73"/>
                <a:gd name="T45" fmla="*/ 9 h 28"/>
                <a:gd name="T46" fmla="*/ 72 w 73"/>
                <a:gd name="T47" fmla="*/ 11 h 28"/>
                <a:gd name="T48" fmla="*/ 71 w 73"/>
                <a:gd name="T49" fmla="*/ 13 h 28"/>
                <a:gd name="T50" fmla="*/ 72 w 73"/>
                <a:gd name="T51" fmla="*/ 18 h 28"/>
                <a:gd name="T52" fmla="*/ 73 w 73"/>
                <a:gd name="T53" fmla="*/ 22 h 28"/>
                <a:gd name="T54" fmla="*/ 66 w 73"/>
                <a:gd name="T55" fmla="*/ 21 h 28"/>
                <a:gd name="T56" fmla="*/ 64 w 73"/>
                <a:gd name="T57" fmla="*/ 22 h 28"/>
                <a:gd name="T58" fmla="*/ 62 w 73"/>
                <a:gd name="T59" fmla="*/ 21 h 28"/>
                <a:gd name="T60" fmla="*/ 57 w 73"/>
                <a:gd name="T61" fmla="*/ 22 h 28"/>
                <a:gd name="T62" fmla="*/ 50 w 73"/>
                <a:gd name="T63" fmla="*/ 24 h 28"/>
                <a:gd name="T64" fmla="*/ 47 w 73"/>
                <a:gd name="T65" fmla="*/ 23 h 28"/>
                <a:gd name="T66" fmla="*/ 43 w 73"/>
                <a:gd name="T67" fmla="*/ 24 h 28"/>
                <a:gd name="T68" fmla="*/ 41 w 73"/>
                <a:gd name="T69" fmla="*/ 26 h 28"/>
                <a:gd name="T70" fmla="*/ 39 w 73"/>
                <a:gd name="T71" fmla="*/ 27 h 28"/>
                <a:gd name="T72" fmla="*/ 39 w 73"/>
                <a:gd name="T73" fmla="*/ 26 h 28"/>
                <a:gd name="T74" fmla="*/ 39 w 73"/>
                <a:gd name="T75" fmla="*/ 26 h 28"/>
                <a:gd name="T76" fmla="*/ 39 w 73"/>
                <a:gd name="T77" fmla="*/ 22 h 28"/>
                <a:gd name="T78" fmla="*/ 36 w 73"/>
                <a:gd name="T79" fmla="*/ 24 h 28"/>
                <a:gd name="T80" fmla="*/ 34 w 73"/>
                <a:gd name="T81" fmla="*/ 24 h 28"/>
                <a:gd name="T82" fmla="*/ 30 w 73"/>
                <a:gd name="T83" fmla="*/ 26 h 28"/>
                <a:gd name="T84" fmla="*/ 25 w 73"/>
                <a:gd name="T85" fmla="*/ 27 h 28"/>
                <a:gd name="T86" fmla="*/ 20 w 73"/>
                <a:gd name="T87" fmla="*/ 23 h 28"/>
                <a:gd name="T88" fmla="*/ 18 w 73"/>
                <a:gd name="T89" fmla="*/ 23 h 28"/>
                <a:gd name="T90" fmla="*/ 17 w 73"/>
                <a:gd name="T91" fmla="*/ 26 h 28"/>
                <a:gd name="T92" fmla="*/ 14 w 73"/>
                <a:gd name="T93" fmla="*/ 26 h 28"/>
                <a:gd name="T94" fmla="*/ 12 w 73"/>
                <a:gd name="T95" fmla="*/ 24 h 28"/>
                <a:gd name="T96" fmla="*/ 8 w 73"/>
                <a:gd name="T97" fmla="*/ 24 h 28"/>
                <a:gd name="T98" fmla="*/ 5 w 73"/>
                <a:gd name="T99" fmla="*/ 23 h 28"/>
                <a:gd name="T100" fmla="*/ 6 w 73"/>
                <a:gd name="T101" fmla="*/ 21 h 28"/>
                <a:gd name="T102" fmla="*/ 3 w 73"/>
                <a:gd name="T103" fmla="*/ 19 h 28"/>
                <a:gd name="T104" fmla="*/ 5 w 73"/>
                <a:gd name="T105" fmla="*/ 18 h 28"/>
                <a:gd name="T106" fmla="*/ 1 w 73"/>
                <a:gd name="T107" fmla="*/ 16 h 28"/>
                <a:gd name="T108" fmla="*/ 4 w 73"/>
                <a:gd name="T109" fmla="*/ 15 h 28"/>
                <a:gd name="T110" fmla="*/ 3 w 73"/>
                <a:gd name="T111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28">
                  <a:moveTo>
                    <a:pt x="3" y="13"/>
                  </a:moveTo>
                  <a:cubicBezTo>
                    <a:pt x="3" y="13"/>
                    <a:pt x="0" y="13"/>
                    <a:pt x="0" y="12"/>
                  </a:cubicBezTo>
                  <a:cubicBezTo>
                    <a:pt x="0" y="11"/>
                    <a:pt x="1" y="9"/>
                    <a:pt x="1" y="8"/>
                  </a:cubicBezTo>
                  <a:cubicBezTo>
                    <a:pt x="2" y="8"/>
                    <a:pt x="2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8"/>
                    <a:pt x="11" y="8"/>
                    <a:pt x="12" y="8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3" y="4"/>
                    <a:pt x="14" y="4"/>
                    <a:pt x="15" y="4"/>
                  </a:cubicBezTo>
                  <a:cubicBezTo>
                    <a:pt x="16" y="4"/>
                    <a:pt x="19" y="5"/>
                    <a:pt x="20" y="4"/>
                  </a:cubicBezTo>
                  <a:cubicBezTo>
                    <a:pt x="22" y="3"/>
                    <a:pt x="24" y="3"/>
                    <a:pt x="25" y="2"/>
                  </a:cubicBezTo>
                  <a:cubicBezTo>
                    <a:pt x="26" y="1"/>
                    <a:pt x="29" y="0"/>
                    <a:pt x="31" y="0"/>
                  </a:cubicBezTo>
                  <a:cubicBezTo>
                    <a:pt x="33" y="0"/>
                    <a:pt x="34" y="0"/>
                    <a:pt x="35" y="0"/>
                  </a:cubicBezTo>
                  <a:cubicBezTo>
                    <a:pt x="36" y="0"/>
                    <a:pt x="35" y="1"/>
                    <a:pt x="36" y="1"/>
                  </a:cubicBezTo>
                  <a:cubicBezTo>
                    <a:pt x="38" y="2"/>
                    <a:pt x="39" y="1"/>
                    <a:pt x="39" y="1"/>
                  </a:cubicBezTo>
                  <a:cubicBezTo>
                    <a:pt x="40" y="1"/>
                    <a:pt x="40" y="2"/>
                    <a:pt x="42" y="3"/>
                  </a:cubicBezTo>
                  <a:cubicBezTo>
                    <a:pt x="43" y="4"/>
                    <a:pt x="45" y="4"/>
                    <a:pt x="47" y="4"/>
                  </a:cubicBezTo>
                  <a:cubicBezTo>
                    <a:pt x="49" y="5"/>
                    <a:pt x="51" y="4"/>
                    <a:pt x="52" y="4"/>
                  </a:cubicBezTo>
                  <a:cubicBezTo>
                    <a:pt x="54" y="4"/>
                    <a:pt x="55" y="5"/>
                    <a:pt x="56" y="5"/>
                  </a:cubicBezTo>
                  <a:cubicBezTo>
                    <a:pt x="58" y="4"/>
                    <a:pt x="60" y="3"/>
                    <a:pt x="61" y="2"/>
                  </a:cubicBezTo>
                  <a:cubicBezTo>
                    <a:pt x="61" y="2"/>
                    <a:pt x="65" y="2"/>
                    <a:pt x="65" y="2"/>
                  </a:cubicBezTo>
                  <a:cubicBezTo>
                    <a:pt x="66" y="2"/>
                    <a:pt x="67" y="4"/>
                    <a:pt x="68" y="4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71" y="10"/>
                    <a:pt x="72" y="11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2" y="17"/>
                    <a:pt x="72" y="18"/>
                  </a:cubicBezTo>
                  <a:cubicBezTo>
                    <a:pt x="72" y="20"/>
                    <a:pt x="72" y="20"/>
                    <a:pt x="73" y="22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5" y="21"/>
                    <a:pt x="65" y="22"/>
                    <a:pt x="64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1" y="21"/>
                    <a:pt x="59" y="22"/>
                    <a:pt x="57" y="22"/>
                  </a:cubicBezTo>
                  <a:cubicBezTo>
                    <a:pt x="56" y="23"/>
                    <a:pt x="51" y="24"/>
                    <a:pt x="50" y="24"/>
                  </a:cubicBezTo>
                  <a:cubicBezTo>
                    <a:pt x="49" y="23"/>
                    <a:pt x="48" y="23"/>
                    <a:pt x="47" y="23"/>
                  </a:cubicBezTo>
                  <a:cubicBezTo>
                    <a:pt x="46" y="23"/>
                    <a:pt x="43" y="23"/>
                    <a:pt x="43" y="24"/>
                  </a:cubicBezTo>
                  <a:cubicBezTo>
                    <a:pt x="43" y="25"/>
                    <a:pt x="42" y="26"/>
                    <a:pt x="41" y="26"/>
                  </a:cubicBezTo>
                  <a:cubicBezTo>
                    <a:pt x="41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8" y="25"/>
                    <a:pt x="41" y="24"/>
                    <a:pt x="39" y="22"/>
                  </a:cubicBezTo>
                  <a:cubicBezTo>
                    <a:pt x="38" y="21"/>
                    <a:pt x="37" y="24"/>
                    <a:pt x="36" y="24"/>
                  </a:cubicBezTo>
                  <a:cubicBezTo>
                    <a:pt x="35" y="24"/>
                    <a:pt x="35" y="23"/>
                    <a:pt x="34" y="24"/>
                  </a:cubicBezTo>
                  <a:cubicBezTo>
                    <a:pt x="32" y="25"/>
                    <a:pt x="31" y="26"/>
                    <a:pt x="30" y="26"/>
                  </a:cubicBezTo>
                  <a:cubicBezTo>
                    <a:pt x="28" y="26"/>
                    <a:pt x="26" y="28"/>
                    <a:pt x="25" y="27"/>
                  </a:cubicBezTo>
                  <a:cubicBezTo>
                    <a:pt x="24" y="26"/>
                    <a:pt x="22" y="23"/>
                    <a:pt x="20" y="23"/>
                  </a:cubicBezTo>
                  <a:cubicBezTo>
                    <a:pt x="18" y="23"/>
                    <a:pt x="18" y="22"/>
                    <a:pt x="18" y="23"/>
                  </a:cubicBezTo>
                  <a:cubicBezTo>
                    <a:pt x="17" y="24"/>
                    <a:pt x="18" y="26"/>
                    <a:pt x="17" y="26"/>
                  </a:cubicBezTo>
                  <a:cubicBezTo>
                    <a:pt x="16" y="26"/>
                    <a:pt x="15" y="27"/>
                    <a:pt x="14" y="26"/>
                  </a:cubicBezTo>
                  <a:cubicBezTo>
                    <a:pt x="12" y="25"/>
                    <a:pt x="12" y="24"/>
                    <a:pt x="12" y="24"/>
                  </a:cubicBezTo>
                  <a:cubicBezTo>
                    <a:pt x="11" y="24"/>
                    <a:pt x="9" y="24"/>
                    <a:pt x="8" y="24"/>
                  </a:cubicBezTo>
                  <a:cubicBezTo>
                    <a:pt x="6" y="24"/>
                    <a:pt x="5" y="23"/>
                    <a:pt x="5" y="23"/>
                  </a:cubicBezTo>
                  <a:cubicBezTo>
                    <a:pt x="5" y="22"/>
                    <a:pt x="7" y="22"/>
                    <a:pt x="6" y="21"/>
                  </a:cubicBezTo>
                  <a:cubicBezTo>
                    <a:pt x="5" y="20"/>
                    <a:pt x="4" y="20"/>
                    <a:pt x="3" y="19"/>
                  </a:cubicBezTo>
                  <a:cubicBezTo>
                    <a:pt x="2" y="19"/>
                    <a:pt x="6" y="19"/>
                    <a:pt x="5" y="18"/>
                  </a:cubicBezTo>
                  <a:cubicBezTo>
                    <a:pt x="3" y="17"/>
                    <a:pt x="0" y="17"/>
                    <a:pt x="1" y="16"/>
                  </a:cubicBezTo>
                  <a:cubicBezTo>
                    <a:pt x="1" y="15"/>
                    <a:pt x="4" y="15"/>
                    <a:pt x="4" y="15"/>
                  </a:cubicBezTo>
                  <a:cubicBezTo>
                    <a:pt x="4" y="14"/>
                    <a:pt x="3" y="13"/>
                    <a:pt x="3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2" name="Freeform 6384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4909982" y="3242588"/>
              <a:ext cx="253113" cy="274592"/>
            </a:xfrm>
            <a:custGeom>
              <a:avLst/>
              <a:gdLst>
                <a:gd name="T0" fmla="*/ 33 w 42"/>
                <a:gd name="T1" fmla="*/ 40 h 42"/>
                <a:gd name="T2" fmla="*/ 1 w 42"/>
                <a:gd name="T3" fmla="*/ 40 h 42"/>
                <a:gd name="T4" fmla="*/ 1 w 42"/>
                <a:gd name="T5" fmla="*/ 11 h 42"/>
                <a:gd name="T6" fmla="*/ 0 w 42"/>
                <a:gd name="T7" fmla="*/ 7 h 42"/>
                <a:gd name="T8" fmla="*/ 2 w 42"/>
                <a:gd name="T9" fmla="*/ 4 h 42"/>
                <a:gd name="T10" fmla="*/ 2 w 42"/>
                <a:gd name="T11" fmla="*/ 1 h 42"/>
                <a:gd name="T12" fmla="*/ 7 w 42"/>
                <a:gd name="T13" fmla="*/ 1 h 42"/>
                <a:gd name="T14" fmla="*/ 17 w 42"/>
                <a:gd name="T15" fmla="*/ 4 h 42"/>
                <a:gd name="T16" fmla="*/ 22 w 42"/>
                <a:gd name="T17" fmla="*/ 1 h 42"/>
                <a:gd name="T18" fmla="*/ 25 w 42"/>
                <a:gd name="T19" fmla="*/ 1 h 42"/>
                <a:gd name="T20" fmla="*/ 28 w 42"/>
                <a:gd name="T21" fmla="*/ 1 h 42"/>
                <a:gd name="T22" fmla="*/ 31 w 42"/>
                <a:gd name="T23" fmla="*/ 3 h 42"/>
                <a:gd name="T24" fmla="*/ 36 w 42"/>
                <a:gd name="T25" fmla="*/ 2 h 42"/>
                <a:gd name="T26" fmla="*/ 39 w 42"/>
                <a:gd name="T27" fmla="*/ 11 h 42"/>
                <a:gd name="T28" fmla="*/ 39 w 42"/>
                <a:gd name="T29" fmla="*/ 11 h 42"/>
                <a:gd name="T30" fmla="*/ 37 w 42"/>
                <a:gd name="T31" fmla="*/ 15 h 42"/>
                <a:gd name="T32" fmla="*/ 35 w 42"/>
                <a:gd name="T33" fmla="*/ 14 h 42"/>
                <a:gd name="T34" fmla="*/ 32 w 42"/>
                <a:gd name="T35" fmla="*/ 8 h 42"/>
                <a:gd name="T36" fmla="*/ 30 w 42"/>
                <a:gd name="T37" fmla="*/ 8 h 42"/>
                <a:gd name="T38" fmla="*/ 29 w 42"/>
                <a:gd name="T39" fmla="*/ 9 h 42"/>
                <a:gd name="T40" fmla="*/ 33 w 42"/>
                <a:gd name="T41" fmla="*/ 17 h 42"/>
                <a:gd name="T42" fmla="*/ 36 w 42"/>
                <a:gd name="T43" fmla="*/ 21 h 42"/>
                <a:gd name="T44" fmla="*/ 42 w 42"/>
                <a:gd name="T45" fmla="*/ 32 h 42"/>
                <a:gd name="T46" fmla="*/ 42 w 42"/>
                <a:gd name="T47" fmla="*/ 36 h 42"/>
                <a:gd name="T48" fmla="*/ 40 w 42"/>
                <a:gd name="T49" fmla="*/ 37 h 42"/>
                <a:gd name="T50" fmla="*/ 39 w 42"/>
                <a:gd name="T51" fmla="*/ 39 h 42"/>
                <a:gd name="T52" fmla="*/ 36 w 42"/>
                <a:gd name="T53" fmla="*/ 41 h 42"/>
                <a:gd name="T54" fmla="*/ 33 w 42"/>
                <a:gd name="T55" fmla="*/ 4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" h="42">
                  <a:moveTo>
                    <a:pt x="33" y="4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2" y="5"/>
                    <a:pt x="2" y="4"/>
                  </a:cubicBezTo>
                  <a:cubicBezTo>
                    <a:pt x="2" y="3"/>
                    <a:pt x="2" y="1"/>
                    <a:pt x="2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1"/>
                    <a:pt x="15" y="4"/>
                    <a:pt x="17" y="4"/>
                  </a:cubicBezTo>
                  <a:cubicBezTo>
                    <a:pt x="19" y="4"/>
                    <a:pt x="22" y="1"/>
                    <a:pt x="22" y="1"/>
                  </a:cubicBezTo>
                  <a:cubicBezTo>
                    <a:pt x="24" y="1"/>
                    <a:pt x="24" y="1"/>
                    <a:pt x="25" y="1"/>
                  </a:cubicBezTo>
                  <a:cubicBezTo>
                    <a:pt x="27" y="0"/>
                    <a:pt x="27" y="1"/>
                    <a:pt x="28" y="1"/>
                  </a:cubicBezTo>
                  <a:cubicBezTo>
                    <a:pt x="29" y="1"/>
                    <a:pt x="30" y="3"/>
                    <a:pt x="31" y="3"/>
                  </a:cubicBezTo>
                  <a:cubicBezTo>
                    <a:pt x="33" y="2"/>
                    <a:pt x="35" y="3"/>
                    <a:pt x="36" y="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2"/>
                    <a:pt x="38" y="15"/>
                    <a:pt x="37" y="15"/>
                  </a:cubicBezTo>
                  <a:cubicBezTo>
                    <a:pt x="37" y="15"/>
                    <a:pt x="36" y="15"/>
                    <a:pt x="35" y="14"/>
                  </a:cubicBezTo>
                  <a:cubicBezTo>
                    <a:pt x="35" y="13"/>
                    <a:pt x="32" y="9"/>
                    <a:pt x="32" y="8"/>
                  </a:cubicBezTo>
                  <a:cubicBezTo>
                    <a:pt x="31" y="7"/>
                    <a:pt x="30" y="7"/>
                    <a:pt x="30" y="8"/>
                  </a:cubicBezTo>
                  <a:cubicBezTo>
                    <a:pt x="29" y="9"/>
                    <a:pt x="30" y="9"/>
                    <a:pt x="29" y="9"/>
                  </a:cubicBezTo>
                  <a:cubicBezTo>
                    <a:pt x="29" y="10"/>
                    <a:pt x="32" y="16"/>
                    <a:pt x="33" y="17"/>
                  </a:cubicBezTo>
                  <a:cubicBezTo>
                    <a:pt x="34" y="18"/>
                    <a:pt x="35" y="20"/>
                    <a:pt x="36" y="21"/>
                  </a:cubicBezTo>
                  <a:cubicBezTo>
                    <a:pt x="37" y="23"/>
                    <a:pt x="42" y="31"/>
                    <a:pt x="42" y="32"/>
                  </a:cubicBezTo>
                  <a:cubicBezTo>
                    <a:pt x="42" y="33"/>
                    <a:pt x="42" y="35"/>
                    <a:pt x="42" y="36"/>
                  </a:cubicBezTo>
                  <a:cubicBezTo>
                    <a:pt x="42" y="36"/>
                    <a:pt x="41" y="37"/>
                    <a:pt x="40" y="37"/>
                  </a:cubicBezTo>
                  <a:cubicBezTo>
                    <a:pt x="39" y="37"/>
                    <a:pt x="39" y="39"/>
                    <a:pt x="39" y="39"/>
                  </a:cubicBezTo>
                  <a:cubicBezTo>
                    <a:pt x="39" y="39"/>
                    <a:pt x="37" y="41"/>
                    <a:pt x="36" y="41"/>
                  </a:cubicBezTo>
                  <a:cubicBezTo>
                    <a:pt x="35" y="42"/>
                    <a:pt x="34" y="40"/>
                    <a:pt x="33" y="4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3" name="Freeform 6385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4944356" y="2937859"/>
              <a:ext cx="68747" cy="46882"/>
            </a:xfrm>
            <a:custGeom>
              <a:avLst/>
              <a:gdLst>
                <a:gd name="T0" fmla="*/ 0 w 11"/>
                <a:gd name="T1" fmla="*/ 6 h 7"/>
                <a:gd name="T2" fmla="*/ 1 w 11"/>
                <a:gd name="T3" fmla="*/ 4 h 7"/>
                <a:gd name="T4" fmla="*/ 0 w 11"/>
                <a:gd name="T5" fmla="*/ 1 h 7"/>
                <a:gd name="T6" fmla="*/ 4 w 11"/>
                <a:gd name="T7" fmla="*/ 0 h 7"/>
                <a:gd name="T8" fmla="*/ 6 w 11"/>
                <a:gd name="T9" fmla="*/ 0 h 7"/>
                <a:gd name="T10" fmla="*/ 6 w 11"/>
                <a:gd name="T11" fmla="*/ 0 h 7"/>
                <a:gd name="T12" fmla="*/ 7 w 11"/>
                <a:gd name="T13" fmla="*/ 2 h 7"/>
                <a:gd name="T14" fmla="*/ 11 w 11"/>
                <a:gd name="T15" fmla="*/ 4 h 7"/>
                <a:gd name="T16" fmla="*/ 9 w 11"/>
                <a:gd name="T17" fmla="*/ 5 h 7"/>
                <a:gd name="T18" fmla="*/ 4 w 11"/>
                <a:gd name="T19" fmla="*/ 5 h 7"/>
                <a:gd name="T20" fmla="*/ 2 w 11"/>
                <a:gd name="T21" fmla="*/ 7 h 7"/>
                <a:gd name="T22" fmla="*/ 2 w 11"/>
                <a:gd name="T23" fmla="*/ 7 h 7"/>
                <a:gd name="T24" fmla="*/ 0 w 11"/>
                <a:gd name="T2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4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2"/>
                    <a:pt x="7" y="2"/>
                  </a:cubicBezTo>
                  <a:cubicBezTo>
                    <a:pt x="8" y="2"/>
                    <a:pt x="11" y="4"/>
                    <a:pt x="11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5" y="5"/>
                    <a:pt x="4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4" name="Freeform 6386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4922482" y="4454810"/>
              <a:ext cx="187491" cy="177480"/>
            </a:xfrm>
            <a:custGeom>
              <a:avLst/>
              <a:gdLst>
                <a:gd name="T0" fmla="*/ 1 w 31"/>
                <a:gd name="T1" fmla="*/ 11 h 27"/>
                <a:gd name="T2" fmla="*/ 0 w 31"/>
                <a:gd name="T3" fmla="*/ 9 h 27"/>
                <a:gd name="T4" fmla="*/ 6 w 31"/>
                <a:gd name="T5" fmla="*/ 10 h 27"/>
                <a:gd name="T6" fmla="*/ 11 w 31"/>
                <a:gd name="T7" fmla="*/ 6 h 27"/>
                <a:gd name="T8" fmla="*/ 14 w 31"/>
                <a:gd name="T9" fmla="*/ 3 h 27"/>
                <a:gd name="T10" fmla="*/ 16 w 31"/>
                <a:gd name="T11" fmla="*/ 0 h 27"/>
                <a:gd name="T12" fmla="*/ 19 w 31"/>
                <a:gd name="T13" fmla="*/ 0 h 27"/>
                <a:gd name="T14" fmla="*/ 20 w 31"/>
                <a:gd name="T15" fmla="*/ 0 h 27"/>
                <a:gd name="T16" fmla="*/ 20 w 31"/>
                <a:gd name="T17" fmla="*/ 0 h 27"/>
                <a:gd name="T18" fmla="*/ 21 w 31"/>
                <a:gd name="T19" fmla="*/ 2 h 27"/>
                <a:gd name="T20" fmla="*/ 25 w 31"/>
                <a:gd name="T21" fmla="*/ 3 h 27"/>
                <a:gd name="T22" fmla="*/ 30 w 31"/>
                <a:gd name="T23" fmla="*/ 5 h 27"/>
                <a:gd name="T24" fmla="*/ 30 w 31"/>
                <a:gd name="T25" fmla="*/ 13 h 27"/>
                <a:gd name="T26" fmla="*/ 30 w 31"/>
                <a:gd name="T27" fmla="*/ 17 h 27"/>
                <a:gd name="T28" fmla="*/ 29 w 31"/>
                <a:gd name="T29" fmla="*/ 20 h 27"/>
                <a:gd name="T30" fmla="*/ 28 w 31"/>
                <a:gd name="T31" fmla="*/ 23 h 27"/>
                <a:gd name="T32" fmla="*/ 26 w 31"/>
                <a:gd name="T33" fmla="*/ 25 h 27"/>
                <a:gd name="T34" fmla="*/ 24 w 31"/>
                <a:gd name="T35" fmla="*/ 27 h 27"/>
                <a:gd name="T36" fmla="*/ 24 w 31"/>
                <a:gd name="T37" fmla="*/ 27 h 27"/>
                <a:gd name="T38" fmla="*/ 20 w 31"/>
                <a:gd name="T39" fmla="*/ 27 h 27"/>
                <a:gd name="T40" fmla="*/ 16 w 31"/>
                <a:gd name="T41" fmla="*/ 26 h 27"/>
                <a:gd name="T42" fmla="*/ 15 w 31"/>
                <a:gd name="T43" fmla="*/ 25 h 27"/>
                <a:gd name="T44" fmla="*/ 10 w 31"/>
                <a:gd name="T45" fmla="*/ 23 h 27"/>
                <a:gd name="T46" fmla="*/ 10 w 31"/>
                <a:gd name="T47" fmla="*/ 20 h 27"/>
                <a:gd name="T48" fmla="*/ 8 w 31"/>
                <a:gd name="T49" fmla="*/ 20 h 27"/>
                <a:gd name="T50" fmla="*/ 6 w 31"/>
                <a:gd name="T51" fmla="*/ 18 h 27"/>
                <a:gd name="T52" fmla="*/ 1 w 31"/>
                <a:gd name="T53" fmla="*/ 12 h 27"/>
                <a:gd name="T54" fmla="*/ 1 w 31"/>
                <a:gd name="T55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" h="27">
                  <a:moveTo>
                    <a:pt x="1" y="11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6" y="10"/>
                    <a:pt x="6" y="10"/>
                  </a:cubicBezTo>
                  <a:cubicBezTo>
                    <a:pt x="7" y="10"/>
                    <a:pt x="10" y="6"/>
                    <a:pt x="11" y="6"/>
                  </a:cubicBezTo>
                  <a:cubicBezTo>
                    <a:pt x="12" y="5"/>
                    <a:pt x="14" y="3"/>
                    <a:pt x="14" y="3"/>
                  </a:cubicBezTo>
                  <a:cubicBezTo>
                    <a:pt x="14" y="3"/>
                    <a:pt x="15" y="0"/>
                    <a:pt x="16" y="0"/>
                  </a:cubicBezTo>
                  <a:cubicBezTo>
                    <a:pt x="17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1"/>
                    <a:pt x="21" y="2"/>
                    <a:pt x="21" y="2"/>
                  </a:cubicBezTo>
                  <a:cubicBezTo>
                    <a:pt x="21" y="2"/>
                    <a:pt x="24" y="3"/>
                    <a:pt x="25" y="3"/>
                  </a:cubicBezTo>
                  <a:cubicBezTo>
                    <a:pt x="26" y="3"/>
                    <a:pt x="29" y="5"/>
                    <a:pt x="30" y="5"/>
                  </a:cubicBezTo>
                  <a:cubicBezTo>
                    <a:pt x="30" y="6"/>
                    <a:pt x="31" y="12"/>
                    <a:pt x="30" y="13"/>
                  </a:cubicBezTo>
                  <a:cubicBezTo>
                    <a:pt x="30" y="15"/>
                    <a:pt x="30" y="17"/>
                    <a:pt x="30" y="17"/>
                  </a:cubicBezTo>
                  <a:cubicBezTo>
                    <a:pt x="30" y="18"/>
                    <a:pt x="30" y="19"/>
                    <a:pt x="29" y="20"/>
                  </a:cubicBezTo>
                  <a:cubicBezTo>
                    <a:pt x="28" y="20"/>
                    <a:pt x="28" y="22"/>
                    <a:pt x="28" y="23"/>
                  </a:cubicBezTo>
                  <a:cubicBezTo>
                    <a:pt x="28" y="24"/>
                    <a:pt x="28" y="24"/>
                    <a:pt x="26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27"/>
                    <a:pt x="21" y="27"/>
                    <a:pt x="20" y="27"/>
                  </a:cubicBezTo>
                  <a:cubicBezTo>
                    <a:pt x="19" y="27"/>
                    <a:pt x="17" y="26"/>
                    <a:pt x="16" y="26"/>
                  </a:cubicBezTo>
                  <a:cubicBezTo>
                    <a:pt x="16" y="26"/>
                    <a:pt x="15" y="25"/>
                    <a:pt x="15" y="25"/>
                  </a:cubicBezTo>
                  <a:cubicBezTo>
                    <a:pt x="14" y="25"/>
                    <a:pt x="11" y="24"/>
                    <a:pt x="10" y="23"/>
                  </a:cubicBezTo>
                  <a:cubicBezTo>
                    <a:pt x="10" y="23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7" y="18"/>
                    <a:pt x="6" y="18"/>
                  </a:cubicBezTo>
                  <a:cubicBezTo>
                    <a:pt x="4" y="17"/>
                    <a:pt x="2" y="13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5" name="Freeform 6387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4847485" y="4340955"/>
              <a:ext cx="193741" cy="180829"/>
            </a:xfrm>
            <a:custGeom>
              <a:avLst/>
              <a:gdLst>
                <a:gd name="T0" fmla="*/ 4 w 32"/>
                <a:gd name="T1" fmla="*/ 26 h 28"/>
                <a:gd name="T2" fmla="*/ 0 w 32"/>
                <a:gd name="T3" fmla="*/ 21 h 28"/>
                <a:gd name="T4" fmla="*/ 0 w 32"/>
                <a:gd name="T5" fmla="*/ 9 h 28"/>
                <a:gd name="T6" fmla="*/ 8 w 32"/>
                <a:gd name="T7" fmla="*/ 9 h 28"/>
                <a:gd name="T8" fmla="*/ 7 w 32"/>
                <a:gd name="T9" fmla="*/ 0 h 28"/>
                <a:gd name="T10" fmla="*/ 13 w 32"/>
                <a:gd name="T11" fmla="*/ 1 h 28"/>
                <a:gd name="T12" fmla="*/ 17 w 32"/>
                <a:gd name="T13" fmla="*/ 4 h 28"/>
                <a:gd name="T14" fmla="*/ 20 w 32"/>
                <a:gd name="T15" fmla="*/ 3 h 28"/>
                <a:gd name="T16" fmla="*/ 25 w 32"/>
                <a:gd name="T17" fmla="*/ 7 h 28"/>
                <a:gd name="T18" fmla="*/ 29 w 32"/>
                <a:gd name="T19" fmla="*/ 10 h 28"/>
                <a:gd name="T20" fmla="*/ 32 w 32"/>
                <a:gd name="T21" fmla="*/ 16 h 28"/>
                <a:gd name="T22" fmla="*/ 32 w 32"/>
                <a:gd name="T23" fmla="*/ 16 h 28"/>
                <a:gd name="T24" fmla="*/ 32 w 32"/>
                <a:gd name="T25" fmla="*/ 19 h 28"/>
                <a:gd name="T26" fmla="*/ 32 w 32"/>
                <a:gd name="T27" fmla="*/ 19 h 28"/>
                <a:gd name="T28" fmla="*/ 31 w 32"/>
                <a:gd name="T29" fmla="*/ 19 h 28"/>
                <a:gd name="T30" fmla="*/ 29 w 32"/>
                <a:gd name="T31" fmla="*/ 19 h 28"/>
                <a:gd name="T32" fmla="*/ 27 w 32"/>
                <a:gd name="T33" fmla="*/ 22 h 28"/>
                <a:gd name="T34" fmla="*/ 23 w 32"/>
                <a:gd name="T35" fmla="*/ 24 h 28"/>
                <a:gd name="T36" fmla="*/ 19 w 32"/>
                <a:gd name="T37" fmla="*/ 28 h 28"/>
                <a:gd name="T38" fmla="*/ 12 w 32"/>
                <a:gd name="T39" fmla="*/ 27 h 28"/>
                <a:gd name="T40" fmla="*/ 11 w 32"/>
                <a:gd name="T41" fmla="*/ 26 h 28"/>
                <a:gd name="T42" fmla="*/ 4 w 32"/>
                <a:gd name="T43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" h="28">
                  <a:moveTo>
                    <a:pt x="4" y="26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3" y="1"/>
                    <a:pt x="13" y="1"/>
                  </a:cubicBezTo>
                  <a:cubicBezTo>
                    <a:pt x="13" y="1"/>
                    <a:pt x="16" y="4"/>
                    <a:pt x="17" y="4"/>
                  </a:cubicBezTo>
                  <a:cubicBezTo>
                    <a:pt x="19" y="4"/>
                    <a:pt x="20" y="1"/>
                    <a:pt x="20" y="3"/>
                  </a:cubicBezTo>
                  <a:cubicBezTo>
                    <a:pt x="21" y="3"/>
                    <a:pt x="24" y="6"/>
                    <a:pt x="25" y="7"/>
                  </a:cubicBezTo>
                  <a:cubicBezTo>
                    <a:pt x="26" y="9"/>
                    <a:pt x="28" y="10"/>
                    <a:pt x="29" y="1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8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0" y="19"/>
                    <a:pt x="29" y="19"/>
                  </a:cubicBezTo>
                  <a:cubicBezTo>
                    <a:pt x="28" y="19"/>
                    <a:pt x="27" y="22"/>
                    <a:pt x="27" y="22"/>
                  </a:cubicBezTo>
                  <a:cubicBezTo>
                    <a:pt x="27" y="22"/>
                    <a:pt x="25" y="23"/>
                    <a:pt x="23" y="24"/>
                  </a:cubicBezTo>
                  <a:cubicBezTo>
                    <a:pt x="22" y="24"/>
                    <a:pt x="19" y="28"/>
                    <a:pt x="19" y="28"/>
                  </a:cubicBezTo>
                  <a:cubicBezTo>
                    <a:pt x="18" y="28"/>
                    <a:pt x="14" y="27"/>
                    <a:pt x="12" y="27"/>
                  </a:cubicBezTo>
                  <a:cubicBezTo>
                    <a:pt x="12" y="27"/>
                    <a:pt x="11" y="27"/>
                    <a:pt x="11" y="26"/>
                  </a:cubicBezTo>
                  <a:cubicBezTo>
                    <a:pt x="11" y="26"/>
                    <a:pt x="7" y="26"/>
                    <a:pt x="4" y="2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6" name="Freeform 6388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4872484" y="2485787"/>
              <a:ext cx="224989" cy="167434"/>
            </a:xfrm>
            <a:custGeom>
              <a:avLst/>
              <a:gdLst>
                <a:gd name="T0" fmla="*/ 3 w 37"/>
                <a:gd name="T1" fmla="*/ 22 h 26"/>
                <a:gd name="T2" fmla="*/ 0 w 37"/>
                <a:gd name="T3" fmla="*/ 21 h 26"/>
                <a:gd name="T4" fmla="*/ 3 w 37"/>
                <a:gd name="T5" fmla="*/ 17 h 26"/>
                <a:gd name="T6" fmla="*/ 2 w 37"/>
                <a:gd name="T7" fmla="*/ 12 h 26"/>
                <a:gd name="T8" fmla="*/ 7 w 37"/>
                <a:gd name="T9" fmla="*/ 12 h 26"/>
                <a:gd name="T10" fmla="*/ 10 w 37"/>
                <a:gd name="T11" fmla="*/ 10 h 26"/>
                <a:gd name="T12" fmla="*/ 11 w 37"/>
                <a:gd name="T13" fmla="*/ 7 h 26"/>
                <a:gd name="T14" fmla="*/ 13 w 37"/>
                <a:gd name="T15" fmla="*/ 6 h 26"/>
                <a:gd name="T16" fmla="*/ 14 w 37"/>
                <a:gd name="T17" fmla="*/ 3 h 26"/>
                <a:gd name="T18" fmla="*/ 19 w 37"/>
                <a:gd name="T19" fmla="*/ 0 h 26"/>
                <a:gd name="T20" fmla="*/ 24 w 37"/>
                <a:gd name="T21" fmla="*/ 1 h 26"/>
                <a:gd name="T22" fmla="*/ 30 w 37"/>
                <a:gd name="T23" fmla="*/ 3 h 26"/>
                <a:gd name="T24" fmla="*/ 30 w 37"/>
                <a:gd name="T25" fmla="*/ 7 h 26"/>
                <a:gd name="T26" fmla="*/ 33 w 37"/>
                <a:gd name="T27" fmla="*/ 11 h 26"/>
                <a:gd name="T28" fmla="*/ 37 w 37"/>
                <a:gd name="T29" fmla="*/ 16 h 26"/>
                <a:gd name="T30" fmla="*/ 32 w 37"/>
                <a:gd name="T31" fmla="*/ 17 h 26"/>
                <a:gd name="T32" fmla="*/ 33 w 37"/>
                <a:gd name="T33" fmla="*/ 21 h 26"/>
                <a:gd name="T34" fmla="*/ 31 w 37"/>
                <a:gd name="T35" fmla="*/ 22 h 26"/>
                <a:gd name="T36" fmla="*/ 29 w 37"/>
                <a:gd name="T37" fmla="*/ 26 h 26"/>
                <a:gd name="T38" fmla="*/ 24 w 37"/>
                <a:gd name="T39" fmla="*/ 25 h 26"/>
                <a:gd name="T40" fmla="*/ 18 w 37"/>
                <a:gd name="T41" fmla="*/ 24 h 26"/>
                <a:gd name="T42" fmla="*/ 10 w 37"/>
                <a:gd name="T43" fmla="*/ 22 h 26"/>
                <a:gd name="T44" fmla="*/ 6 w 37"/>
                <a:gd name="T45" fmla="*/ 23 h 26"/>
                <a:gd name="T46" fmla="*/ 2 w 37"/>
                <a:gd name="T47" fmla="*/ 25 h 26"/>
                <a:gd name="T48" fmla="*/ 2 w 37"/>
                <a:gd name="T49" fmla="*/ 25 h 26"/>
                <a:gd name="T50" fmla="*/ 3 w 37"/>
                <a:gd name="T51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" h="26">
                  <a:moveTo>
                    <a:pt x="3" y="22"/>
                  </a:moveTo>
                  <a:cubicBezTo>
                    <a:pt x="2" y="22"/>
                    <a:pt x="0" y="21"/>
                    <a:pt x="0" y="21"/>
                  </a:cubicBezTo>
                  <a:cubicBezTo>
                    <a:pt x="0" y="20"/>
                    <a:pt x="3" y="18"/>
                    <a:pt x="3" y="17"/>
                  </a:cubicBezTo>
                  <a:cubicBezTo>
                    <a:pt x="3" y="16"/>
                    <a:pt x="2" y="14"/>
                    <a:pt x="2" y="12"/>
                  </a:cubicBezTo>
                  <a:cubicBezTo>
                    <a:pt x="2" y="12"/>
                    <a:pt x="6" y="12"/>
                    <a:pt x="7" y="12"/>
                  </a:cubicBezTo>
                  <a:cubicBezTo>
                    <a:pt x="7" y="11"/>
                    <a:pt x="9" y="10"/>
                    <a:pt x="10" y="10"/>
                  </a:cubicBezTo>
                  <a:cubicBezTo>
                    <a:pt x="10" y="9"/>
                    <a:pt x="11" y="7"/>
                    <a:pt x="11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9" y="0"/>
                    <a:pt x="19" y="0"/>
                  </a:cubicBezTo>
                  <a:cubicBezTo>
                    <a:pt x="21" y="0"/>
                    <a:pt x="23" y="1"/>
                    <a:pt x="24" y="1"/>
                  </a:cubicBezTo>
                  <a:cubicBezTo>
                    <a:pt x="26" y="2"/>
                    <a:pt x="29" y="2"/>
                    <a:pt x="30" y="3"/>
                  </a:cubicBezTo>
                  <a:cubicBezTo>
                    <a:pt x="31" y="4"/>
                    <a:pt x="30" y="6"/>
                    <a:pt x="30" y="7"/>
                  </a:cubicBezTo>
                  <a:cubicBezTo>
                    <a:pt x="30" y="8"/>
                    <a:pt x="32" y="10"/>
                    <a:pt x="33" y="11"/>
                  </a:cubicBezTo>
                  <a:cubicBezTo>
                    <a:pt x="34" y="12"/>
                    <a:pt x="37" y="15"/>
                    <a:pt x="37" y="16"/>
                  </a:cubicBezTo>
                  <a:cubicBezTo>
                    <a:pt x="37" y="17"/>
                    <a:pt x="32" y="16"/>
                    <a:pt x="32" y="17"/>
                  </a:cubicBezTo>
                  <a:cubicBezTo>
                    <a:pt x="32" y="17"/>
                    <a:pt x="33" y="21"/>
                    <a:pt x="33" y="21"/>
                  </a:cubicBezTo>
                  <a:cubicBezTo>
                    <a:pt x="32" y="22"/>
                    <a:pt x="31" y="22"/>
                    <a:pt x="31" y="22"/>
                  </a:cubicBezTo>
                  <a:cubicBezTo>
                    <a:pt x="30" y="23"/>
                    <a:pt x="30" y="25"/>
                    <a:pt x="29" y="26"/>
                  </a:cubicBezTo>
                  <a:cubicBezTo>
                    <a:pt x="29" y="26"/>
                    <a:pt x="26" y="26"/>
                    <a:pt x="24" y="25"/>
                  </a:cubicBezTo>
                  <a:cubicBezTo>
                    <a:pt x="23" y="25"/>
                    <a:pt x="19" y="24"/>
                    <a:pt x="18" y="24"/>
                  </a:cubicBezTo>
                  <a:cubicBezTo>
                    <a:pt x="17" y="24"/>
                    <a:pt x="12" y="22"/>
                    <a:pt x="10" y="22"/>
                  </a:cubicBezTo>
                  <a:cubicBezTo>
                    <a:pt x="9" y="22"/>
                    <a:pt x="7" y="23"/>
                    <a:pt x="6" y="23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4"/>
                    <a:pt x="3" y="23"/>
                    <a:pt x="3" y="2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7" name="Freeform 6390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4856860" y="2877583"/>
              <a:ext cx="149993" cy="90414"/>
            </a:xfrm>
            <a:custGeom>
              <a:avLst/>
              <a:gdLst>
                <a:gd name="T0" fmla="*/ 1 w 25"/>
                <a:gd name="T1" fmla="*/ 7 h 14"/>
                <a:gd name="T2" fmla="*/ 3 w 25"/>
                <a:gd name="T3" fmla="*/ 5 h 14"/>
                <a:gd name="T4" fmla="*/ 1 w 25"/>
                <a:gd name="T5" fmla="*/ 2 h 14"/>
                <a:gd name="T6" fmla="*/ 1 w 25"/>
                <a:gd name="T7" fmla="*/ 0 h 14"/>
                <a:gd name="T8" fmla="*/ 4 w 25"/>
                <a:gd name="T9" fmla="*/ 2 h 14"/>
                <a:gd name="T10" fmla="*/ 7 w 25"/>
                <a:gd name="T11" fmla="*/ 3 h 14"/>
                <a:gd name="T12" fmla="*/ 13 w 25"/>
                <a:gd name="T13" fmla="*/ 3 h 14"/>
                <a:gd name="T14" fmla="*/ 17 w 25"/>
                <a:gd name="T15" fmla="*/ 1 h 14"/>
                <a:gd name="T16" fmla="*/ 22 w 25"/>
                <a:gd name="T17" fmla="*/ 2 h 14"/>
                <a:gd name="T18" fmla="*/ 25 w 25"/>
                <a:gd name="T19" fmla="*/ 2 h 14"/>
                <a:gd name="T20" fmla="*/ 25 w 25"/>
                <a:gd name="T21" fmla="*/ 4 h 14"/>
                <a:gd name="T22" fmla="*/ 21 w 25"/>
                <a:gd name="T23" fmla="*/ 5 h 14"/>
                <a:gd name="T24" fmla="*/ 21 w 25"/>
                <a:gd name="T25" fmla="*/ 9 h 14"/>
                <a:gd name="T26" fmla="*/ 21 w 25"/>
                <a:gd name="T27" fmla="*/ 10 h 14"/>
                <a:gd name="T28" fmla="*/ 19 w 25"/>
                <a:gd name="T29" fmla="*/ 10 h 14"/>
                <a:gd name="T30" fmla="*/ 15 w 25"/>
                <a:gd name="T31" fmla="*/ 11 h 14"/>
                <a:gd name="T32" fmla="*/ 13 w 25"/>
                <a:gd name="T33" fmla="*/ 13 h 14"/>
                <a:gd name="T34" fmla="*/ 10 w 25"/>
                <a:gd name="T35" fmla="*/ 12 h 14"/>
                <a:gd name="T36" fmla="*/ 6 w 25"/>
                <a:gd name="T37" fmla="*/ 12 h 14"/>
                <a:gd name="T38" fmla="*/ 3 w 25"/>
                <a:gd name="T39" fmla="*/ 14 h 14"/>
                <a:gd name="T40" fmla="*/ 3 w 25"/>
                <a:gd name="T41" fmla="*/ 12 h 14"/>
                <a:gd name="T42" fmla="*/ 0 w 25"/>
                <a:gd name="T43" fmla="*/ 9 h 14"/>
                <a:gd name="T44" fmla="*/ 1 w 25"/>
                <a:gd name="T45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" h="14">
                  <a:moveTo>
                    <a:pt x="1" y="7"/>
                  </a:moveTo>
                  <a:cubicBezTo>
                    <a:pt x="1" y="6"/>
                    <a:pt x="3" y="6"/>
                    <a:pt x="3" y="5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6" y="3"/>
                    <a:pt x="7" y="3"/>
                  </a:cubicBezTo>
                  <a:cubicBezTo>
                    <a:pt x="8" y="3"/>
                    <a:pt x="12" y="3"/>
                    <a:pt x="13" y="3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18" y="1"/>
                    <a:pt x="21" y="2"/>
                    <a:pt x="22" y="2"/>
                  </a:cubicBezTo>
                  <a:cubicBezTo>
                    <a:pt x="22" y="2"/>
                    <a:pt x="25" y="2"/>
                    <a:pt x="25" y="2"/>
                  </a:cubicBezTo>
                  <a:cubicBezTo>
                    <a:pt x="25" y="3"/>
                    <a:pt x="25" y="3"/>
                    <a:pt x="25" y="4"/>
                  </a:cubicBezTo>
                  <a:cubicBezTo>
                    <a:pt x="25" y="4"/>
                    <a:pt x="22" y="5"/>
                    <a:pt x="21" y="5"/>
                  </a:cubicBezTo>
                  <a:cubicBezTo>
                    <a:pt x="21" y="6"/>
                    <a:pt x="21" y="8"/>
                    <a:pt x="21" y="9"/>
                  </a:cubicBezTo>
                  <a:cubicBezTo>
                    <a:pt x="21" y="9"/>
                    <a:pt x="21" y="9"/>
                    <a:pt x="21" y="10"/>
                  </a:cubicBezTo>
                  <a:cubicBezTo>
                    <a:pt x="21" y="10"/>
                    <a:pt x="20" y="10"/>
                    <a:pt x="19" y="10"/>
                  </a:cubicBezTo>
                  <a:cubicBezTo>
                    <a:pt x="19" y="10"/>
                    <a:pt x="16" y="11"/>
                    <a:pt x="15" y="11"/>
                  </a:cubicBezTo>
                  <a:cubicBezTo>
                    <a:pt x="15" y="11"/>
                    <a:pt x="14" y="12"/>
                    <a:pt x="13" y="13"/>
                  </a:cubicBezTo>
                  <a:cubicBezTo>
                    <a:pt x="13" y="13"/>
                    <a:pt x="10" y="13"/>
                    <a:pt x="10" y="12"/>
                  </a:cubicBezTo>
                  <a:cubicBezTo>
                    <a:pt x="9" y="12"/>
                    <a:pt x="7" y="12"/>
                    <a:pt x="6" y="12"/>
                  </a:cubicBezTo>
                  <a:cubicBezTo>
                    <a:pt x="5" y="12"/>
                    <a:pt x="4" y="13"/>
                    <a:pt x="3" y="14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0" y="10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8" name="Freeform 6391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4841236" y="2361886"/>
              <a:ext cx="146868" cy="73671"/>
            </a:xfrm>
            <a:custGeom>
              <a:avLst/>
              <a:gdLst>
                <a:gd name="T0" fmla="*/ 1 w 24"/>
                <a:gd name="T1" fmla="*/ 8 h 11"/>
                <a:gd name="T2" fmla="*/ 1 w 24"/>
                <a:gd name="T3" fmla="*/ 6 h 11"/>
                <a:gd name="T4" fmla="*/ 3 w 24"/>
                <a:gd name="T5" fmla="*/ 4 h 11"/>
                <a:gd name="T6" fmla="*/ 7 w 24"/>
                <a:gd name="T7" fmla="*/ 3 h 11"/>
                <a:gd name="T8" fmla="*/ 8 w 24"/>
                <a:gd name="T9" fmla="*/ 1 h 11"/>
                <a:gd name="T10" fmla="*/ 14 w 24"/>
                <a:gd name="T11" fmla="*/ 0 h 11"/>
                <a:gd name="T12" fmla="*/ 20 w 24"/>
                <a:gd name="T13" fmla="*/ 1 h 11"/>
                <a:gd name="T14" fmla="*/ 24 w 24"/>
                <a:gd name="T15" fmla="*/ 1 h 11"/>
                <a:gd name="T16" fmla="*/ 22 w 24"/>
                <a:gd name="T17" fmla="*/ 6 h 11"/>
                <a:gd name="T18" fmla="*/ 23 w 24"/>
                <a:gd name="T19" fmla="*/ 11 h 11"/>
                <a:gd name="T20" fmla="*/ 18 w 24"/>
                <a:gd name="T21" fmla="*/ 11 h 11"/>
                <a:gd name="T22" fmla="*/ 15 w 24"/>
                <a:gd name="T23" fmla="*/ 9 h 11"/>
                <a:gd name="T24" fmla="*/ 11 w 24"/>
                <a:gd name="T25" fmla="*/ 9 h 11"/>
                <a:gd name="T26" fmla="*/ 11 w 24"/>
                <a:gd name="T27" fmla="*/ 9 h 11"/>
                <a:gd name="T28" fmla="*/ 11 w 24"/>
                <a:gd name="T29" fmla="*/ 7 h 11"/>
                <a:gd name="T30" fmla="*/ 9 w 24"/>
                <a:gd name="T31" fmla="*/ 6 h 11"/>
                <a:gd name="T32" fmla="*/ 6 w 24"/>
                <a:gd name="T33" fmla="*/ 6 h 11"/>
                <a:gd name="T34" fmla="*/ 1 w 24"/>
                <a:gd name="T3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1">
                  <a:moveTo>
                    <a:pt x="1" y="8"/>
                  </a:moveTo>
                  <a:cubicBezTo>
                    <a:pt x="0" y="7"/>
                    <a:pt x="0" y="6"/>
                    <a:pt x="1" y="6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4" y="4"/>
                    <a:pt x="6" y="4"/>
                    <a:pt x="7" y="3"/>
                  </a:cubicBezTo>
                  <a:cubicBezTo>
                    <a:pt x="7" y="3"/>
                    <a:pt x="7" y="2"/>
                    <a:pt x="8" y="1"/>
                  </a:cubicBezTo>
                  <a:cubicBezTo>
                    <a:pt x="8" y="1"/>
                    <a:pt x="13" y="0"/>
                    <a:pt x="14" y="0"/>
                  </a:cubicBezTo>
                  <a:cubicBezTo>
                    <a:pt x="15" y="0"/>
                    <a:pt x="19" y="1"/>
                    <a:pt x="20" y="1"/>
                  </a:cubicBezTo>
                  <a:cubicBezTo>
                    <a:pt x="21" y="1"/>
                    <a:pt x="24" y="1"/>
                    <a:pt x="24" y="1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8"/>
                    <a:pt x="22" y="11"/>
                    <a:pt x="23" y="11"/>
                  </a:cubicBezTo>
                  <a:cubicBezTo>
                    <a:pt x="23" y="11"/>
                    <a:pt x="20" y="11"/>
                    <a:pt x="18" y="11"/>
                  </a:cubicBezTo>
                  <a:cubicBezTo>
                    <a:pt x="17" y="11"/>
                    <a:pt x="16" y="9"/>
                    <a:pt x="15" y="9"/>
                  </a:cubicBezTo>
                  <a:cubicBezTo>
                    <a:pt x="13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6"/>
                    <a:pt x="9" y="7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5" y="6"/>
                    <a:pt x="2" y="8"/>
                    <a:pt x="1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9" name="Freeform 6392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4884983" y="3135430"/>
              <a:ext cx="65622" cy="26790"/>
            </a:xfrm>
            <a:custGeom>
              <a:avLst/>
              <a:gdLst>
                <a:gd name="T0" fmla="*/ 2 w 11"/>
                <a:gd name="T1" fmla="*/ 2 h 4"/>
                <a:gd name="T2" fmla="*/ 0 w 11"/>
                <a:gd name="T3" fmla="*/ 1 h 4"/>
                <a:gd name="T4" fmla="*/ 1 w 11"/>
                <a:gd name="T5" fmla="*/ 0 h 4"/>
                <a:gd name="T6" fmla="*/ 7 w 11"/>
                <a:gd name="T7" fmla="*/ 1 h 4"/>
                <a:gd name="T8" fmla="*/ 9 w 11"/>
                <a:gd name="T9" fmla="*/ 2 h 4"/>
                <a:gd name="T10" fmla="*/ 11 w 11"/>
                <a:gd name="T11" fmla="*/ 2 h 4"/>
                <a:gd name="T12" fmla="*/ 11 w 11"/>
                <a:gd name="T13" fmla="*/ 4 h 4"/>
                <a:gd name="T14" fmla="*/ 8 w 11"/>
                <a:gd name="T15" fmla="*/ 4 h 4"/>
                <a:gd name="T16" fmla="*/ 4 w 11"/>
                <a:gd name="T17" fmla="*/ 4 h 4"/>
                <a:gd name="T18" fmla="*/ 2 w 11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7" y="1"/>
                    <a:pt x="7" y="1"/>
                  </a:cubicBezTo>
                  <a:cubicBezTo>
                    <a:pt x="8" y="1"/>
                    <a:pt x="8" y="2"/>
                    <a:pt x="9" y="2"/>
                  </a:cubicBezTo>
                  <a:cubicBezTo>
                    <a:pt x="9" y="2"/>
                    <a:pt x="11" y="1"/>
                    <a:pt x="11" y="2"/>
                  </a:cubicBezTo>
                  <a:cubicBezTo>
                    <a:pt x="11" y="2"/>
                    <a:pt x="11" y="3"/>
                    <a:pt x="11" y="4"/>
                  </a:cubicBezTo>
                  <a:cubicBezTo>
                    <a:pt x="11" y="4"/>
                    <a:pt x="9" y="4"/>
                    <a:pt x="8" y="4"/>
                  </a:cubicBezTo>
                  <a:cubicBezTo>
                    <a:pt x="6" y="4"/>
                    <a:pt x="5" y="4"/>
                    <a:pt x="4" y="4"/>
                  </a:cubicBezTo>
                  <a:cubicBezTo>
                    <a:pt x="4" y="4"/>
                    <a:pt x="3" y="2"/>
                    <a:pt x="2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0" name="Freeform 6393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806862" y="2941409"/>
              <a:ext cx="143743" cy="167231"/>
            </a:xfrm>
            <a:custGeom>
              <a:avLst/>
              <a:gdLst>
                <a:gd name="T0" fmla="*/ 1 w 24"/>
                <a:gd name="T1" fmla="*/ 13 h 25"/>
                <a:gd name="T2" fmla="*/ 0 w 24"/>
                <a:gd name="T3" fmla="*/ 11 h 25"/>
                <a:gd name="T4" fmla="*/ 3 w 24"/>
                <a:gd name="T5" fmla="*/ 7 h 25"/>
                <a:gd name="T6" fmla="*/ 3 w 24"/>
                <a:gd name="T7" fmla="*/ 6 h 25"/>
                <a:gd name="T8" fmla="*/ 7 w 24"/>
                <a:gd name="T9" fmla="*/ 4 h 25"/>
                <a:gd name="T10" fmla="*/ 10 w 24"/>
                <a:gd name="T11" fmla="*/ 3 h 25"/>
                <a:gd name="T12" fmla="*/ 11 w 24"/>
                <a:gd name="T13" fmla="*/ 3 h 25"/>
                <a:gd name="T14" fmla="*/ 14 w 24"/>
                <a:gd name="T15" fmla="*/ 2 h 25"/>
                <a:gd name="T16" fmla="*/ 18 w 24"/>
                <a:gd name="T17" fmla="*/ 2 h 25"/>
                <a:gd name="T18" fmla="*/ 21 w 24"/>
                <a:gd name="T19" fmla="*/ 2 h 25"/>
                <a:gd name="T20" fmla="*/ 23 w 24"/>
                <a:gd name="T21" fmla="*/ 0 h 25"/>
                <a:gd name="T22" fmla="*/ 24 w 24"/>
                <a:gd name="T23" fmla="*/ 4 h 25"/>
                <a:gd name="T24" fmla="*/ 23 w 24"/>
                <a:gd name="T25" fmla="*/ 6 h 25"/>
                <a:gd name="T26" fmla="*/ 20 w 24"/>
                <a:gd name="T27" fmla="*/ 5 h 25"/>
                <a:gd name="T28" fmla="*/ 16 w 24"/>
                <a:gd name="T29" fmla="*/ 5 h 25"/>
                <a:gd name="T30" fmla="*/ 14 w 24"/>
                <a:gd name="T31" fmla="*/ 7 h 25"/>
                <a:gd name="T32" fmla="*/ 16 w 24"/>
                <a:gd name="T33" fmla="*/ 9 h 25"/>
                <a:gd name="T34" fmla="*/ 13 w 24"/>
                <a:gd name="T35" fmla="*/ 9 h 25"/>
                <a:gd name="T36" fmla="*/ 10 w 24"/>
                <a:gd name="T37" fmla="*/ 7 h 25"/>
                <a:gd name="T38" fmla="*/ 9 w 24"/>
                <a:gd name="T39" fmla="*/ 9 h 25"/>
                <a:gd name="T40" fmla="*/ 12 w 24"/>
                <a:gd name="T41" fmla="*/ 13 h 25"/>
                <a:gd name="T42" fmla="*/ 14 w 24"/>
                <a:gd name="T43" fmla="*/ 15 h 25"/>
                <a:gd name="T44" fmla="*/ 16 w 24"/>
                <a:gd name="T45" fmla="*/ 18 h 25"/>
                <a:gd name="T46" fmla="*/ 18 w 24"/>
                <a:gd name="T47" fmla="*/ 19 h 25"/>
                <a:gd name="T48" fmla="*/ 15 w 24"/>
                <a:gd name="T49" fmla="*/ 19 h 25"/>
                <a:gd name="T50" fmla="*/ 12 w 24"/>
                <a:gd name="T51" fmla="*/ 19 h 25"/>
                <a:gd name="T52" fmla="*/ 12 w 24"/>
                <a:gd name="T53" fmla="*/ 21 h 25"/>
                <a:gd name="T54" fmla="*/ 10 w 24"/>
                <a:gd name="T55" fmla="*/ 21 h 25"/>
                <a:gd name="T56" fmla="*/ 11 w 24"/>
                <a:gd name="T57" fmla="*/ 25 h 25"/>
                <a:gd name="T58" fmla="*/ 8 w 24"/>
                <a:gd name="T59" fmla="*/ 24 h 25"/>
                <a:gd name="T60" fmla="*/ 5 w 24"/>
                <a:gd name="T61" fmla="*/ 23 h 25"/>
                <a:gd name="T62" fmla="*/ 6 w 24"/>
                <a:gd name="T63" fmla="*/ 21 h 25"/>
                <a:gd name="T64" fmla="*/ 4 w 24"/>
                <a:gd name="T65" fmla="*/ 19 h 25"/>
                <a:gd name="T66" fmla="*/ 7 w 24"/>
                <a:gd name="T67" fmla="*/ 18 h 25"/>
                <a:gd name="T68" fmla="*/ 4 w 24"/>
                <a:gd name="T69" fmla="*/ 16 h 25"/>
                <a:gd name="T70" fmla="*/ 1 w 24"/>
                <a:gd name="T71" fmla="*/ 13 h 25"/>
                <a:gd name="connsiteX0" fmla="*/ 417 w 10000"/>
                <a:gd name="connsiteY0" fmla="*/ 5200 h 10000"/>
                <a:gd name="connsiteX1" fmla="*/ 0 w 10000"/>
                <a:gd name="connsiteY1" fmla="*/ 4400 h 10000"/>
                <a:gd name="connsiteX2" fmla="*/ 1250 w 10000"/>
                <a:gd name="connsiteY2" fmla="*/ 2800 h 10000"/>
                <a:gd name="connsiteX3" fmla="*/ 1250 w 10000"/>
                <a:gd name="connsiteY3" fmla="*/ 2400 h 10000"/>
                <a:gd name="connsiteX4" fmla="*/ 2917 w 10000"/>
                <a:gd name="connsiteY4" fmla="*/ 1600 h 10000"/>
                <a:gd name="connsiteX5" fmla="*/ 4167 w 10000"/>
                <a:gd name="connsiteY5" fmla="*/ 1200 h 10000"/>
                <a:gd name="connsiteX6" fmla="*/ 4417 w 10000"/>
                <a:gd name="connsiteY6" fmla="*/ 565 h 10000"/>
                <a:gd name="connsiteX7" fmla="*/ 5833 w 10000"/>
                <a:gd name="connsiteY7" fmla="*/ 800 h 10000"/>
                <a:gd name="connsiteX8" fmla="*/ 7500 w 10000"/>
                <a:gd name="connsiteY8" fmla="*/ 800 h 10000"/>
                <a:gd name="connsiteX9" fmla="*/ 8750 w 10000"/>
                <a:gd name="connsiteY9" fmla="*/ 800 h 10000"/>
                <a:gd name="connsiteX10" fmla="*/ 9583 w 10000"/>
                <a:gd name="connsiteY10" fmla="*/ 0 h 10000"/>
                <a:gd name="connsiteX11" fmla="*/ 10000 w 10000"/>
                <a:gd name="connsiteY11" fmla="*/ 1600 h 10000"/>
                <a:gd name="connsiteX12" fmla="*/ 9583 w 10000"/>
                <a:gd name="connsiteY12" fmla="*/ 2400 h 10000"/>
                <a:gd name="connsiteX13" fmla="*/ 8333 w 10000"/>
                <a:gd name="connsiteY13" fmla="*/ 2000 h 10000"/>
                <a:gd name="connsiteX14" fmla="*/ 6667 w 10000"/>
                <a:gd name="connsiteY14" fmla="*/ 2000 h 10000"/>
                <a:gd name="connsiteX15" fmla="*/ 5833 w 10000"/>
                <a:gd name="connsiteY15" fmla="*/ 2800 h 10000"/>
                <a:gd name="connsiteX16" fmla="*/ 6667 w 10000"/>
                <a:gd name="connsiteY16" fmla="*/ 3600 h 10000"/>
                <a:gd name="connsiteX17" fmla="*/ 5417 w 10000"/>
                <a:gd name="connsiteY17" fmla="*/ 3600 h 10000"/>
                <a:gd name="connsiteX18" fmla="*/ 4167 w 10000"/>
                <a:gd name="connsiteY18" fmla="*/ 2800 h 10000"/>
                <a:gd name="connsiteX19" fmla="*/ 3750 w 10000"/>
                <a:gd name="connsiteY19" fmla="*/ 3600 h 10000"/>
                <a:gd name="connsiteX20" fmla="*/ 5000 w 10000"/>
                <a:gd name="connsiteY20" fmla="*/ 5200 h 10000"/>
                <a:gd name="connsiteX21" fmla="*/ 5833 w 10000"/>
                <a:gd name="connsiteY21" fmla="*/ 6000 h 10000"/>
                <a:gd name="connsiteX22" fmla="*/ 6667 w 10000"/>
                <a:gd name="connsiteY22" fmla="*/ 7200 h 10000"/>
                <a:gd name="connsiteX23" fmla="*/ 7500 w 10000"/>
                <a:gd name="connsiteY23" fmla="*/ 7600 h 10000"/>
                <a:gd name="connsiteX24" fmla="*/ 6250 w 10000"/>
                <a:gd name="connsiteY24" fmla="*/ 7600 h 10000"/>
                <a:gd name="connsiteX25" fmla="*/ 5000 w 10000"/>
                <a:gd name="connsiteY25" fmla="*/ 7600 h 10000"/>
                <a:gd name="connsiteX26" fmla="*/ 5000 w 10000"/>
                <a:gd name="connsiteY26" fmla="*/ 8400 h 10000"/>
                <a:gd name="connsiteX27" fmla="*/ 4167 w 10000"/>
                <a:gd name="connsiteY27" fmla="*/ 8400 h 10000"/>
                <a:gd name="connsiteX28" fmla="*/ 4583 w 10000"/>
                <a:gd name="connsiteY28" fmla="*/ 10000 h 10000"/>
                <a:gd name="connsiteX29" fmla="*/ 3333 w 10000"/>
                <a:gd name="connsiteY29" fmla="*/ 9600 h 10000"/>
                <a:gd name="connsiteX30" fmla="*/ 2083 w 10000"/>
                <a:gd name="connsiteY30" fmla="*/ 9200 h 10000"/>
                <a:gd name="connsiteX31" fmla="*/ 2500 w 10000"/>
                <a:gd name="connsiteY31" fmla="*/ 8400 h 10000"/>
                <a:gd name="connsiteX32" fmla="*/ 1667 w 10000"/>
                <a:gd name="connsiteY32" fmla="*/ 7600 h 10000"/>
                <a:gd name="connsiteX33" fmla="*/ 2917 w 10000"/>
                <a:gd name="connsiteY33" fmla="*/ 7200 h 10000"/>
                <a:gd name="connsiteX34" fmla="*/ 1667 w 10000"/>
                <a:gd name="connsiteY34" fmla="*/ 6400 h 10000"/>
                <a:gd name="connsiteX35" fmla="*/ 417 w 10000"/>
                <a:gd name="connsiteY35" fmla="*/ 5200 h 10000"/>
                <a:gd name="connsiteX0" fmla="*/ 417 w 10000"/>
                <a:gd name="connsiteY0" fmla="*/ 5200 h 10000"/>
                <a:gd name="connsiteX1" fmla="*/ 0 w 10000"/>
                <a:gd name="connsiteY1" fmla="*/ 4400 h 10000"/>
                <a:gd name="connsiteX2" fmla="*/ 1250 w 10000"/>
                <a:gd name="connsiteY2" fmla="*/ 2800 h 10000"/>
                <a:gd name="connsiteX3" fmla="*/ 1250 w 10000"/>
                <a:gd name="connsiteY3" fmla="*/ 2400 h 10000"/>
                <a:gd name="connsiteX4" fmla="*/ 2917 w 10000"/>
                <a:gd name="connsiteY4" fmla="*/ 1600 h 10000"/>
                <a:gd name="connsiteX5" fmla="*/ 3836 w 10000"/>
                <a:gd name="connsiteY5" fmla="*/ 724 h 10000"/>
                <a:gd name="connsiteX6" fmla="*/ 4417 w 10000"/>
                <a:gd name="connsiteY6" fmla="*/ 565 h 10000"/>
                <a:gd name="connsiteX7" fmla="*/ 5833 w 10000"/>
                <a:gd name="connsiteY7" fmla="*/ 800 h 10000"/>
                <a:gd name="connsiteX8" fmla="*/ 7500 w 10000"/>
                <a:gd name="connsiteY8" fmla="*/ 800 h 10000"/>
                <a:gd name="connsiteX9" fmla="*/ 8750 w 10000"/>
                <a:gd name="connsiteY9" fmla="*/ 800 h 10000"/>
                <a:gd name="connsiteX10" fmla="*/ 9583 w 10000"/>
                <a:gd name="connsiteY10" fmla="*/ 0 h 10000"/>
                <a:gd name="connsiteX11" fmla="*/ 10000 w 10000"/>
                <a:gd name="connsiteY11" fmla="*/ 1600 h 10000"/>
                <a:gd name="connsiteX12" fmla="*/ 9583 w 10000"/>
                <a:gd name="connsiteY12" fmla="*/ 2400 h 10000"/>
                <a:gd name="connsiteX13" fmla="*/ 8333 w 10000"/>
                <a:gd name="connsiteY13" fmla="*/ 2000 h 10000"/>
                <a:gd name="connsiteX14" fmla="*/ 6667 w 10000"/>
                <a:gd name="connsiteY14" fmla="*/ 2000 h 10000"/>
                <a:gd name="connsiteX15" fmla="*/ 5833 w 10000"/>
                <a:gd name="connsiteY15" fmla="*/ 2800 h 10000"/>
                <a:gd name="connsiteX16" fmla="*/ 6667 w 10000"/>
                <a:gd name="connsiteY16" fmla="*/ 3600 h 10000"/>
                <a:gd name="connsiteX17" fmla="*/ 5417 w 10000"/>
                <a:gd name="connsiteY17" fmla="*/ 3600 h 10000"/>
                <a:gd name="connsiteX18" fmla="*/ 4167 w 10000"/>
                <a:gd name="connsiteY18" fmla="*/ 2800 h 10000"/>
                <a:gd name="connsiteX19" fmla="*/ 3750 w 10000"/>
                <a:gd name="connsiteY19" fmla="*/ 3600 h 10000"/>
                <a:gd name="connsiteX20" fmla="*/ 5000 w 10000"/>
                <a:gd name="connsiteY20" fmla="*/ 5200 h 10000"/>
                <a:gd name="connsiteX21" fmla="*/ 5833 w 10000"/>
                <a:gd name="connsiteY21" fmla="*/ 6000 h 10000"/>
                <a:gd name="connsiteX22" fmla="*/ 6667 w 10000"/>
                <a:gd name="connsiteY22" fmla="*/ 7200 h 10000"/>
                <a:gd name="connsiteX23" fmla="*/ 7500 w 10000"/>
                <a:gd name="connsiteY23" fmla="*/ 7600 h 10000"/>
                <a:gd name="connsiteX24" fmla="*/ 6250 w 10000"/>
                <a:gd name="connsiteY24" fmla="*/ 7600 h 10000"/>
                <a:gd name="connsiteX25" fmla="*/ 5000 w 10000"/>
                <a:gd name="connsiteY25" fmla="*/ 7600 h 10000"/>
                <a:gd name="connsiteX26" fmla="*/ 5000 w 10000"/>
                <a:gd name="connsiteY26" fmla="*/ 8400 h 10000"/>
                <a:gd name="connsiteX27" fmla="*/ 4167 w 10000"/>
                <a:gd name="connsiteY27" fmla="*/ 8400 h 10000"/>
                <a:gd name="connsiteX28" fmla="*/ 4583 w 10000"/>
                <a:gd name="connsiteY28" fmla="*/ 10000 h 10000"/>
                <a:gd name="connsiteX29" fmla="*/ 3333 w 10000"/>
                <a:gd name="connsiteY29" fmla="*/ 9600 h 10000"/>
                <a:gd name="connsiteX30" fmla="*/ 2083 w 10000"/>
                <a:gd name="connsiteY30" fmla="*/ 9200 h 10000"/>
                <a:gd name="connsiteX31" fmla="*/ 2500 w 10000"/>
                <a:gd name="connsiteY31" fmla="*/ 8400 h 10000"/>
                <a:gd name="connsiteX32" fmla="*/ 1667 w 10000"/>
                <a:gd name="connsiteY32" fmla="*/ 7600 h 10000"/>
                <a:gd name="connsiteX33" fmla="*/ 2917 w 10000"/>
                <a:gd name="connsiteY33" fmla="*/ 7200 h 10000"/>
                <a:gd name="connsiteX34" fmla="*/ 1667 w 10000"/>
                <a:gd name="connsiteY34" fmla="*/ 6400 h 10000"/>
                <a:gd name="connsiteX35" fmla="*/ 417 w 10000"/>
                <a:gd name="connsiteY35" fmla="*/ 5200 h 10000"/>
                <a:gd name="connsiteX0" fmla="*/ 417 w 10000"/>
                <a:gd name="connsiteY0" fmla="*/ 5200 h 10000"/>
                <a:gd name="connsiteX1" fmla="*/ 0 w 10000"/>
                <a:gd name="connsiteY1" fmla="*/ 4400 h 10000"/>
                <a:gd name="connsiteX2" fmla="*/ 1250 w 10000"/>
                <a:gd name="connsiteY2" fmla="*/ 2800 h 10000"/>
                <a:gd name="connsiteX3" fmla="*/ 1250 w 10000"/>
                <a:gd name="connsiteY3" fmla="*/ 2400 h 10000"/>
                <a:gd name="connsiteX4" fmla="*/ 3083 w 10000"/>
                <a:gd name="connsiteY4" fmla="*/ 330 h 10000"/>
                <a:gd name="connsiteX5" fmla="*/ 3836 w 10000"/>
                <a:gd name="connsiteY5" fmla="*/ 724 h 10000"/>
                <a:gd name="connsiteX6" fmla="*/ 4417 w 10000"/>
                <a:gd name="connsiteY6" fmla="*/ 565 h 10000"/>
                <a:gd name="connsiteX7" fmla="*/ 5833 w 10000"/>
                <a:gd name="connsiteY7" fmla="*/ 800 h 10000"/>
                <a:gd name="connsiteX8" fmla="*/ 7500 w 10000"/>
                <a:gd name="connsiteY8" fmla="*/ 800 h 10000"/>
                <a:gd name="connsiteX9" fmla="*/ 8750 w 10000"/>
                <a:gd name="connsiteY9" fmla="*/ 800 h 10000"/>
                <a:gd name="connsiteX10" fmla="*/ 9583 w 10000"/>
                <a:gd name="connsiteY10" fmla="*/ 0 h 10000"/>
                <a:gd name="connsiteX11" fmla="*/ 10000 w 10000"/>
                <a:gd name="connsiteY11" fmla="*/ 1600 h 10000"/>
                <a:gd name="connsiteX12" fmla="*/ 9583 w 10000"/>
                <a:gd name="connsiteY12" fmla="*/ 2400 h 10000"/>
                <a:gd name="connsiteX13" fmla="*/ 8333 w 10000"/>
                <a:gd name="connsiteY13" fmla="*/ 2000 h 10000"/>
                <a:gd name="connsiteX14" fmla="*/ 6667 w 10000"/>
                <a:gd name="connsiteY14" fmla="*/ 2000 h 10000"/>
                <a:gd name="connsiteX15" fmla="*/ 5833 w 10000"/>
                <a:gd name="connsiteY15" fmla="*/ 2800 h 10000"/>
                <a:gd name="connsiteX16" fmla="*/ 6667 w 10000"/>
                <a:gd name="connsiteY16" fmla="*/ 3600 h 10000"/>
                <a:gd name="connsiteX17" fmla="*/ 5417 w 10000"/>
                <a:gd name="connsiteY17" fmla="*/ 3600 h 10000"/>
                <a:gd name="connsiteX18" fmla="*/ 4167 w 10000"/>
                <a:gd name="connsiteY18" fmla="*/ 2800 h 10000"/>
                <a:gd name="connsiteX19" fmla="*/ 3750 w 10000"/>
                <a:gd name="connsiteY19" fmla="*/ 3600 h 10000"/>
                <a:gd name="connsiteX20" fmla="*/ 5000 w 10000"/>
                <a:gd name="connsiteY20" fmla="*/ 5200 h 10000"/>
                <a:gd name="connsiteX21" fmla="*/ 5833 w 10000"/>
                <a:gd name="connsiteY21" fmla="*/ 6000 h 10000"/>
                <a:gd name="connsiteX22" fmla="*/ 6667 w 10000"/>
                <a:gd name="connsiteY22" fmla="*/ 7200 h 10000"/>
                <a:gd name="connsiteX23" fmla="*/ 7500 w 10000"/>
                <a:gd name="connsiteY23" fmla="*/ 7600 h 10000"/>
                <a:gd name="connsiteX24" fmla="*/ 6250 w 10000"/>
                <a:gd name="connsiteY24" fmla="*/ 7600 h 10000"/>
                <a:gd name="connsiteX25" fmla="*/ 5000 w 10000"/>
                <a:gd name="connsiteY25" fmla="*/ 7600 h 10000"/>
                <a:gd name="connsiteX26" fmla="*/ 5000 w 10000"/>
                <a:gd name="connsiteY26" fmla="*/ 8400 h 10000"/>
                <a:gd name="connsiteX27" fmla="*/ 4167 w 10000"/>
                <a:gd name="connsiteY27" fmla="*/ 8400 h 10000"/>
                <a:gd name="connsiteX28" fmla="*/ 4583 w 10000"/>
                <a:gd name="connsiteY28" fmla="*/ 10000 h 10000"/>
                <a:gd name="connsiteX29" fmla="*/ 3333 w 10000"/>
                <a:gd name="connsiteY29" fmla="*/ 9600 h 10000"/>
                <a:gd name="connsiteX30" fmla="*/ 2083 w 10000"/>
                <a:gd name="connsiteY30" fmla="*/ 9200 h 10000"/>
                <a:gd name="connsiteX31" fmla="*/ 2500 w 10000"/>
                <a:gd name="connsiteY31" fmla="*/ 8400 h 10000"/>
                <a:gd name="connsiteX32" fmla="*/ 1667 w 10000"/>
                <a:gd name="connsiteY32" fmla="*/ 7600 h 10000"/>
                <a:gd name="connsiteX33" fmla="*/ 2917 w 10000"/>
                <a:gd name="connsiteY33" fmla="*/ 7200 h 10000"/>
                <a:gd name="connsiteX34" fmla="*/ 1667 w 10000"/>
                <a:gd name="connsiteY34" fmla="*/ 6400 h 10000"/>
                <a:gd name="connsiteX35" fmla="*/ 417 w 10000"/>
                <a:gd name="connsiteY35" fmla="*/ 5200 h 10000"/>
                <a:gd name="connsiteX0" fmla="*/ 417 w 10000"/>
                <a:gd name="connsiteY0" fmla="*/ 5355 h 10155"/>
                <a:gd name="connsiteX1" fmla="*/ 0 w 10000"/>
                <a:gd name="connsiteY1" fmla="*/ 4555 h 10155"/>
                <a:gd name="connsiteX2" fmla="*/ 1250 w 10000"/>
                <a:gd name="connsiteY2" fmla="*/ 2955 h 10155"/>
                <a:gd name="connsiteX3" fmla="*/ 1250 w 10000"/>
                <a:gd name="connsiteY3" fmla="*/ 2555 h 10155"/>
                <a:gd name="connsiteX4" fmla="*/ 3083 w 10000"/>
                <a:gd name="connsiteY4" fmla="*/ 485 h 10155"/>
                <a:gd name="connsiteX5" fmla="*/ 3836 w 10000"/>
                <a:gd name="connsiteY5" fmla="*/ 879 h 10155"/>
                <a:gd name="connsiteX6" fmla="*/ 4748 w 10000"/>
                <a:gd name="connsiteY6" fmla="*/ 85 h 10155"/>
                <a:gd name="connsiteX7" fmla="*/ 5833 w 10000"/>
                <a:gd name="connsiteY7" fmla="*/ 955 h 10155"/>
                <a:gd name="connsiteX8" fmla="*/ 7500 w 10000"/>
                <a:gd name="connsiteY8" fmla="*/ 955 h 10155"/>
                <a:gd name="connsiteX9" fmla="*/ 8750 w 10000"/>
                <a:gd name="connsiteY9" fmla="*/ 955 h 10155"/>
                <a:gd name="connsiteX10" fmla="*/ 9583 w 10000"/>
                <a:gd name="connsiteY10" fmla="*/ 155 h 10155"/>
                <a:gd name="connsiteX11" fmla="*/ 10000 w 10000"/>
                <a:gd name="connsiteY11" fmla="*/ 1755 h 10155"/>
                <a:gd name="connsiteX12" fmla="*/ 9583 w 10000"/>
                <a:gd name="connsiteY12" fmla="*/ 2555 h 10155"/>
                <a:gd name="connsiteX13" fmla="*/ 8333 w 10000"/>
                <a:gd name="connsiteY13" fmla="*/ 2155 h 10155"/>
                <a:gd name="connsiteX14" fmla="*/ 6667 w 10000"/>
                <a:gd name="connsiteY14" fmla="*/ 2155 h 10155"/>
                <a:gd name="connsiteX15" fmla="*/ 5833 w 10000"/>
                <a:gd name="connsiteY15" fmla="*/ 2955 h 10155"/>
                <a:gd name="connsiteX16" fmla="*/ 6667 w 10000"/>
                <a:gd name="connsiteY16" fmla="*/ 3755 h 10155"/>
                <a:gd name="connsiteX17" fmla="*/ 5417 w 10000"/>
                <a:gd name="connsiteY17" fmla="*/ 3755 h 10155"/>
                <a:gd name="connsiteX18" fmla="*/ 4167 w 10000"/>
                <a:gd name="connsiteY18" fmla="*/ 2955 h 10155"/>
                <a:gd name="connsiteX19" fmla="*/ 3750 w 10000"/>
                <a:gd name="connsiteY19" fmla="*/ 3755 h 10155"/>
                <a:gd name="connsiteX20" fmla="*/ 5000 w 10000"/>
                <a:gd name="connsiteY20" fmla="*/ 5355 h 10155"/>
                <a:gd name="connsiteX21" fmla="*/ 5833 w 10000"/>
                <a:gd name="connsiteY21" fmla="*/ 6155 h 10155"/>
                <a:gd name="connsiteX22" fmla="*/ 6667 w 10000"/>
                <a:gd name="connsiteY22" fmla="*/ 7355 h 10155"/>
                <a:gd name="connsiteX23" fmla="*/ 7500 w 10000"/>
                <a:gd name="connsiteY23" fmla="*/ 7755 h 10155"/>
                <a:gd name="connsiteX24" fmla="*/ 6250 w 10000"/>
                <a:gd name="connsiteY24" fmla="*/ 7755 h 10155"/>
                <a:gd name="connsiteX25" fmla="*/ 5000 w 10000"/>
                <a:gd name="connsiteY25" fmla="*/ 7755 h 10155"/>
                <a:gd name="connsiteX26" fmla="*/ 5000 w 10000"/>
                <a:gd name="connsiteY26" fmla="*/ 8555 h 10155"/>
                <a:gd name="connsiteX27" fmla="*/ 4167 w 10000"/>
                <a:gd name="connsiteY27" fmla="*/ 8555 h 10155"/>
                <a:gd name="connsiteX28" fmla="*/ 4583 w 10000"/>
                <a:gd name="connsiteY28" fmla="*/ 10155 h 10155"/>
                <a:gd name="connsiteX29" fmla="*/ 3333 w 10000"/>
                <a:gd name="connsiteY29" fmla="*/ 9755 h 10155"/>
                <a:gd name="connsiteX30" fmla="*/ 2083 w 10000"/>
                <a:gd name="connsiteY30" fmla="*/ 9355 h 10155"/>
                <a:gd name="connsiteX31" fmla="*/ 2500 w 10000"/>
                <a:gd name="connsiteY31" fmla="*/ 8555 h 10155"/>
                <a:gd name="connsiteX32" fmla="*/ 1667 w 10000"/>
                <a:gd name="connsiteY32" fmla="*/ 7755 h 10155"/>
                <a:gd name="connsiteX33" fmla="*/ 2917 w 10000"/>
                <a:gd name="connsiteY33" fmla="*/ 7355 h 10155"/>
                <a:gd name="connsiteX34" fmla="*/ 1667 w 10000"/>
                <a:gd name="connsiteY34" fmla="*/ 6555 h 10155"/>
                <a:gd name="connsiteX35" fmla="*/ 417 w 10000"/>
                <a:gd name="connsiteY35" fmla="*/ 5355 h 10155"/>
                <a:gd name="connsiteX0" fmla="*/ 417 w 10000"/>
                <a:gd name="connsiteY0" fmla="*/ 5604 h 10404"/>
                <a:gd name="connsiteX1" fmla="*/ 0 w 10000"/>
                <a:gd name="connsiteY1" fmla="*/ 4804 h 10404"/>
                <a:gd name="connsiteX2" fmla="*/ 1250 w 10000"/>
                <a:gd name="connsiteY2" fmla="*/ 3204 h 10404"/>
                <a:gd name="connsiteX3" fmla="*/ 1250 w 10000"/>
                <a:gd name="connsiteY3" fmla="*/ 2804 h 10404"/>
                <a:gd name="connsiteX4" fmla="*/ 3083 w 10000"/>
                <a:gd name="connsiteY4" fmla="*/ 734 h 10404"/>
                <a:gd name="connsiteX5" fmla="*/ 3836 w 10000"/>
                <a:gd name="connsiteY5" fmla="*/ 1128 h 10404"/>
                <a:gd name="connsiteX6" fmla="*/ 4748 w 10000"/>
                <a:gd name="connsiteY6" fmla="*/ 334 h 10404"/>
                <a:gd name="connsiteX7" fmla="*/ 6164 w 10000"/>
                <a:gd name="connsiteY7" fmla="*/ 93 h 10404"/>
                <a:gd name="connsiteX8" fmla="*/ 7500 w 10000"/>
                <a:gd name="connsiteY8" fmla="*/ 1204 h 10404"/>
                <a:gd name="connsiteX9" fmla="*/ 8750 w 10000"/>
                <a:gd name="connsiteY9" fmla="*/ 1204 h 10404"/>
                <a:gd name="connsiteX10" fmla="*/ 9583 w 10000"/>
                <a:gd name="connsiteY10" fmla="*/ 404 h 10404"/>
                <a:gd name="connsiteX11" fmla="*/ 10000 w 10000"/>
                <a:gd name="connsiteY11" fmla="*/ 2004 h 10404"/>
                <a:gd name="connsiteX12" fmla="*/ 9583 w 10000"/>
                <a:gd name="connsiteY12" fmla="*/ 2804 h 10404"/>
                <a:gd name="connsiteX13" fmla="*/ 8333 w 10000"/>
                <a:gd name="connsiteY13" fmla="*/ 2404 h 10404"/>
                <a:gd name="connsiteX14" fmla="*/ 6667 w 10000"/>
                <a:gd name="connsiteY14" fmla="*/ 2404 h 10404"/>
                <a:gd name="connsiteX15" fmla="*/ 5833 w 10000"/>
                <a:gd name="connsiteY15" fmla="*/ 3204 h 10404"/>
                <a:gd name="connsiteX16" fmla="*/ 6667 w 10000"/>
                <a:gd name="connsiteY16" fmla="*/ 4004 h 10404"/>
                <a:gd name="connsiteX17" fmla="*/ 5417 w 10000"/>
                <a:gd name="connsiteY17" fmla="*/ 4004 h 10404"/>
                <a:gd name="connsiteX18" fmla="*/ 4167 w 10000"/>
                <a:gd name="connsiteY18" fmla="*/ 3204 h 10404"/>
                <a:gd name="connsiteX19" fmla="*/ 3750 w 10000"/>
                <a:gd name="connsiteY19" fmla="*/ 4004 h 10404"/>
                <a:gd name="connsiteX20" fmla="*/ 5000 w 10000"/>
                <a:gd name="connsiteY20" fmla="*/ 5604 h 10404"/>
                <a:gd name="connsiteX21" fmla="*/ 5833 w 10000"/>
                <a:gd name="connsiteY21" fmla="*/ 6404 h 10404"/>
                <a:gd name="connsiteX22" fmla="*/ 6667 w 10000"/>
                <a:gd name="connsiteY22" fmla="*/ 7604 h 10404"/>
                <a:gd name="connsiteX23" fmla="*/ 7500 w 10000"/>
                <a:gd name="connsiteY23" fmla="*/ 8004 h 10404"/>
                <a:gd name="connsiteX24" fmla="*/ 6250 w 10000"/>
                <a:gd name="connsiteY24" fmla="*/ 8004 h 10404"/>
                <a:gd name="connsiteX25" fmla="*/ 5000 w 10000"/>
                <a:gd name="connsiteY25" fmla="*/ 8004 h 10404"/>
                <a:gd name="connsiteX26" fmla="*/ 5000 w 10000"/>
                <a:gd name="connsiteY26" fmla="*/ 8804 h 10404"/>
                <a:gd name="connsiteX27" fmla="*/ 4167 w 10000"/>
                <a:gd name="connsiteY27" fmla="*/ 8804 h 10404"/>
                <a:gd name="connsiteX28" fmla="*/ 4583 w 10000"/>
                <a:gd name="connsiteY28" fmla="*/ 10404 h 10404"/>
                <a:gd name="connsiteX29" fmla="*/ 3333 w 10000"/>
                <a:gd name="connsiteY29" fmla="*/ 10004 h 10404"/>
                <a:gd name="connsiteX30" fmla="*/ 2083 w 10000"/>
                <a:gd name="connsiteY30" fmla="*/ 9604 h 10404"/>
                <a:gd name="connsiteX31" fmla="*/ 2500 w 10000"/>
                <a:gd name="connsiteY31" fmla="*/ 8804 h 10404"/>
                <a:gd name="connsiteX32" fmla="*/ 1667 w 10000"/>
                <a:gd name="connsiteY32" fmla="*/ 8004 h 10404"/>
                <a:gd name="connsiteX33" fmla="*/ 2917 w 10000"/>
                <a:gd name="connsiteY33" fmla="*/ 7604 h 10404"/>
                <a:gd name="connsiteX34" fmla="*/ 1667 w 10000"/>
                <a:gd name="connsiteY34" fmla="*/ 6804 h 10404"/>
                <a:gd name="connsiteX35" fmla="*/ 417 w 10000"/>
                <a:gd name="connsiteY35" fmla="*/ 5604 h 10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000" h="10404">
                  <a:moveTo>
                    <a:pt x="417" y="5604"/>
                  </a:moveTo>
                  <a:cubicBezTo>
                    <a:pt x="417" y="5204"/>
                    <a:pt x="0" y="5204"/>
                    <a:pt x="0" y="4804"/>
                  </a:cubicBezTo>
                  <a:cubicBezTo>
                    <a:pt x="417" y="4004"/>
                    <a:pt x="1250" y="3204"/>
                    <a:pt x="1250" y="3204"/>
                  </a:cubicBezTo>
                  <a:cubicBezTo>
                    <a:pt x="1250" y="3071"/>
                    <a:pt x="945" y="3216"/>
                    <a:pt x="1250" y="2804"/>
                  </a:cubicBezTo>
                  <a:cubicBezTo>
                    <a:pt x="1555" y="2392"/>
                    <a:pt x="2652" y="1013"/>
                    <a:pt x="3083" y="734"/>
                  </a:cubicBezTo>
                  <a:cubicBezTo>
                    <a:pt x="3514" y="455"/>
                    <a:pt x="3559" y="1195"/>
                    <a:pt x="3836" y="1128"/>
                  </a:cubicBezTo>
                  <a:cubicBezTo>
                    <a:pt x="4113" y="1061"/>
                    <a:pt x="4332" y="334"/>
                    <a:pt x="4748" y="334"/>
                  </a:cubicBezTo>
                  <a:cubicBezTo>
                    <a:pt x="5165" y="-66"/>
                    <a:pt x="5705" y="-52"/>
                    <a:pt x="6164" y="93"/>
                  </a:cubicBezTo>
                  <a:cubicBezTo>
                    <a:pt x="6623" y="238"/>
                    <a:pt x="7069" y="1019"/>
                    <a:pt x="7500" y="1204"/>
                  </a:cubicBezTo>
                  <a:cubicBezTo>
                    <a:pt x="7931" y="1389"/>
                    <a:pt x="8333" y="1204"/>
                    <a:pt x="8750" y="1204"/>
                  </a:cubicBezTo>
                  <a:lnTo>
                    <a:pt x="9583" y="404"/>
                  </a:lnTo>
                  <a:lnTo>
                    <a:pt x="10000" y="2004"/>
                  </a:lnTo>
                  <a:lnTo>
                    <a:pt x="9583" y="2804"/>
                  </a:lnTo>
                  <a:cubicBezTo>
                    <a:pt x="9167" y="2404"/>
                    <a:pt x="8333" y="2404"/>
                    <a:pt x="8333" y="2404"/>
                  </a:cubicBezTo>
                  <a:lnTo>
                    <a:pt x="6667" y="2404"/>
                  </a:lnTo>
                  <a:cubicBezTo>
                    <a:pt x="6250" y="2804"/>
                    <a:pt x="5417" y="2804"/>
                    <a:pt x="5833" y="3204"/>
                  </a:cubicBezTo>
                  <a:cubicBezTo>
                    <a:pt x="6667" y="3604"/>
                    <a:pt x="7083" y="4004"/>
                    <a:pt x="6667" y="4004"/>
                  </a:cubicBezTo>
                  <a:cubicBezTo>
                    <a:pt x="6250" y="4004"/>
                    <a:pt x="5417" y="4404"/>
                    <a:pt x="5417" y="4004"/>
                  </a:cubicBezTo>
                  <a:cubicBezTo>
                    <a:pt x="5000" y="4004"/>
                    <a:pt x="4583" y="3204"/>
                    <a:pt x="4167" y="3204"/>
                  </a:cubicBezTo>
                  <a:cubicBezTo>
                    <a:pt x="4167" y="3204"/>
                    <a:pt x="3750" y="3604"/>
                    <a:pt x="3750" y="4004"/>
                  </a:cubicBezTo>
                  <a:cubicBezTo>
                    <a:pt x="4167" y="4804"/>
                    <a:pt x="5000" y="5204"/>
                    <a:pt x="5000" y="5604"/>
                  </a:cubicBezTo>
                  <a:cubicBezTo>
                    <a:pt x="5000" y="6004"/>
                    <a:pt x="5000" y="6004"/>
                    <a:pt x="5833" y="6404"/>
                  </a:cubicBezTo>
                  <a:cubicBezTo>
                    <a:pt x="6250" y="6804"/>
                    <a:pt x="6667" y="7204"/>
                    <a:pt x="6667" y="7604"/>
                  </a:cubicBezTo>
                  <a:lnTo>
                    <a:pt x="7500" y="8004"/>
                  </a:lnTo>
                  <a:cubicBezTo>
                    <a:pt x="7500" y="8404"/>
                    <a:pt x="6667" y="8004"/>
                    <a:pt x="6250" y="8004"/>
                  </a:cubicBezTo>
                  <a:cubicBezTo>
                    <a:pt x="5833" y="8004"/>
                    <a:pt x="5417" y="7604"/>
                    <a:pt x="5000" y="8004"/>
                  </a:cubicBezTo>
                  <a:cubicBezTo>
                    <a:pt x="5000" y="8004"/>
                    <a:pt x="5417" y="8804"/>
                    <a:pt x="5000" y="8804"/>
                  </a:cubicBezTo>
                  <a:cubicBezTo>
                    <a:pt x="5000" y="8804"/>
                    <a:pt x="4167" y="8404"/>
                    <a:pt x="4167" y="8804"/>
                  </a:cubicBezTo>
                  <a:cubicBezTo>
                    <a:pt x="4167" y="8804"/>
                    <a:pt x="5000" y="10404"/>
                    <a:pt x="4583" y="10404"/>
                  </a:cubicBezTo>
                  <a:cubicBezTo>
                    <a:pt x="4167" y="10404"/>
                    <a:pt x="3333" y="10004"/>
                    <a:pt x="3333" y="10004"/>
                  </a:cubicBezTo>
                  <a:cubicBezTo>
                    <a:pt x="2917" y="10004"/>
                    <a:pt x="2083" y="10004"/>
                    <a:pt x="2083" y="9604"/>
                  </a:cubicBezTo>
                  <a:cubicBezTo>
                    <a:pt x="2083" y="9204"/>
                    <a:pt x="2917" y="8804"/>
                    <a:pt x="2500" y="8804"/>
                  </a:cubicBezTo>
                  <a:lnTo>
                    <a:pt x="1667" y="8004"/>
                  </a:lnTo>
                  <a:cubicBezTo>
                    <a:pt x="2083" y="7604"/>
                    <a:pt x="2500" y="7604"/>
                    <a:pt x="2917" y="7604"/>
                  </a:cubicBezTo>
                  <a:cubicBezTo>
                    <a:pt x="2917" y="7604"/>
                    <a:pt x="2083" y="7204"/>
                    <a:pt x="1667" y="6804"/>
                  </a:cubicBezTo>
                  <a:lnTo>
                    <a:pt x="417" y="5604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1" name="Freeform 6396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4825611" y="2422162"/>
              <a:ext cx="168742" cy="83717"/>
            </a:xfrm>
            <a:custGeom>
              <a:avLst/>
              <a:gdLst>
                <a:gd name="T0" fmla="*/ 0 w 28"/>
                <a:gd name="T1" fmla="*/ 7 h 13"/>
                <a:gd name="T2" fmla="*/ 2 w 28"/>
                <a:gd name="T3" fmla="*/ 5 h 13"/>
                <a:gd name="T4" fmla="*/ 3 w 28"/>
                <a:gd name="T5" fmla="*/ 2 h 13"/>
                <a:gd name="T6" fmla="*/ 6 w 28"/>
                <a:gd name="T7" fmla="*/ 2 h 13"/>
                <a:gd name="T8" fmla="*/ 8 w 28"/>
                <a:gd name="T9" fmla="*/ 4 h 13"/>
                <a:gd name="T10" fmla="*/ 11 w 28"/>
                <a:gd name="T11" fmla="*/ 6 h 13"/>
                <a:gd name="T12" fmla="*/ 14 w 28"/>
                <a:gd name="T13" fmla="*/ 2 h 13"/>
                <a:gd name="T14" fmla="*/ 14 w 28"/>
                <a:gd name="T15" fmla="*/ 0 h 13"/>
                <a:gd name="T16" fmla="*/ 14 w 28"/>
                <a:gd name="T17" fmla="*/ 0 h 13"/>
                <a:gd name="T18" fmla="*/ 18 w 28"/>
                <a:gd name="T19" fmla="*/ 0 h 13"/>
                <a:gd name="T20" fmla="*/ 21 w 28"/>
                <a:gd name="T21" fmla="*/ 2 h 13"/>
                <a:gd name="T22" fmla="*/ 26 w 28"/>
                <a:gd name="T23" fmla="*/ 2 h 13"/>
                <a:gd name="T24" fmla="*/ 27 w 28"/>
                <a:gd name="T25" fmla="*/ 6 h 13"/>
                <a:gd name="T26" fmla="*/ 28 w 28"/>
                <a:gd name="T27" fmla="*/ 10 h 13"/>
                <a:gd name="T28" fmla="*/ 22 w 28"/>
                <a:gd name="T29" fmla="*/ 13 h 13"/>
                <a:gd name="T30" fmla="*/ 19 w 28"/>
                <a:gd name="T31" fmla="*/ 11 h 13"/>
                <a:gd name="T32" fmla="*/ 13 w 28"/>
                <a:gd name="T33" fmla="*/ 10 h 13"/>
                <a:gd name="T34" fmla="*/ 4 w 28"/>
                <a:gd name="T35" fmla="*/ 9 h 13"/>
                <a:gd name="T36" fmla="*/ 0 w 28"/>
                <a:gd name="T37" fmla="*/ 10 h 13"/>
                <a:gd name="T38" fmla="*/ 0 w 28"/>
                <a:gd name="T3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" h="13">
                  <a:moveTo>
                    <a:pt x="0" y="7"/>
                  </a:moveTo>
                  <a:cubicBezTo>
                    <a:pt x="1" y="6"/>
                    <a:pt x="2" y="6"/>
                    <a:pt x="2" y="5"/>
                  </a:cubicBezTo>
                  <a:cubicBezTo>
                    <a:pt x="2" y="4"/>
                    <a:pt x="2" y="2"/>
                    <a:pt x="3" y="2"/>
                  </a:cubicBezTo>
                  <a:cubicBezTo>
                    <a:pt x="3" y="2"/>
                    <a:pt x="5" y="1"/>
                    <a:pt x="6" y="2"/>
                  </a:cubicBezTo>
                  <a:cubicBezTo>
                    <a:pt x="6" y="2"/>
                    <a:pt x="8" y="3"/>
                    <a:pt x="8" y="4"/>
                  </a:cubicBezTo>
                  <a:cubicBezTo>
                    <a:pt x="8" y="4"/>
                    <a:pt x="10" y="6"/>
                    <a:pt x="11" y="6"/>
                  </a:cubicBezTo>
                  <a:cubicBezTo>
                    <a:pt x="12" y="6"/>
                    <a:pt x="14" y="3"/>
                    <a:pt x="14" y="2"/>
                  </a:cubicBezTo>
                  <a:cubicBezTo>
                    <a:pt x="14" y="2"/>
                    <a:pt x="14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19" y="0"/>
                    <a:pt x="20" y="2"/>
                    <a:pt x="21" y="2"/>
                  </a:cubicBezTo>
                  <a:cubicBezTo>
                    <a:pt x="23" y="2"/>
                    <a:pt x="26" y="2"/>
                    <a:pt x="26" y="2"/>
                  </a:cubicBezTo>
                  <a:cubicBezTo>
                    <a:pt x="26" y="2"/>
                    <a:pt x="27" y="5"/>
                    <a:pt x="27" y="6"/>
                  </a:cubicBezTo>
                  <a:cubicBezTo>
                    <a:pt x="27" y="7"/>
                    <a:pt x="27" y="10"/>
                    <a:pt x="28" y="10"/>
                  </a:cubicBezTo>
                  <a:cubicBezTo>
                    <a:pt x="28" y="10"/>
                    <a:pt x="23" y="13"/>
                    <a:pt x="22" y="13"/>
                  </a:cubicBezTo>
                  <a:cubicBezTo>
                    <a:pt x="21" y="13"/>
                    <a:pt x="20" y="11"/>
                    <a:pt x="19" y="11"/>
                  </a:cubicBezTo>
                  <a:cubicBezTo>
                    <a:pt x="18" y="11"/>
                    <a:pt x="13" y="10"/>
                    <a:pt x="13" y="10"/>
                  </a:cubicBezTo>
                  <a:cubicBezTo>
                    <a:pt x="12" y="10"/>
                    <a:pt x="5" y="9"/>
                    <a:pt x="4" y="9"/>
                  </a:cubicBezTo>
                  <a:cubicBezTo>
                    <a:pt x="3" y="9"/>
                    <a:pt x="0" y="10"/>
                    <a:pt x="0" y="10"/>
                  </a:cubicBezTo>
                  <a:cubicBezTo>
                    <a:pt x="0" y="8"/>
                    <a:pt x="0" y="7"/>
                    <a:pt x="0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2" name="Freeform 6397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816237" y="1939953"/>
              <a:ext cx="256238" cy="408539"/>
            </a:xfrm>
            <a:custGeom>
              <a:avLst/>
              <a:gdLst>
                <a:gd name="T0" fmla="*/ 3 w 42"/>
                <a:gd name="T1" fmla="*/ 11 h 63"/>
                <a:gd name="T2" fmla="*/ 0 w 42"/>
                <a:gd name="T3" fmla="*/ 6 h 63"/>
                <a:gd name="T4" fmla="*/ 2 w 42"/>
                <a:gd name="T5" fmla="*/ 4 h 63"/>
                <a:gd name="T6" fmla="*/ 7 w 42"/>
                <a:gd name="T7" fmla="*/ 8 h 63"/>
                <a:gd name="T8" fmla="*/ 12 w 42"/>
                <a:gd name="T9" fmla="*/ 8 h 63"/>
                <a:gd name="T10" fmla="*/ 17 w 42"/>
                <a:gd name="T11" fmla="*/ 9 h 63"/>
                <a:gd name="T12" fmla="*/ 19 w 42"/>
                <a:gd name="T13" fmla="*/ 6 h 63"/>
                <a:gd name="T14" fmla="*/ 22 w 42"/>
                <a:gd name="T15" fmla="*/ 1 h 63"/>
                <a:gd name="T16" fmla="*/ 26 w 42"/>
                <a:gd name="T17" fmla="*/ 0 h 63"/>
                <a:gd name="T18" fmla="*/ 29 w 42"/>
                <a:gd name="T19" fmla="*/ 1 h 63"/>
                <a:gd name="T20" fmla="*/ 31 w 42"/>
                <a:gd name="T21" fmla="*/ 4 h 63"/>
                <a:gd name="T22" fmla="*/ 31 w 42"/>
                <a:gd name="T23" fmla="*/ 7 h 63"/>
                <a:gd name="T24" fmla="*/ 32 w 42"/>
                <a:gd name="T25" fmla="*/ 7 h 63"/>
                <a:gd name="T26" fmla="*/ 31 w 42"/>
                <a:gd name="T27" fmla="*/ 10 h 63"/>
                <a:gd name="T28" fmla="*/ 31 w 42"/>
                <a:gd name="T29" fmla="*/ 12 h 63"/>
                <a:gd name="T30" fmla="*/ 36 w 42"/>
                <a:gd name="T31" fmla="*/ 15 h 63"/>
                <a:gd name="T32" fmla="*/ 33 w 42"/>
                <a:gd name="T33" fmla="*/ 20 h 63"/>
                <a:gd name="T34" fmla="*/ 35 w 42"/>
                <a:gd name="T35" fmla="*/ 25 h 63"/>
                <a:gd name="T36" fmla="*/ 36 w 42"/>
                <a:gd name="T37" fmla="*/ 29 h 63"/>
                <a:gd name="T38" fmla="*/ 35 w 42"/>
                <a:gd name="T39" fmla="*/ 34 h 63"/>
                <a:gd name="T40" fmla="*/ 38 w 42"/>
                <a:gd name="T41" fmla="*/ 37 h 63"/>
                <a:gd name="T42" fmla="*/ 36 w 42"/>
                <a:gd name="T43" fmla="*/ 41 h 63"/>
                <a:gd name="T44" fmla="*/ 40 w 42"/>
                <a:gd name="T45" fmla="*/ 43 h 63"/>
                <a:gd name="T46" fmla="*/ 41 w 42"/>
                <a:gd name="T47" fmla="*/ 47 h 63"/>
                <a:gd name="T48" fmla="*/ 32 w 42"/>
                <a:gd name="T49" fmla="*/ 56 h 63"/>
                <a:gd name="T50" fmla="*/ 30 w 42"/>
                <a:gd name="T51" fmla="*/ 58 h 63"/>
                <a:gd name="T52" fmla="*/ 30 w 42"/>
                <a:gd name="T53" fmla="*/ 58 h 63"/>
                <a:gd name="T54" fmla="*/ 27 w 42"/>
                <a:gd name="T55" fmla="*/ 59 h 63"/>
                <a:gd name="T56" fmla="*/ 19 w 42"/>
                <a:gd name="T57" fmla="*/ 61 h 63"/>
                <a:gd name="T58" fmla="*/ 9 w 42"/>
                <a:gd name="T59" fmla="*/ 63 h 63"/>
                <a:gd name="T60" fmla="*/ 7 w 42"/>
                <a:gd name="T61" fmla="*/ 61 h 63"/>
                <a:gd name="T62" fmla="*/ 3 w 42"/>
                <a:gd name="T63" fmla="*/ 60 h 63"/>
                <a:gd name="T64" fmla="*/ 2 w 42"/>
                <a:gd name="T65" fmla="*/ 59 h 63"/>
                <a:gd name="T66" fmla="*/ 3 w 42"/>
                <a:gd name="T67" fmla="*/ 53 h 63"/>
                <a:gd name="T68" fmla="*/ 2 w 42"/>
                <a:gd name="T69" fmla="*/ 48 h 63"/>
                <a:gd name="T70" fmla="*/ 2 w 42"/>
                <a:gd name="T71" fmla="*/ 45 h 63"/>
                <a:gd name="T72" fmla="*/ 7 w 42"/>
                <a:gd name="T73" fmla="*/ 41 h 63"/>
                <a:gd name="T74" fmla="*/ 13 w 42"/>
                <a:gd name="T75" fmla="*/ 37 h 63"/>
                <a:gd name="T76" fmla="*/ 15 w 42"/>
                <a:gd name="T77" fmla="*/ 34 h 63"/>
                <a:gd name="T78" fmla="*/ 18 w 42"/>
                <a:gd name="T79" fmla="*/ 34 h 63"/>
                <a:gd name="T80" fmla="*/ 18 w 42"/>
                <a:gd name="T81" fmla="*/ 29 h 63"/>
                <a:gd name="T82" fmla="*/ 12 w 42"/>
                <a:gd name="T83" fmla="*/ 27 h 63"/>
                <a:gd name="T84" fmla="*/ 12 w 42"/>
                <a:gd name="T85" fmla="*/ 27 h 63"/>
                <a:gd name="T86" fmla="*/ 12 w 42"/>
                <a:gd name="T87" fmla="*/ 23 h 63"/>
                <a:gd name="T88" fmla="*/ 11 w 42"/>
                <a:gd name="T89" fmla="*/ 18 h 63"/>
                <a:gd name="T90" fmla="*/ 10 w 42"/>
                <a:gd name="T91" fmla="*/ 13 h 63"/>
                <a:gd name="T92" fmla="*/ 3 w 42"/>
                <a:gd name="T93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" h="63">
                  <a:moveTo>
                    <a:pt x="3" y="11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6" y="8"/>
                    <a:pt x="7" y="8"/>
                  </a:cubicBezTo>
                  <a:cubicBezTo>
                    <a:pt x="8" y="8"/>
                    <a:pt x="11" y="8"/>
                    <a:pt x="12" y="8"/>
                  </a:cubicBezTo>
                  <a:cubicBezTo>
                    <a:pt x="13" y="8"/>
                    <a:pt x="16" y="10"/>
                    <a:pt x="17" y="9"/>
                  </a:cubicBezTo>
                  <a:cubicBezTo>
                    <a:pt x="18" y="8"/>
                    <a:pt x="19" y="7"/>
                    <a:pt x="19" y="6"/>
                  </a:cubicBezTo>
                  <a:cubicBezTo>
                    <a:pt x="19" y="4"/>
                    <a:pt x="21" y="2"/>
                    <a:pt x="22" y="1"/>
                  </a:cubicBezTo>
                  <a:cubicBezTo>
                    <a:pt x="22" y="1"/>
                    <a:pt x="26" y="0"/>
                    <a:pt x="26" y="0"/>
                  </a:cubicBezTo>
                  <a:cubicBezTo>
                    <a:pt x="27" y="0"/>
                    <a:pt x="28" y="1"/>
                    <a:pt x="29" y="1"/>
                  </a:cubicBezTo>
                  <a:cubicBezTo>
                    <a:pt x="30" y="2"/>
                    <a:pt x="31" y="2"/>
                    <a:pt x="31" y="4"/>
                  </a:cubicBezTo>
                  <a:cubicBezTo>
                    <a:pt x="31" y="4"/>
                    <a:pt x="30" y="6"/>
                    <a:pt x="31" y="7"/>
                  </a:cubicBezTo>
                  <a:cubicBezTo>
                    <a:pt x="31" y="7"/>
                    <a:pt x="31" y="7"/>
                    <a:pt x="32" y="7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1"/>
                    <a:pt x="31" y="12"/>
                  </a:cubicBezTo>
                  <a:cubicBezTo>
                    <a:pt x="32" y="13"/>
                    <a:pt x="36" y="14"/>
                    <a:pt x="36" y="15"/>
                  </a:cubicBezTo>
                  <a:cubicBezTo>
                    <a:pt x="36" y="17"/>
                    <a:pt x="33" y="19"/>
                    <a:pt x="33" y="20"/>
                  </a:cubicBezTo>
                  <a:cubicBezTo>
                    <a:pt x="32" y="22"/>
                    <a:pt x="35" y="23"/>
                    <a:pt x="35" y="25"/>
                  </a:cubicBezTo>
                  <a:cubicBezTo>
                    <a:pt x="36" y="26"/>
                    <a:pt x="36" y="28"/>
                    <a:pt x="36" y="29"/>
                  </a:cubicBezTo>
                  <a:cubicBezTo>
                    <a:pt x="36" y="30"/>
                    <a:pt x="35" y="32"/>
                    <a:pt x="35" y="34"/>
                  </a:cubicBezTo>
                  <a:cubicBezTo>
                    <a:pt x="35" y="36"/>
                    <a:pt x="37" y="36"/>
                    <a:pt x="38" y="37"/>
                  </a:cubicBezTo>
                  <a:cubicBezTo>
                    <a:pt x="38" y="38"/>
                    <a:pt x="36" y="40"/>
                    <a:pt x="36" y="41"/>
                  </a:cubicBezTo>
                  <a:cubicBezTo>
                    <a:pt x="36" y="42"/>
                    <a:pt x="39" y="43"/>
                    <a:pt x="40" y="43"/>
                  </a:cubicBezTo>
                  <a:cubicBezTo>
                    <a:pt x="41" y="44"/>
                    <a:pt x="42" y="45"/>
                    <a:pt x="41" y="47"/>
                  </a:cubicBezTo>
                  <a:cubicBezTo>
                    <a:pt x="41" y="48"/>
                    <a:pt x="33" y="55"/>
                    <a:pt x="32" y="56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9" y="59"/>
                    <a:pt x="28" y="59"/>
                    <a:pt x="27" y="59"/>
                  </a:cubicBezTo>
                  <a:cubicBezTo>
                    <a:pt x="27" y="59"/>
                    <a:pt x="20" y="61"/>
                    <a:pt x="19" y="61"/>
                  </a:cubicBezTo>
                  <a:cubicBezTo>
                    <a:pt x="18" y="61"/>
                    <a:pt x="10" y="63"/>
                    <a:pt x="9" y="63"/>
                  </a:cubicBezTo>
                  <a:cubicBezTo>
                    <a:pt x="8" y="62"/>
                    <a:pt x="8" y="61"/>
                    <a:pt x="7" y="61"/>
                  </a:cubicBezTo>
                  <a:cubicBezTo>
                    <a:pt x="6" y="60"/>
                    <a:pt x="4" y="60"/>
                    <a:pt x="3" y="60"/>
                  </a:cubicBezTo>
                  <a:cubicBezTo>
                    <a:pt x="2" y="60"/>
                    <a:pt x="2" y="59"/>
                    <a:pt x="2" y="59"/>
                  </a:cubicBezTo>
                  <a:cubicBezTo>
                    <a:pt x="2" y="58"/>
                    <a:pt x="3" y="54"/>
                    <a:pt x="3" y="53"/>
                  </a:cubicBezTo>
                  <a:cubicBezTo>
                    <a:pt x="3" y="52"/>
                    <a:pt x="2" y="50"/>
                    <a:pt x="2" y="48"/>
                  </a:cubicBezTo>
                  <a:cubicBezTo>
                    <a:pt x="2" y="47"/>
                    <a:pt x="2" y="45"/>
                    <a:pt x="2" y="45"/>
                  </a:cubicBezTo>
                  <a:cubicBezTo>
                    <a:pt x="3" y="44"/>
                    <a:pt x="6" y="42"/>
                    <a:pt x="7" y="41"/>
                  </a:cubicBezTo>
                  <a:cubicBezTo>
                    <a:pt x="8" y="41"/>
                    <a:pt x="12" y="37"/>
                    <a:pt x="13" y="37"/>
                  </a:cubicBezTo>
                  <a:cubicBezTo>
                    <a:pt x="13" y="36"/>
                    <a:pt x="15" y="34"/>
                    <a:pt x="15" y="34"/>
                  </a:cubicBezTo>
                  <a:cubicBezTo>
                    <a:pt x="16" y="34"/>
                    <a:pt x="18" y="34"/>
                    <a:pt x="18" y="34"/>
                  </a:cubicBezTo>
                  <a:cubicBezTo>
                    <a:pt x="19" y="32"/>
                    <a:pt x="18" y="30"/>
                    <a:pt x="18" y="29"/>
                  </a:cubicBezTo>
                  <a:cubicBezTo>
                    <a:pt x="17" y="28"/>
                    <a:pt x="14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4"/>
                    <a:pt x="12" y="23"/>
                  </a:cubicBezTo>
                  <a:cubicBezTo>
                    <a:pt x="12" y="22"/>
                    <a:pt x="12" y="19"/>
                    <a:pt x="11" y="18"/>
                  </a:cubicBezTo>
                  <a:cubicBezTo>
                    <a:pt x="10" y="17"/>
                    <a:pt x="11" y="14"/>
                    <a:pt x="10" y="13"/>
                  </a:cubicBezTo>
                  <a:cubicBezTo>
                    <a:pt x="8" y="12"/>
                    <a:pt x="4" y="11"/>
                    <a:pt x="3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3" name="Freeform 6398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816237" y="2934510"/>
              <a:ext cx="56247" cy="43533"/>
            </a:xfrm>
            <a:custGeom>
              <a:avLst/>
              <a:gdLst>
                <a:gd name="T0" fmla="*/ 0 w 9"/>
                <a:gd name="T1" fmla="*/ 6 h 7"/>
                <a:gd name="T2" fmla="*/ 0 w 9"/>
                <a:gd name="T3" fmla="*/ 3 h 7"/>
                <a:gd name="T4" fmla="*/ 0 w 9"/>
                <a:gd name="T5" fmla="*/ 2 h 7"/>
                <a:gd name="T6" fmla="*/ 6 w 9"/>
                <a:gd name="T7" fmla="*/ 0 h 7"/>
                <a:gd name="T8" fmla="*/ 9 w 9"/>
                <a:gd name="T9" fmla="*/ 3 h 7"/>
                <a:gd name="T10" fmla="*/ 9 w 9"/>
                <a:gd name="T11" fmla="*/ 5 h 7"/>
                <a:gd name="T12" fmla="*/ 8 w 9"/>
                <a:gd name="T13" fmla="*/ 5 h 7"/>
                <a:gd name="T14" fmla="*/ 5 w 9"/>
                <a:gd name="T15" fmla="*/ 6 h 7"/>
                <a:gd name="T16" fmla="*/ 1 w 9"/>
                <a:gd name="T17" fmla="*/ 7 h 7"/>
                <a:gd name="T18" fmla="*/ 0 w 9"/>
                <a:gd name="T1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8" y="2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5" y="5"/>
                    <a:pt x="5" y="6"/>
                  </a:cubicBezTo>
                  <a:cubicBezTo>
                    <a:pt x="4" y="6"/>
                    <a:pt x="1" y="7"/>
                    <a:pt x="1" y="7"/>
                  </a:cubicBezTo>
                  <a:cubicBezTo>
                    <a:pt x="1" y="7"/>
                    <a:pt x="1" y="6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4" name="Freeform 6399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813112" y="2743636"/>
              <a:ext cx="215615" cy="150690"/>
            </a:xfrm>
            <a:custGeom>
              <a:avLst/>
              <a:gdLst>
                <a:gd name="T0" fmla="*/ 0 w 36"/>
                <a:gd name="T1" fmla="*/ 11 h 23"/>
                <a:gd name="T2" fmla="*/ 3 w 36"/>
                <a:gd name="T3" fmla="*/ 11 h 23"/>
                <a:gd name="T4" fmla="*/ 6 w 36"/>
                <a:gd name="T5" fmla="*/ 6 h 23"/>
                <a:gd name="T6" fmla="*/ 9 w 36"/>
                <a:gd name="T7" fmla="*/ 3 h 23"/>
                <a:gd name="T8" fmla="*/ 9 w 36"/>
                <a:gd name="T9" fmla="*/ 2 h 23"/>
                <a:gd name="T10" fmla="*/ 13 w 36"/>
                <a:gd name="T11" fmla="*/ 3 h 23"/>
                <a:gd name="T12" fmla="*/ 16 w 36"/>
                <a:gd name="T13" fmla="*/ 3 h 23"/>
                <a:gd name="T14" fmla="*/ 17 w 36"/>
                <a:gd name="T15" fmla="*/ 4 h 23"/>
                <a:gd name="T16" fmla="*/ 21 w 36"/>
                <a:gd name="T17" fmla="*/ 3 h 23"/>
                <a:gd name="T18" fmla="*/ 25 w 36"/>
                <a:gd name="T19" fmla="*/ 0 h 23"/>
                <a:gd name="T20" fmla="*/ 26 w 36"/>
                <a:gd name="T21" fmla="*/ 3 h 23"/>
                <a:gd name="T22" fmla="*/ 29 w 36"/>
                <a:gd name="T23" fmla="*/ 8 h 23"/>
                <a:gd name="T24" fmla="*/ 30 w 36"/>
                <a:gd name="T25" fmla="*/ 14 h 23"/>
                <a:gd name="T26" fmla="*/ 32 w 36"/>
                <a:gd name="T27" fmla="*/ 15 h 23"/>
                <a:gd name="T28" fmla="*/ 33 w 36"/>
                <a:gd name="T29" fmla="*/ 15 h 23"/>
                <a:gd name="T30" fmla="*/ 35 w 36"/>
                <a:gd name="T31" fmla="*/ 15 h 23"/>
                <a:gd name="T32" fmla="*/ 36 w 36"/>
                <a:gd name="T33" fmla="*/ 16 h 23"/>
                <a:gd name="T34" fmla="*/ 35 w 36"/>
                <a:gd name="T35" fmla="*/ 18 h 23"/>
                <a:gd name="T36" fmla="*/ 32 w 36"/>
                <a:gd name="T37" fmla="*/ 20 h 23"/>
                <a:gd name="T38" fmla="*/ 32 w 36"/>
                <a:gd name="T39" fmla="*/ 22 h 23"/>
                <a:gd name="T40" fmla="*/ 29 w 36"/>
                <a:gd name="T41" fmla="*/ 22 h 23"/>
                <a:gd name="T42" fmla="*/ 24 w 36"/>
                <a:gd name="T43" fmla="*/ 21 h 23"/>
                <a:gd name="T44" fmla="*/ 20 w 36"/>
                <a:gd name="T45" fmla="*/ 23 h 23"/>
                <a:gd name="T46" fmla="*/ 14 w 36"/>
                <a:gd name="T47" fmla="*/ 23 h 23"/>
                <a:gd name="T48" fmla="*/ 11 w 36"/>
                <a:gd name="T49" fmla="*/ 22 h 23"/>
                <a:gd name="T50" fmla="*/ 8 w 36"/>
                <a:gd name="T51" fmla="*/ 20 h 23"/>
                <a:gd name="T52" fmla="*/ 8 w 36"/>
                <a:gd name="T53" fmla="*/ 20 h 23"/>
                <a:gd name="T54" fmla="*/ 5 w 36"/>
                <a:gd name="T55" fmla="*/ 18 h 23"/>
                <a:gd name="T56" fmla="*/ 3 w 36"/>
                <a:gd name="T57" fmla="*/ 16 h 23"/>
                <a:gd name="T58" fmla="*/ 1 w 36"/>
                <a:gd name="T59" fmla="*/ 14 h 23"/>
                <a:gd name="T60" fmla="*/ 0 w 36"/>
                <a:gd name="T6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" h="23">
                  <a:moveTo>
                    <a:pt x="0" y="11"/>
                  </a:moveTo>
                  <a:cubicBezTo>
                    <a:pt x="1" y="11"/>
                    <a:pt x="3" y="11"/>
                    <a:pt x="3" y="11"/>
                  </a:cubicBezTo>
                  <a:cubicBezTo>
                    <a:pt x="4" y="10"/>
                    <a:pt x="5" y="6"/>
                    <a:pt x="6" y="6"/>
                  </a:cubicBezTo>
                  <a:cubicBezTo>
                    <a:pt x="6" y="5"/>
                    <a:pt x="8" y="4"/>
                    <a:pt x="9" y="3"/>
                  </a:cubicBezTo>
                  <a:cubicBezTo>
                    <a:pt x="9" y="3"/>
                    <a:pt x="10" y="3"/>
                    <a:pt x="9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5" y="3"/>
                    <a:pt x="16" y="3"/>
                  </a:cubicBezTo>
                  <a:cubicBezTo>
                    <a:pt x="16" y="3"/>
                    <a:pt x="17" y="4"/>
                    <a:pt x="17" y="4"/>
                  </a:cubicBezTo>
                  <a:cubicBezTo>
                    <a:pt x="18" y="3"/>
                    <a:pt x="20" y="3"/>
                    <a:pt x="21" y="3"/>
                  </a:cubicBezTo>
                  <a:cubicBezTo>
                    <a:pt x="22" y="3"/>
                    <a:pt x="23" y="1"/>
                    <a:pt x="25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4"/>
                    <a:pt x="29" y="7"/>
                    <a:pt x="29" y="8"/>
                  </a:cubicBezTo>
                  <a:cubicBezTo>
                    <a:pt x="30" y="9"/>
                    <a:pt x="30" y="13"/>
                    <a:pt x="30" y="14"/>
                  </a:cubicBezTo>
                  <a:cubicBezTo>
                    <a:pt x="30" y="15"/>
                    <a:pt x="31" y="15"/>
                    <a:pt x="32" y="15"/>
                  </a:cubicBezTo>
                  <a:cubicBezTo>
                    <a:pt x="32" y="15"/>
                    <a:pt x="33" y="15"/>
                    <a:pt x="33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6"/>
                    <a:pt x="35" y="16"/>
                    <a:pt x="36" y="16"/>
                  </a:cubicBezTo>
                  <a:cubicBezTo>
                    <a:pt x="36" y="17"/>
                    <a:pt x="36" y="18"/>
                    <a:pt x="35" y="18"/>
                  </a:cubicBezTo>
                  <a:cubicBezTo>
                    <a:pt x="34" y="18"/>
                    <a:pt x="33" y="18"/>
                    <a:pt x="32" y="20"/>
                  </a:cubicBezTo>
                  <a:cubicBezTo>
                    <a:pt x="32" y="20"/>
                    <a:pt x="32" y="21"/>
                    <a:pt x="32" y="22"/>
                  </a:cubicBezTo>
                  <a:cubicBezTo>
                    <a:pt x="32" y="22"/>
                    <a:pt x="29" y="22"/>
                    <a:pt x="29" y="22"/>
                  </a:cubicBezTo>
                  <a:cubicBezTo>
                    <a:pt x="28" y="22"/>
                    <a:pt x="25" y="21"/>
                    <a:pt x="24" y="21"/>
                  </a:cubicBezTo>
                  <a:cubicBezTo>
                    <a:pt x="22" y="21"/>
                    <a:pt x="21" y="23"/>
                    <a:pt x="20" y="23"/>
                  </a:cubicBezTo>
                  <a:cubicBezTo>
                    <a:pt x="19" y="23"/>
                    <a:pt x="15" y="23"/>
                    <a:pt x="14" y="23"/>
                  </a:cubicBezTo>
                  <a:cubicBezTo>
                    <a:pt x="13" y="23"/>
                    <a:pt x="11" y="22"/>
                    <a:pt x="11" y="2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6" y="19"/>
                    <a:pt x="5" y="18"/>
                  </a:cubicBezTo>
                  <a:cubicBezTo>
                    <a:pt x="3" y="18"/>
                    <a:pt x="4" y="17"/>
                    <a:pt x="3" y="16"/>
                  </a:cubicBezTo>
                  <a:cubicBezTo>
                    <a:pt x="2" y="15"/>
                    <a:pt x="1" y="14"/>
                    <a:pt x="1" y="14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5" name="Freeform 6400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775614" y="2817306"/>
              <a:ext cx="96870" cy="130598"/>
            </a:xfrm>
            <a:custGeom>
              <a:avLst/>
              <a:gdLst>
                <a:gd name="T0" fmla="*/ 1 w 16"/>
                <a:gd name="T1" fmla="*/ 5 h 20"/>
                <a:gd name="T2" fmla="*/ 0 w 16"/>
                <a:gd name="T3" fmla="*/ 3 h 20"/>
                <a:gd name="T4" fmla="*/ 0 w 16"/>
                <a:gd name="T5" fmla="*/ 1 h 20"/>
                <a:gd name="T6" fmla="*/ 1 w 16"/>
                <a:gd name="T7" fmla="*/ 1 h 20"/>
                <a:gd name="T8" fmla="*/ 5 w 16"/>
                <a:gd name="T9" fmla="*/ 0 h 20"/>
                <a:gd name="T10" fmla="*/ 6 w 16"/>
                <a:gd name="T11" fmla="*/ 0 h 20"/>
                <a:gd name="T12" fmla="*/ 7 w 16"/>
                <a:gd name="T13" fmla="*/ 3 h 20"/>
                <a:gd name="T14" fmla="*/ 9 w 16"/>
                <a:gd name="T15" fmla="*/ 5 h 20"/>
                <a:gd name="T16" fmla="*/ 11 w 16"/>
                <a:gd name="T17" fmla="*/ 7 h 20"/>
                <a:gd name="T18" fmla="*/ 14 w 16"/>
                <a:gd name="T19" fmla="*/ 9 h 20"/>
                <a:gd name="T20" fmla="*/ 14 w 16"/>
                <a:gd name="T21" fmla="*/ 9 h 20"/>
                <a:gd name="T22" fmla="*/ 14 w 16"/>
                <a:gd name="T23" fmla="*/ 11 h 20"/>
                <a:gd name="T24" fmla="*/ 16 w 16"/>
                <a:gd name="T25" fmla="*/ 14 h 20"/>
                <a:gd name="T26" fmla="*/ 14 w 16"/>
                <a:gd name="T27" fmla="*/ 16 h 20"/>
                <a:gd name="T28" fmla="*/ 13 w 16"/>
                <a:gd name="T29" fmla="*/ 18 h 20"/>
                <a:gd name="T30" fmla="*/ 7 w 16"/>
                <a:gd name="T31" fmla="*/ 20 h 20"/>
                <a:gd name="T32" fmla="*/ 6 w 16"/>
                <a:gd name="T33" fmla="*/ 19 h 20"/>
                <a:gd name="T34" fmla="*/ 5 w 16"/>
                <a:gd name="T35" fmla="*/ 17 h 20"/>
                <a:gd name="T36" fmla="*/ 5 w 16"/>
                <a:gd name="T37" fmla="*/ 15 h 20"/>
                <a:gd name="T38" fmla="*/ 1 w 16"/>
                <a:gd name="T39" fmla="*/ 13 h 20"/>
                <a:gd name="T40" fmla="*/ 2 w 16"/>
                <a:gd name="T41" fmla="*/ 12 h 20"/>
                <a:gd name="T42" fmla="*/ 1 w 16"/>
                <a:gd name="T43" fmla="*/ 9 h 20"/>
                <a:gd name="T44" fmla="*/ 1 w 16"/>
                <a:gd name="T45" fmla="*/ 7 h 20"/>
                <a:gd name="T46" fmla="*/ 1 w 16"/>
                <a:gd name="T47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" h="20">
                  <a:moveTo>
                    <a:pt x="1" y="5"/>
                  </a:moveTo>
                  <a:cubicBezTo>
                    <a:pt x="1" y="5"/>
                    <a:pt x="1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8" y="4"/>
                    <a:pt x="9" y="5"/>
                  </a:cubicBezTo>
                  <a:cubicBezTo>
                    <a:pt x="10" y="6"/>
                    <a:pt x="9" y="7"/>
                    <a:pt x="11" y="7"/>
                  </a:cubicBezTo>
                  <a:cubicBezTo>
                    <a:pt x="12" y="8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4" y="12"/>
                    <a:pt x="15" y="14"/>
                    <a:pt x="16" y="14"/>
                  </a:cubicBezTo>
                  <a:cubicBezTo>
                    <a:pt x="16" y="15"/>
                    <a:pt x="14" y="15"/>
                    <a:pt x="14" y="16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6" y="16"/>
                    <a:pt x="5" y="15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1" y="10"/>
                    <a:pt x="1" y="9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6"/>
                    <a:pt x="1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6" name="Freeform 6401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4781863" y="2927812"/>
              <a:ext cx="43748" cy="83717"/>
            </a:xfrm>
            <a:custGeom>
              <a:avLst/>
              <a:gdLst>
                <a:gd name="T0" fmla="*/ 2 w 7"/>
                <a:gd name="T1" fmla="*/ 4 h 13"/>
                <a:gd name="T2" fmla="*/ 0 w 7"/>
                <a:gd name="T3" fmla="*/ 2 h 13"/>
                <a:gd name="T4" fmla="*/ 2 w 7"/>
                <a:gd name="T5" fmla="*/ 1 h 13"/>
                <a:gd name="T6" fmla="*/ 4 w 7"/>
                <a:gd name="T7" fmla="*/ 0 h 13"/>
                <a:gd name="T8" fmla="*/ 4 w 7"/>
                <a:gd name="T9" fmla="*/ 0 h 13"/>
                <a:gd name="T10" fmla="*/ 5 w 7"/>
                <a:gd name="T11" fmla="*/ 2 h 13"/>
                <a:gd name="T12" fmla="*/ 6 w 7"/>
                <a:gd name="T13" fmla="*/ 3 h 13"/>
                <a:gd name="T14" fmla="*/ 6 w 7"/>
                <a:gd name="T15" fmla="*/ 4 h 13"/>
                <a:gd name="T16" fmla="*/ 6 w 7"/>
                <a:gd name="T17" fmla="*/ 7 h 13"/>
                <a:gd name="T18" fmla="*/ 7 w 7"/>
                <a:gd name="T19" fmla="*/ 8 h 13"/>
                <a:gd name="T20" fmla="*/ 7 w 7"/>
                <a:gd name="T21" fmla="*/ 9 h 13"/>
                <a:gd name="T22" fmla="*/ 4 w 7"/>
                <a:gd name="T23" fmla="*/ 13 h 13"/>
                <a:gd name="T24" fmla="*/ 3 w 7"/>
                <a:gd name="T25" fmla="*/ 13 h 13"/>
                <a:gd name="T26" fmla="*/ 1 w 7"/>
                <a:gd name="T27" fmla="*/ 10 h 13"/>
                <a:gd name="T28" fmla="*/ 2 w 7"/>
                <a:gd name="T2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3">
                  <a:moveTo>
                    <a:pt x="2" y="4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5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8"/>
                    <a:pt x="3" y="5"/>
                    <a:pt x="2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7" name="Freeform 6402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794363" y="2505879"/>
              <a:ext cx="78121" cy="46882"/>
            </a:xfrm>
            <a:custGeom>
              <a:avLst/>
              <a:gdLst>
                <a:gd name="T0" fmla="*/ 1 w 13"/>
                <a:gd name="T1" fmla="*/ 7 h 7"/>
                <a:gd name="T2" fmla="*/ 0 w 13"/>
                <a:gd name="T3" fmla="*/ 5 h 7"/>
                <a:gd name="T4" fmla="*/ 3 w 13"/>
                <a:gd name="T5" fmla="*/ 3 h 7"/>
                <a:gd name="T6" fmla="*/ 6 w 13"/>
                <a:gd name="T7" fmla="*/ 0 h 7"/>
                <a:gd name="T8" fmla="*/ 12 w 13"/>
                <a:gd name="T9" fmla="*/ 3 h 7"/>
                <a:gd name="T10" fmla="*/ 12 w 13"/>
                <a:gd name="T11" fmla="*/ 6 h 7"/>
                <a:gd name="T12" fmla="*/ 1 w 1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" y="7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3"/>
                    <a:pt x="6" y="1"/>
                    <a:pt x="6" y="0"/>
                  </a:cubicBezTo>
                  <a:cubicBezTo>
                    <a:pt x="6" y="0"/>
                    <a:pt x="12" y="3"/>
                    <a:pt x="12" y="3"/>
                  </a:cubicBezTo>
                  <a:cubicBezTo>
                    <a:pt x="13" y="4"/>
                    <a:pt x="12" y="6"/>
                    <a:pt x="12" y="6"/>
                  </a:cubicBezTo>
                  <a:cubicBezTo>
                    <a:pt x="12" y="6"/>
                    <a:pt x="2" y="7"/>
                    <a:pt x="1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8" name="Freeform 6403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800612" y="4528481"/>
              <a:ext cx="224989" cy="227710"/>
            </a:xfrm>
            <a:custGeom>
              <a:avLst/>
              <a:gdLst>
                <a:gd name="T0" fmla="*/ 0 w 37"/>
                <a:gd name="T1" fmla="*/ 27 h 35"/>
                <a:gd name="T2" fmla="*/ 0 w 37"/>
                <a:gd name="T3" fmla="*/ 15 h 35"/>
                <a:gd name="T4" fmla="*/ 4 w 37"/>
                <a:gd name="T5" fmla="*/ 15 h 35"/>
                <a:gd name="T6" fmla="*/ 4 w 37"/>
                <a:gd name="T7" fmla="*/ 2 h 35"/>
                <a:gd name="T8" fmla="*/ 11 w 37"/>
                <a:gd name="T9" fmla="*/ 1 h 35"/>
                <a:gd name="T10" fmla="*/ 14 w 37"/>
                <a:gd name="T11" fmla="*/ 1 h 35"/>
                <a:gd name="T12" fmla="*/ 17 w 37"/>
                <a:gd name="T13" fmla="*/ 1 h 35"/>
                <a:gd name="T14" fmla="*/ 21 w 37"/>
                <a:gd name="T15" fmla="*/ 0 h 35"/>
                <a:gd name="T16" fmla="*/ 21 w 37"/>
                <a:gd name="T17" fmla="*/ 1 h 35"/>
                <a:gd name="T18" fmla="*/ 26 w 37"/>
                <a:gd name="T19" fmla="*/ 7 h 35"/>
                <a:gd name="T20" fmla="*/ 29 w 37"/>
                <a:gd name="T21" fmla="*/ 10 h 35"/>
                <a:gd name="T22" fmla="*/ 30 w 37"/>
                <a:gd name="T23" fmla="*/ 9 h 35"/>
                <a:gd name="T24" fmla="*/ 31 w 37"/>
                <a:gd name="T25" fmla="*/ 13 h 35"/>
                <a:gd name="T26" fmla="*/ 36 w 37"/>
                <a:gd name="T27" fmla="*/ 15 h 35"/>
                <a:gd name="T28" fmla="*/ 37 w 37"/>
                <a:gd name="T29" fmla="*/ 15 h 35"/>
                <a:gd name="T30" fmla="*/ 34 w 37"/>
                <a:gd name="T31" fmla="*/ 19 h 35"/>
                <a:gd name="T32" fmla="*/ 30 w 37"/>
                <a:gd name="T33" fmla="*/ 21 h 35"/>
                <a:gd name="T34" fmla="*/ 27 w 37"/>
                <a:gd name="T35" fmla="*/ 25 h 35"/>
                <a:gd name="T36" fmla="*/ 23 w 37"/>
                <a:gd name="T37" fmla="*/ 27 h 35"/>
                <a:gd name="T38" fmla="*/ 21 w 37"/>
                <a:gd name="T39" fmla="*/ 31 h 35"/>
                <a:gd name="T40" fmla="*/ 12 w 37"/>
                <a:gd name="T41" fmla="*/ 29 h 35"/>
                <a:gd name="T42" fmla="*/ 9 w 37"/>
                <a:gd name="T43" fmla="*/ 33 h 35"/>
                <a:gd name="T44" fmla="*/ 4 w 37"/>
                <a:gd name="T45" fmla="*/ 35 h 35"/>
                <a:gd name="T46" fmla="*/ 2 w 37"/>
                <a:gd name="T47" fmla="*/ 27 h 35"/>
                <a:gd name="T48" fmla="*/ 0 w 37"/>
                <a:gd name="T49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35">
                  <a:moveTo>
                    <a:pt x="0" y="2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2"/>
                    <a:pt x="11" y="1"/>
                    <a:pt x="11" y="1"/>
                  </a:cubicBezTo>
                  <a:cubicBezTo>
                    <a:pt x="13" y="1"/>
                    <a:pt x="14" y="2"/>
                    <a:pt x="14" y="1"/>
                  </a:cubicBezTo>
                  <a:cubicBezTo>
                    <a:pt x="15" y="1"/>
                    <a:pt x="17" y="1"/>
                    <a:pt x="17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2"/>
                    <a:pt x="24" y="6"/>
                    <a:pt x="26" y="7"/>
                  </a:cubicBezTo>
                  <a:cubicBezTo>
                    <a:pt x="27" y="8"/>
                    <a:pt x="29" y="10"/>
                    <a:pt x="29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1" y="12"/>
                    <a:pt x="31" y="13"/>
                  </a:cubicBezTo>
                  <a:cubicBezTo>
                    <a:pt x="31" y="13"/>
                    <a:pt x="34" y="14"/>
                    <a:pt x="36" y="15"/>
                  </a:cubicBezTo>
                  <a:cubicBezTo>
                    <a:pt x="36" y="15"/>
                    <a:pt x="36" y="15"/>
                    <a:pt x="37" y="15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9" y="21"/>
                    <a:pt x="27" y="24"/>
                    <a:pt x="27" y="25"/>
                  </a:cubicBezTo>
                  <a:cubicBezTo>
                    <a:pt x="27" y="26"/>
                    <a:pt x="24" y="26"/>
                    <a:pt x="23" y="27"/>
                  </a:cubicBezTo>
                  <a:cubicBezTo>
                    <a:pt x="23" y="27"/>
                    <a:pt x="21" y="30"/>
                    <a:pt x="21" y="31"/>
                  </a:cubicBezTo>
                  <a:cubicBezTo>
                    <a:pt x="20" y="32"/>
                    <a:pt x="14" y="30"/>
                    <a:pt x="12" y="29"/>
                  </a:cubicBezTo>
                  <a:cubicBezTo>
                    <a:pt x="11" y="29"/>
                    <a:pt x="10" y="32"/>
                    <a:pt x="9" y="33"/>
                  </a:cubicBezTo>
                  <a:cubicBezTo>
                    <a:pt x="8" y="35"/>
                    <a:pt x="4" y="35"/>
                    <a:pt x="4" y="35"/>
                  </a:cubicBezTo>
                  <a:cubicBezTo>
                    <a:pt x="3" y="35"/>
                    <a:pt x="4" y="27"/>
                    <a:pt x="2" y="27"/>
                  </a:cubicBezTo>
                  <a:cubicBezTo>
                    <a:pt x="0" y="27"/>
                    <a:pt x="0" y="27"/>
                    <a:pt x="0" y="27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9" name="Freeform 6404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763114" y="2901024"/>
              <a:ext cx="49998" cy="36835"/>
            </a:xfrm>
            <a:custGeom>
              <a:avLst/>
              <a:gdLst>
                <a:gd name="T0" fmla="*/ 1 w 8"/>
                <a:gd name="T1" fmla="*/ 2 h 6"/>
                <a:gd name="T2" fmla="*/ 3 w 8"/>
                <a:gd name="T3" fmla="*/ 0 h 6"/>
                <a:gd name="T4" fmla="*/ 7 w 8"/>
                <a:gd name="T5" fmla="*/ 2 h 6"/>
                <a:gd name="T6" fmla="*/ 7 w 8"/>
                <a:gd name="T7" fmla="*/ 4 h 6"/>
                <a:gd name="T8" fmla="*/ 7 w 8"/>
                <a:gd name="T9" fmla="*/ 4 h 6"/>
                <a:gd name="T10" fmla="*/ 5 w 8"/>
                <a:gd name="T11" fmla="*/ 5 h 6"/>
                <a:gd name="T12" fmla="*/ 3 w 8"/>
                <a:gd name="T13" fmla="*/ 6 h 6"/>
                <a:gd name="T14" fmla="*/ 1 w 8"/>
                <a:gd name="T15" fmla="*/ 5 h 6"/>
                <a:gd name="T16" fmla="*/ 0 w 8"/>
                <a:gd name="T17" fmla="*/ 5 h 6"/>
                <a:gd name="T18" fmla="*/ 1 w 8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3" y="1"/>
                    <a:pt x="3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3" y="6"/>
                    <a:pt x="2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4"/>
                    <a:pt x="1" y="2"/>
                    <a:pt x="1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0" name="Freeform 6405"/>
            <p:cNvSpPr>
              <a:spLocks noEditPoints="1"/>
            </p:cNvSpPr>
            <p:nvPr>
              <p:custDataLst>
                <p:tags r:id="rId127"/>
              </p:custDataLst>
            </p:nvPr>
          </p:nvSpPr>
          <p:spPr bwMode="auto">
            <a:xfrm>
              <a:off x="4722491" y="4625592"/>
              <a:ext cx="381232" cy="358309"/>
            </a:xfrm>
            <a:custGeom>
              <a:avLst/>
              <a:gdLst>
                <a:gd name="T0" fmla="*/ 40 w 63"/>
                <a:gd name="T1" fmla="*/ 31 h 55"/>
                <a:gd name="T2" fmla="*/ 42 w 63"/>
                <a:gd name="T3" fmla="*/ 33 h 55"/>
                <a:gd name="T4" fmla="*/ 45 w 63"/>
                <a:gd name="T5" fmla="*/ 36 h 55"/>
                <a:gd name="T6" fmla="*/ 47 w 63"/>
                <a:gd name="T7" fmla="*/ 34 h 55"/>
                <a:gd name="T8" fmla="*/ 50 w 63"/>
                <a:gd name="T9" fmla="*/ 30 h 55"/>
                <a:gd name="T10" fmla="*/ 47 w 63"/>
                <a:gd name="T11" fmla="*/ 27 h 55"/>
                <a:gd name="T12" fmla="*/ 40 w 63"/>
                <a:gd name="T13" fmla="*/ 31 h 55"/>
                <a:gd name="T14" fmla="*/ 0 w 63"/>
                <a:gd name="T15" fmla="*/ 28 h 55"/>
                <a:gd name="T16" fmla="*/ 3 w 63"/>
                <a:gd name="T17" fmla="*/ 25 h 55"/>
                <a:gd name="T18" fmla="*/ 5 w 63"/>
                <a:gd name="T19" fmla="*/ 28 h 55"/>
                <a:gd name="T20" fmla="*/ 13 w 63"/>
                <a:gd name="T21" fmla="*/ 27 h 55"/>
                <a:gd name="T22" fmla="*/ 13 w 63"/>
                <a:gd name="T23" fmla="*/ 12 h 55"/>
                <a:gd name="T24" fmla="*/ 15 w 63"/>
                <a:gd name="T25" fmla="*/ 12 h 55"/>
                <a:gd name="T26" fmla="*/ 17 w 63"/>
                <a:gd name="T27" fmla="*/ 20 h 55"/>
                <a:gd name="T28" fmla="*/ 22 w 63"/>
                <a:gd name="T29" fmla="*/ 18 h 55"/>
                <a:gd name="T30" fmla="*/ 25 w 63"/>
                <a:gd name="T31" fmla="*/ 14 h 55"/>
                <a:gd name="T32" fmla="*/ 34 w 63"/>
                <a:gd name="T33" fmla="*/ 16 h 55"/>
                <a:gd name="T34" fmla="*/ 36 w 63"/>
                <a:gd name="T35" fmla="*/ 12 h 55"/>
                <a:gd name="T36" fmla="*/ 40 w 63"/>
                <a:gd name="T37" fmla="*/ 10 h 55"/>
                <a:gd name="T38" fmla="*/ 43 w 63"/>
                <a:gd name="T39" fmla="*/ 6 h 55"/>
                <a:gd name="T40" fmla="*/ 47 w 63"/>
                <a:gd name="T41" fmla="*/ 4 h 55"/>
                <a:gd name="T42" fmla="*/ 50 w 63"/>
                <a:gd name="T43" fmla="*/ 0 h 55"/>
                <a:gd name="T44" fmla="*/ 53 w 63"/>
                <a:gd name="T45" fmla="*/ 1 h 55"/>
                <a:gd name="T46" fmla="*/ 57 w 63"/>
                <a:gd name="T47" fmla="*/ 1 h 55"/>
                <a:gd name="T48" fmla="*/ 57 w 63"/>
                <a:gd name="T49" fmla="*/ 1 h 55"/>
                <a:gd name="T50" fmla="*/ 57 w 63"/>
                <a:gd name="T51" fmla="*/ 2 h 55"/>
                <a:gd name="T52" fmla="*/ 59 w 63"/>
                <a:gd name="T53" fmla="*/ 8 h 55"/>
                <a:gd name="T54" fmla="*/ 59 w 63"/>
                <a:gd name="T55" fmla="*/ 15 h 55"/>
                <a:gd name="T56" fmla="*/ 59 w 63"/>
                <a:gd name="T57" fmla="*/ 16 h 55"/>
                <a:gd name="T58" fmla="*/ 57 w 63"/>
                <a:gd name="T59" fmla="*/ 15 h 55"/>
                <a:gd name="T60" fmla="*/ 55 w 63"/>
                <a:gd name="T61" fmla="*/ 20 h 55"/>
                <a:gd name="T62" fmla="*/ 55 w 63"/>
                <a:gd name="T63" fmla="*/ 22 h 55"/>
                <a:gd name="T64" fmla="*/ 59 w 63"/>
                <a:gd name="T65" fmla="*/ 20 h 55"/>
                <a:gd name="T66" fmla="*/ 63 w 63"/>
                <a:gd name="T67" fmla="*/ 20 h 55"/>
                <a:gd name="T68" fmla="*/ 63 w 63"/>
                <a:gd name="T69" fmla="*/ 22 h 55"/>
                <a:gd name="T70" fmla="*/ 60 w 63"/>
                <a:gd name="T71" fmla="*/ 29 h 55"/>
                <a:gd name="T72" fmla="*/ 54 w 63"/>
                <a:gd name="T73" fmla="*/ 36 h 55"/>
                <a:gd name="T74" fmla="*/ 42 w 63"/>
                <a:gd name="T75" fmla="*/ 47 h 55"/>
                <a:gd name="T76" fmla="*/ 34 w 63"/>
                <a:gd name="T77" fmla="*/ 50 h 55"/>
                <a:gd name="T78" fmla="*/ 25 w 63"/>
                <a:gd name="T79" fmla="*/ 50 h 55"/>
                <a:gd name="T80" fmla="*/ 20 w 63"/>
                <a:gd name="T81" fmla="*/ 52 h 55"/>
                <a:gd name="T82" fmla="*/ 12 w 63"/>
                <a:gd name="T83" fmla="*/ 54 h 55"/>
                <a:gd name="T84" fmla="*/ 9 w 63"/>
                <a:gd name="T85" fmla="*/ 51 h 55"/>
                <a:gd name="T86" fmla="*/ 7 w 63"/>
                <a:gd name="T87" fmla="*/ 49 h 55"/>
                <a:gd name="T88" fmla="*/ 5 w 63"/>
                <a:gd name="T89" fmla="*/ 46 h 55"/>
                <a:gd name="T90" fmla="*/ 7 w 63"/>
                <a:gd name="T91" fmla="*/ 42 h 55"/>
                <a:gd name="T92" fmla="*/ 6 w 63"/>
                <a:gd name="T93" fmla="*/ 39 h 55"/>
                <a:gd name="T94" fmla="*/ 2 w 63"/>
                <a:gd name="T95" fmla="*/ 33 h 55"/>
                <a:gd name="T96" fmla="*/ 0 w 63"/>
                <a:gd name="T97" fmla="*/ 2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3" h="55">
                  <a:moveTo>
                    <a:pt x="40" y="31"/>
                  </a:moveTo>
                  <a:cubicBezTo>
                    <a:pt x="40" y="32"/>
                    <a:pt x="41" y="33"/>
                    <a:pt x="42" y="33"/>
                  </a:cubicBezTo>
                  <a:cubicBezTo>
                    <a:pt x="42" y="33"/>
                    <a:pt x="44" y="37"/>
                    <a:pt x="45" y="36"/>
                  </a:cubicBezTo>
                  <a:cubicBezTo>
                    <a:pt x="46" y="35"/>
                    <a:pt x="47" y="34"/>
                    <a:pt x="47" y="34"/>
                  </a:cubicBezTo>
                  <a:cubicBezTo>
                    <a:pt x="48" y="34"/>
                    <a:pt x="50" y="31"/>
                    <a:pt x="50" y="30"/>
                  </a:cubicBezTo>
                  <a:cubicBezTo>
                    <a:pt x="50" y="29"/>
                    <a:pt x="48" y="27"/>
                    <a:pt x="47" y="27"/>
                  </a:cubicBezTo>
                  <a:cubicBezTo>
                    <a:pt x="45" y="27"/>
                    <a:pt x="41" y="31"/>
                    <a:pt x="40" y="31"/>
                  </a:cubicBezTo>
                  <a:close/>
                  <a:moveTo>
                    <a:pt x="0" y="28"/>
                  </a:moveTo>
                  <a:cubicBezTo>
                    <a:pt x="1" y="27"/>
                    <a:pt x="2" y="25"/>
                    <a:pt x="3" y="25"/>
                  </a:cubicBezTo>
                  <a:cubicBezTo>
                    <a:pt x="4" y="25"/>
                    <a:pt x="4" y="28"/>
                    <a:pt x="5" y="28"/>
                  </a:cubicBezTo>
                  <a:cubicBezTo>
                    <a:pt x="7" y="28"/>
                    <a:pt x="13" y="27"/>
                    <a:pt x="13" y="2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6" y="20"/>
                    <a:pt x="17" y="20"/>
                  </a:cubicBezTo>
                  <a:cubicBezTo>
                    <a:pt x="17" y="20"/>
                    <a:pt x="21" y="20"/>
                    <a:pt x="22" y="18"/>
                  </a:cubicBezTo>
                  <a:cubicBezTo>
                    <a:pt x="23" y="17"/>
                    <a:pt x="24" y="14"/>
                    <a:pt x="25" y="14"/>
                  </a:cubicBezTo>
                  <a:cubicBezTo>
                    <a:pt x="27" y="15"/>
                    <a:pt x="33" y="17"/>
                    <a:pt x="34" y="16"/>
                  </a:cubicBezTo>
                  <a:cubicBezTo>
                    <a:pt x="34" y="15"/>
                    <a:pt x="35" y="12"/>
                    <a:pt x="36" y="12"/>
                  </a:cubicBezTo>
                  <a:cubicBezTo>
                    <a:pt x="37" y="11"/>
                    <a:pt x="40" y="11"/>
                    <a:pt x="40" y="10"/>
                  </a:cubicBezTo>
                  <a:cubicBezTo>
                    <a:pt x="40" y="9"/>
                    <a:pt x="42" y="6"/>
                    <a:pt x="43" y="6"/>
                  </a:cubicBezTo>
                  <a:cubicBezTo>
                    <a:pt x="44" y="4"/>
                    <a:pt x="45" y="4"/>
                    <a:pt x="47" y="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1"/>
                    <a:pt x="52" y="1"/>
                    <a:pt x="53" y="1"/>
                  </a:cubicBezTo>
                  <a:cubicBezTo>
                    <a:pt x="54" y="1"/>
                    <a:pt x="56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7" y="4"/>
                    <a:pt x="58" y="7"/>
                    <a:pt x="59" y="8"/>
                  </a:cubicBezTo>
                  <a:cubicBezTo>
                    <a:pt x="60" y="10"/>
                    <a:pt x="59" y="14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9" y="15"/>
                    <a:pt x="57" y="15"/>
                  </a:cubicBezTo>
                  <a:cubicBezTo>
                    <a:pt x="56" y="16"/>
                    <a:pt x="55" y="18"/>
                    <a:pt x="55" y="20"/>
                  </a:cubicBezTo>
                  <a:cubicBezTo>
                    <a:pt x="55" y="21"/>
                    <a:pt x="54" y="22"/>
                    <a:pt x="55" y="22"/>
                  </a:cubicBezTo>
                  <a:cubicBezTo>
                    <a:pt x="60" y="23"/>
                    <a:pt x="59" y="20"/>
                    <a:pt x="59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1"/>
                    <a:pt x="63" y="21"/>
                    <a:pt x="63" y="22"/>
                  </a:cubicBezTo>
                  <a:cubicBezTo>
                    <a:pt x="62" y="23"/>
                    <a:pt x="61" y="27"/>
                    <a:pt x="60" y="29"/>
                  </a:cubicBezTo>
                  <a:cubicBezTo>
                    <a:pt x="58" y="30"/>
                    <a:pt x="55" y="35"/>
                    <a:pt x="54" y="36"/>
                  </a:cubicBezTo>
                  <a:cubicBezTo>
                    <a:pt x="53" y="37"/>
                    <a:pt x="44" y="46"/>
                    <a:pt x="42" y="47"/>
                  </a:cubicBezTo>
                  <a:cubicBezTo>
                    <a:pt x="40" y="48"/>
                    <a:pt x="38" y="50"/>
                    <a:pt x="34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8" y="52"/>
                    <a:pt x="14" y="55"/>
                    <a:pt x="12" y="54"/>
                  </a:cubicBezTo>
                  <a:cubicBezTo>
                    <a:pt x="11" y="53"/>
                    <a:pt x="10" y="51"/>
                    <a:pt x="9" y="51"/>
                  </a:cubicBezTo>
                  <a:cubicBezTo>
                    <a:pt x="7" y="51"/>
                    <a:pt x="7" y="51"/>
                    <a:pt x="7" y="49"/>
                  </a:cubicBezTo>
                  <a:cubicBezTo>
                    <a:pt x="6" y="48"/>
                    <a:pt x="5" y="46"/>
                    <a:pt x="5" y="46"/>
                  </a:cubicBezTo>
                  <a:cubicBezTo>
                    <a:pt x="5" y="45"/>
                    <a:pt x="7" y="43"/>
                    <a:pt x="7" y="42"/>
                  </a:cubicBezTo>
                  <a:cubicBezTo>
                    <a:pt x="7" y="41"/>
                    <a:pt x="7" y="40"/>
                    <a:pt x="6" y="39"/>
                  </a:cubicBezTo>
                  <a:cubicBezTo>
                    <a:pt x="4" y="37"/>
                    <a:pt x="3" y="35"/>
                    <a:pt x="2" y="33"/>
                  </a:cubicBezTo>
                  <a:cubicBezTo>
                    <a:pt x="2" y="31"/>
                    <a:pt x="1" y="29"/>
                    <a:pt x="0" y="28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1" name="Freeform 6406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4731866" y="2706799"/>
              <a:ext cx="128119" cy="56927"/>
            </a:xfrm>
            <a:custGeom>
              <a:avLst/>
              <a:gdLst>
                <a:gd name="T0" fmla="*/ 0 w 21"/>
                <a:gd name="T1" fmla="*/ 7 h 9"/>
                <a:gd name="T2" fmla="*/ 0 w 21"/>
                <a:gd name="T3" fmla="*/ 5 h 9"/>
                <a:gd name="T4" fmla="*/ 0 w 21"/>
                <a:gd name="T5" fmla="*/ 4 h 9"/>
                <a:gd name="T6" fmla="*/ 3 w 21"/>
                <a:gd name="T7" fmla="*/ 4 h 9"/>
                <a:gd name="T8" fmla="*/ 5 w 21"/>
                <a:gd name="T9" fmla="*/ 1 h 9"/>
                <a:gd name="T10" fmla="*/ 7 w 21"/>
                <a:gd name="T11" fmla="*/ 0 h 9"/>
                <a:gd name="T12" fmla="*/ 9 w 21"/>
                <a:gd name="T13" fmla="*/ 1 h 9"/>
                <a:gd name="T14" fmla="*/ 11 w 21"/>
                <a:gd name="T15" fmla="*/ 2 h 9"/>
                <a:gd name="T16" fmla="*/ 16 w 21"/>
                <a:gd name="T17" fmla="*/ 1 h 9"/>
                <a:gd name="T18" fmla="*/ 19 w 21"/>
                <a:gd name="T19" fmla="*/ 1 h 9"/>
                <a:gd name="T20" fmla="*/ 21 w 21"/>
                <a:gd name="T21" fmla="*/ 3 h 9"/>
                <a:gd name="T22" fmla="*/ 20 w 21"/>
                <a:gd name="T23" fmla="*/ 6 h 9"/>
                <a:gd name="T24" fmla="*/ 16 w 21"/>
                <a:gd name="T25" fmla="*/ 5 h 9"/>
                <a:gd name="T26" fmla="*/ 12 w 21"/>
                <a:gd name="T27" fmla="*/ 7 h 9"/>
                <a:gd name="T28" fmla="*/ 8 w 21"/>
                <a:gd name="T29" fmla="*/ 8 h 9"/>
                <a:gd name="T30" fmla="*/ 7 w 21"/>
                <a:gd name="T31" fmla="*/ 9 h 9"/>
                <a:gd name="T32" fmla="*/ 3 w 21"/>
                <a:gd name="T33" fmla="*/ 9 h 9"/>
                <a:gd name="T34" fmla="*/ 0 w 21"/>
                <a:gd name="T35" fmla="*/ 8 h 9"/>
                <a:gd name="T36" fmla="*/ 0 w 21"/>
                <a:gd name="T37" fmla="*/ 8 h 9"/>
                <a:gd name="T38" fmla="*/ 0 w 21"/>
                <a:gd name="T3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9">
                  <a:moveTo>
                    <a:pt x="0" y="7"/>
                  </a:moveTo>
                  <a:cubicBezTo>
                    <a:pt x="0" y="7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3" y="4"/>
                    <a:pt x="3" y="4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9" y="0"/>
                    <a:pt x="9" y="1"/>
                  </a:cubicBezTo>
                  <a:cubicBezTo>
                    <a:pt x="10" y="1"/>
                    <a:pt x="10" y="2"/>
                    <a:pt x="11" y="2"/>
                  </a:cubicBezTo>
                  <a:cubicBezTo>
                    <a:pt x="12" y="2"/>
                    <a:pt x="15" y="1"/>
                    <a:pt x="16" y="1"/>
                  </a:cubicBezTo>
                  <a:cubicBezTo>
                    <a:pt x="17" y="1"/>
                    <a:pt x="19" y="1"/>
                    <a:pt x="19" y="1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5"/>
                    <a:pt x="20" y="6"/>
                  </a:cubicBezTo>
                  <a:cubicBezTo>
                    <a:pt x="20" y="6"/>
                    <a:pt x="17" y="5"/>
                    <a:pt x="16" y="5"/>
                  </a:cubicBezTo>
                  <a:cubicBezTo>
                    <a:pt x="15" y="5"/>
                    <a:pt x="13" y="7"/>
                    <a:pt x="12" y="7"/>
                  </a:cubicBezTo>
                  <a:cubicBezTo>
                    <a:pt x="12" y="7"/>
                    <a:pt x="9" y="7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9"/>
                    <a:pt x="3" y="9"/>
                    <a:pt x="3" y="9"/>
                  </a:cubicBezTo>
                  <a:cubicBezTo>
                    <a:pt x="2" y="9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2" name="Freeform 6408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4672494" y="3787626"/>
              <a:ext cx="303110" cy="215112"/>
            </a:xfrm>
            <a:custGeom>
              <a:avLst/>
              <a:gdLst>
                <a:gd name="T0" fmla="*/ 6 w 50"/>
                <a:gd name="T1" fmla="*/ 32 h 34"/>
                <a:gd name="T2" fmla="*/ 0 w 50"/>
                <a:gd name="T3" fmla="*/ 24 h 34"/>
                <a:gd name="T4" fmla="*/ 2 w 50"/>
                <a:gd name="T5" fmla="*/ 17 h 34"/>
                <a:gd name="T6" fmla="*/ 3 w 50"/>
                <a:gd name="T7" fmla="*/ 15 h 34"/>
                <a:gd name="T8" fmla="*/ 7 w 50"/>
                <a:gd name="T9" fmla="*/ 15 h 34"/>
                <a:gd name="T10" fmla="*/ 16 w 50"/>
                <a:gd name="T11" fmla="*/ 12 h 34"/>
                <a:gd name="T12" fmla="*/ 19 w 50"/>
                <a:gd name="T13" fmla="*/ 9 h 34"/>
                <a:gd name="T14" fmla="*/ 24 w 50"/>
                <a:gd name="T15" fmla="*/ 8 h 34"/>
                <a:gd name="T16" fmla="*/ 28 w 50"/>
                <a:gd name="T17" fmla="*/ 2 h 34"/>
                <a:gd name="T18" fmla="*/ 32 w 50"/>
                <a:gd name="T19" fmla="*/ 2 h 34"/>
                <a:gd name="T20" fmla="*/ 35 w 50"/>
                <a:gd name="T21" fmla="*/ 6 h 34"/>
                <a:gd name="T22" fmla="*/ 35 w 50"/>
                <a:gd name="T23" fmla="*/ 10 h 34"/>
                <a:gd name="T24" fmla="*/ 39 w 50"/>
                <a:gd name="T25" fmla="*/ 12 h 34"/>
                <a:gd name="T26" fmla="*/ 42 w 50"/>
                <a:gd name="T27" fmla="*/ 15 h 34"/>
                <a:gd name="T28" fmla="*/ 46 w 50"/>
                <a:gd name="T29" fmla="*/ 18 h 34"/>
                <a:gd name="T30" fmla="*/ 50 w 50"/>
                <a:gd name="T31" fmla="*/ 21 h 34"/>
                <a:gd name="T32" fmla="*/ 49 w 50"/>
                <a:gd name="T33" fmla="*/ 24 h 34"/>
                <a:gd name="T34" fmla="*/ 47 w 50"/>
                <a:gd name="T35" fmla="*/ 23 h 34"/>
                <a:gd name="T36" fmla="*/ 41 w 50"/>
                <a:gd name="T37" fmla="*/ 24 h 34"/>
                <a:gd name="T38" fmla="*/ 33 w 50"/>
                <a:gd name="T39" fmla="*/ 25 h 34"/>
                <a:gd name="T40" fmla="*/ 31 w 50"/>
                <a:gd name="T41" fmla="*/ 28 h 34"/>
                <a:gd name="T42" fmla="*/ 24 w 50"/>
                <a:gd name="T43" fmla="*/ 27 h 34"/>
                <a:gd name="T44" fmla="*/ 19 w 50"/>
                <a:gd name="T45" fmla="*/ 24 h 34"/>
                <a:gd name="T46" fmla="*/ 16 w 50"/>
                <a:gd name="T47" fmla="*/ 28 h 34"/>
                <a:gd name="T48" fmla="*/ 16 w 50"/>
                <a:gd name="T49" fmla="*/ 30 h 34"/>
                <a:gd name="T50" fmla="*/ 9 w 50"/>
                <a:gd name="T51" fmla="*/ 30 h 34"/>
                <a:gd name="T52" fmla="*/ 8 w 50"/>
                <a:gd name="T53" fmla="*/ 33 h 34"/>
                <a:gd name="T54" fmla="*/ 6 w 50"/>
                <a:gd name="T55" fmla="*/ 34 h 34"/>
                <a:gd name="T56" fmla="*/ 6 w 50"/>
                <a:gd name="T57" fmla="*/ 32 h 34"/>
                <a:gd name="connsiteX0" fmla="*/ 1200 w 10000"/>
                <a:gd name="connsiteY0" fmla="*/ 9086 h 9674"/>
                <a:gd name="connsiteX1" fmla="*/ 0 w 10000"/>
                <a:gd name="connsiteY1" fmla="*/ 6733 h 9674"/>
                <a:gd name="connsiteX2" fmla="*/ 400 w 10000"/>
                <a:gd name="connsiteY2" fmla="*/ 4674 h 9674"/>
                <a:gd name="connsiteX3" fmla="*/ 600 w 10000"/>
                <a:gd name="connsiteY3" fmla="*/ 4086 h 9674"/>
                <a:gd name="connsiteX4" fmla="*/ 1400 w 10000"/>
                <a:gd name="connsiteY4" fmla="*/ 4086 h 9674"/>
                <a:gd name="connsiteX5" fmla="*/ 2964 w 10000"/>
                <a:gd name="connsiteY5" fmla="*/ 2857 h 9674"/>
                <a:gd name="connsiteX6" fmla="*/ 3800 w 10000"/>
                <a:gd name="connsiteY6" fmla="*/ 2321 h 9674"/>
                <a:gd name="connsiteX7" fmla="*/ 4800 w 10000"/>
                <a:gd name="connsiteY7" fmla="*/ 2027 h 9674"/>
                <a:gd name="connsiteX8" fmla="*/ 5600 w 10000"/>
                <a:gd name="connsiteY8" fmla="*/ 262 h 9674"/>
                <a:gd name="connsiteX9" fmla="*/ 6400 w 10000"/>
                <a:gd name="connsiteY9" fmla="*/ 262 h 9674"/>
                <a:gd name="connsiteX10" fmla="*/ 7000 w 10000"/>
                <a:gd name="connsiteY10" fmla="*/ 1439 h 9674"/>
                <a:gd name="connsiteX11" fmla="*/ 7000 w 10000"/>
                <a:gd name="connsiteY11" fmla="*/ 2615 h 9674"/>
                <a:gd name="connsiteX12" fmla="*/ 7800 w 10000"/>
                <a:gd name="connsiteY12" fmla="*/ 3203 h 9674"/>
                <a:gd name="connsiteX13" fmla="*/ 8400 w 10000"/>
                <a:gd name="connsiteY13" fmla="*/ 4086 h 9674"/>
                <a:gd name="connsiteX14" fmla="*/ 9200 w 10000"/>
                <a:gd name="connsiteY14" fmla="*/ 4968 h 9674"/>
                <a:gd name="connsiteX15" fmla="*/ 10000 w 10000"/>
                <a:gd name="connsiteY15" fmla="*/ 5850 h 9674"/>
                <a:gd name="connsiteX16" fmla="*/ 9800 w 10000"/>
                <a:gd name="connsiteY16" fmla="*/ 6733 h 9674"/>
                <a:gd name="connsiteX17" fmla="*/ 9400 w 10000"/>
                <a:gd name="connsiteY17" fmla="*/ 6439 h 9674"/>
                <a:gd name="connsiteX18" fmla="*/ 8200 w 10000"/>
                <a:gd name="connsiteY18" fmla="*/ 6733 h 9674"/>
                <a:gd name="connsiteX19" fmla="*/ 6600 w 10000"/>
                <a:gd name="connsiteY19" fmla="*/ 7027 h 9674"/>
                <a:gd name="connsiteX20" fmla="*/ 6200 w 10000"/>
                <a:gd name="connsiteY20" fmla="*/ 7909 h 9674"/>
                <a:gd name="connsiteX21" fmla="*/ 4800 w 10000"/>
                <a:gd name="connsiteY21" fmla="*/ 7615 h 9674"/>
                <a:gd name="connsiteX22" fmla="*/ 3800 w 10000"/>
                <a:gd name="connsiteY22" fmla="*/ 6733 h 9674"/>
                <a:gd name="connsiteX23" fmla="*/ 3200 w 10000"/>
                <a:gd name="connsiteY23" fmla="*/ 7909 h 9674"/>
                <a:gd name="connsiteX24" fmla="*/ 3200 w 10000"/>
                <a:gd name="connsiteY24" fmla="*/ 8498 h 9674"/>
                <a:gd name="connsiteX25" fmla="*/ 1800 w 10000"/>
                <a:gd name="connsiteY25" fmla="*/ 8498 h 9674"/>
                <a:gd name="connsiteX26" fmla="*/ 1600 w 10000"/>
                <a:gd name="connsiteY26" fmla="*/ 9380 h 9674"/>
                <a:gd name="connsiteX27" fmla="*/ 1200 w 10000"/>
                <a:gd name="connsiteY27" fmla="*/ 9674 h 9674"/>
                <a:gd name="connsiteX28" fmla="*/ 1200 w 10000"/>
                <a:gd name="connsiteY28" fmla="*/ 9086 h 9674"/>
                <a:gd name="connsiteX0" fmla="*/ 1200 w 10000"/>
                <a:gd name="connsiteY0" fmla="*/ 9453 h 10061"/>
                <a:gd name="connsiteX1" fmla="*/ 0 w 10000"/>
                <a:gd name="connsiteY1" fmla="*/ 7021 h 10061"/>
                <a:gd name="connsiteX2" fmla="*/ 400 w 10000"/>
                <a:gd name="connsiteY2" fmla="*/ 4893 h 10061"/>
                <a:gd name="connsiteX3" fmla="*/ 600 w 10000"/>
                <a:gd name="connsiteY3" fmla="*/ 4285 h 10061"/>
                <a:gd name="connsiteX4" fmla="*/ 1400 w 10000"/>
                <a:gd name="connsiteY4" fmla="*/ 4285 h 10061"/>
                <a:gd name="connsiteX5" fmla="*/ 2964 w 10000"/>
                <a:gd name="connsiteY5" fmla="*/ 3014 h 10061"/>
                <a:gd name="connsiteX6" fmla="*/ 3800 w 10000"/>
                <a:gd name="connsiteY6" fmla="*/ 2460 h 10061"/>
                <a:gd name="connsiteX7" fmla="*/ 4721 w 10000"/>
                <a:gd name="connsiteY7" fmla="*/ 1798 h 10061"/>
                <a:gd name="connsiteX8" fmla="*/ 5600 w 10000"/>
                <a:gd name="connsiteY8" fmla="*/ 332 h 10061"/>
                <a:gd name="connsiteX9" fmla="*/ 6400 w 10000"/>
                <a:gd name="connsiteY9" fmla="*/ 332 h 10061"/>
                <a:gd name="connsiteX10" fmla="*/ 7000 w 10000"/>
                <a:gd name="connsiteY10" fmla="*/ 1548 h 10061"/>
                <a:gd name="connsiteX11" fmla="*/ 7000 w 10000"/>
                <a:gd name="connsiteY11" fmla="*/ 2764 h 10061"/>
                <a:gd name="connsiteX12" fmla="*/ 7800 w 10000"/>
                <a:gd name="connsiteY12" fmla="*/ 3372 h 10061"/>
                <a:gd name="connsiteX13" fmla="*/ 8400 w 10000"/>
                <a:gd name="connsiteY13" fmla="*/ 4285 h 10061"/>
                <a:gd name="connsiteX14" fmla="*/ 9200 w 10000"/>
                <a:gd name="connsiteY14" fmla="*/ 5196 h 10061"/>
                <a:gd name="connsiteX15" fmla="*/ 10000 w 10000"/>
                <a:gd name="connsiteY15" fmla="*/ 6108 h 10061"/>
                <a:gd name="connsiteX16" fmla="*/ 9800 w 10000"/>
                <a:gd name="connsiteY16" fmla="*/ 7021 h 10061"/>
                <a:gd name="connsiteX17" fmla="*/ 9400 w 10000"/>
                <a:gd name="connsiteY17" fmla="*/ 6717 h 10061"/>
                <a:gd name="connsiteX18" fmla="*/ 8200 w 10000"/>
                <a:gd name="connsiteY18" fmla="*/ 7021 h 10061"/>
                <a:gd name="connsiteX19" fmla="*/ 6600 w 10000"/>
                <a:gd name="connsiteY19" fmla="*/ 7325 h 10061"/>
                <a:gd name="connsiteX20" fmla="*/ 6200 w 10000"/>
                <a:gd name="connsiteY20" fmla="*/ 8237 h 10061"/>
                <a:gd name="connsiteX21" fmla="*/ 4800 w 10000"/>
                <a:gd name="connsiteY21" fmla="*/ 7933 h 10061"/>
                <a:gd name="connsiteX22" fmla="*/ 3800 w 10000"/>
                <a:gd name="connsiteY22" fmla="*/ 7021 h 10061"/>
                <a:gd name="connsiteX23" fmla="*/ 3200 w 10000"/>
                <a:gd name="connsiteY23" fmla="*/ 8237 h 10061"/>
                <a:gd name="connsiteX24" fmla="*/ 3200 w 10000"/>
                <a:gd name="connsiteY24" fmla="*/ 8845 h 10061"/>
                <a:gd name="connsiteX25" fmla="*/ 1800 w 10000"/>
                <a:gd name="connsiteY25" fmla="*/ 8845 h 10061"/>
                <a:gd name="connsiteX26" fmla="*/ 1600 w 10000"/>
                <a:gd name="connsiteY26" fmla="*/ 9757 h 10061"/>
                <a:gd name="connsiteX27" fmla="*/ 1200 w 10000"/>
                <a:gd name="connsiteY27" fmla="*/ 10061 h 10061"/>
                <a:gd name="connsiteX28" fmla="*/ 1200 w 10000"/>
                <a:gd name="connsiteY28" fmla="*/ 9453 h 10061"/>
                <a:gd name="connsiteX0" fmla="*/ 1200 w 10000"/>
                <a:gd name="connsiteY0" fmla="*/ 9453 h 10061"/>
                <a:gd name="connsiteX1" fmla="*/ 0 w 10000"/>
                <a:gd name="connsiteY1" fmla="*/ 7021 h 10061"/>
                <a:gd name="connsiteX2" fmla="*/ 400 w 10000"/>
                <a:gd name="connsiteY2" fmla="*/ 4893 h 10061"/>
                <a:gd name="connsiteX3" fmla="*/ 600 w 10000"/>
                <a:gd name="connsiteY3" fmla="*/ 4285 h 10061"/>
                <a:gd name="connsiteX4" fmla="*/ 1400 w 10000"/>
                <a:gd name="connsiteY4" fmla="*/ 4285 h 10061"/>
                <a:gd name="connsiteX5" fmla="*/ 2964 w 10000"/>
                <a:gd name="connsiteY5" fmla="*/ 3014 h 10061"/>
                <a:gd name="connsiteX6" fmla="*/ 3721 w 10000"/>
                <a:gd name="connsiteY6" fmla="*/ 1983 h 10061"/>
                <a:gd name="connsiteX7" fmla="*/ 4721 w 10000"/>
                <a:gd name="connsiteY7" fmla="*/ 1798 h 10061"/>
                <a:gd name="connsiteX8" fmla="*/ 5600 w 10000"/>
                <a:gd name="connsiteY8" fmla="*/ 332 h 10061"/>
                <a:gd name="connsiteX9" fmla="*/ 6400 w 10000"/>
                <a:gd name="connsiteY9" fmla="*/ 332 h 10061"/>
                <a:gd name="connsiteX10" fmla="*/ 7000 w 10000"/>
                <a:gd name="connsiteY10" fmla="*/ 1548 h 10061"/>
                <a:gd name="connsiteX11" fmla="*/ 7000 w 10000"/>
                <a:gd name="connsiteY11" fmla="*/ 2764 h 10061"/>
                <a:gd name="connsiteX12" fmla="*/ 7800 w 10000"/>
                <a:gd name="connsiteY12" fmla="*/ 3372 h 10061"/>
                <a:gd name="connsiteX13" fmla="*/ 8400 w 10000"/>
                <a:gd name="connsiteY13" fmla="*/ 4285 h 10061"/>
                <a:gd name="connsiteX14" fmla="*/ 9200 w 10000"/>
                <a:gd name="connsiteY14" fmla="*/ 5196 h 10061"/>
                <a:gd name="connsiteX15" fmla="*/ 10000 w 10000"/>
                <a:gd name="connsiteY15" fmla="*/ 6108 h 10061"/>
                <a:gd name="connsiteX16" fmla="*/ 9800 w 10000"/>
                <a:gd name="connsiteY16" fmla="*/ 7021 h 10061"/>
                <a:gd name="connsiteX17" fmla="*/ 9400 w 10000"/>
                <a:gd name="connsiteY17" fmla="*/ 6717 h 10061"/>
                <a:gd name="connsiteX18" fmla="*/ 8200 w 10000"/>
                <a:gd name="connsiteY18" fmla="*/ 7021 h 10061"/>
                <a:gd name="connsiteX19" fmla="*/ 6600 w 10000"/>
                <a:gd name="connsiteY19" fmla="*/ 7325 h 10061"/>
                <a:gd name="connsiteX20" fmla="*/ 6200 w 10000"/>
                <a:gd name="connsiteY20" fmla="*/ 8237 h 10061"/>
                <a:gd name="connsiteX21" fmla="*/ 4800 w 10000"/>
                <a:gd name="connsiteY21" fmla="*/ 7933 h 10061"/>
                <a:gd name="connsiteX22" fmla="*/ 3800 w 10000"/>
                <a:gd name="connsiteY22" fmla="*/ 7021 h 10061"/>
                <a:gd name="connsiteX23" fmla="*/ 3200 w 10000"/>
                <a:gd name="connsiteY23" fmla="*/ 8237 h 10061"/>
                <a:gd name="connsiteX24" fmla="*/ 3200 w 10000"/>
                <a:gd name="connsiteY24" fmla="*/ 8845 h 10061"/>
                <a:gd name="connsiteX25" fmla="*/ 1800 w 10000"/>
                <a:gd name="connsiteY25" fmla="*/ 8845 h 10061"/>
                <a:gd name="connsiteX26" fmla="*/ 1600 w 10000"/>
                <a:gd name="connsiteY26" fmla="*/ 9757 h 10061"/>
                <a:gd name="connsiteX27" fmla="*/ 1200 w 10000"/>
                <a:gd name="connsiteY27" fmla="*/ 10061 h 10061"/>
                <a:gd name="connsiteX28" fmla="*/ 1200 w 10000"/>
                <a:gd name="connsiteY28" fmla="*/ 9453 h 10061"/>
                <a:gd name="connsiteX0" fmla="*/ 1200 w 10000"/>
                <a:gd name="connsiteY0" fmla="*/ 9453 h 10061"/>
                <a:gd name="connsiteX1" fmla="*/ 0 w 10000"/>
                <a:gd name="connsiteY1" fmla="*/ 7021 h 10061"/>
                <a:gd name="connsiteX2" fmla="*/ 400 w 10000"/>
                <a:gd name="connsiteY2" fmla="*/ 4893 h 10061"/>
                <a:gd name="connsiteX3" fmla="*/ 600 w 10000"/>
                <a:gd name="connsiteY3" fmla="*/ 4285 h 10061"/>
                <a:gd name="connsiteX4" fmla="*/ 1400 w 10000"/>
                <a:gd name="connsiteY4" fmla="*/ 3808 h 10061"/>
                <a:gd name="connsiteX5" fmla="*/ 2964 w 10000"/>
                <a:gd name="connsiteY5" fmla="*/ 3014 h 10061"/>
                <a:gd name="connsiteX6" fmla="*/ 3721 w 10000"/>
                <a:gd name="connsiteY6" fmla="*/ 1983 h 10061"/>
                <a:gd name="connsiteX7" fmla="*/ 4721 w 10000"/>
                <a:gd name="connsiteY7" fmla="*/ 1798 h 10061"/>
                <a:gd name="connsiteX8" fmla="*/ 5600 w 10000"/>
                <a:gd name="connsiteY8" fmla="*/ 332 h 10061"/>
                <a:gd name="connsiteX9" fmla="*/ 6400 w 10000"/>
                <a:gd name="connsiteY9" fmla="*/ 332 h 10061"/>
                <a:gd name="connsiteX10" fmla="*/ 7000 w 10000"/>
                <a:gd name="connsiteY10" fmla="*/ 1548 h 10061"/>
                <a:gd name="connsiteX11" fmla="*/ 7000 w 10000"/>
                <a:gd name="connsiteY11" fmla="*/ 2764 h 10061"/>
                <a:gd name="connsiteX12" fmla="*/ 7800 w 10000"/>
                <a:gd name="connsiteY12" fmla="*/ 3372 h 10061"/>
                <a:gd name="connsiteX13" fmla="*/ 8400 w 10000"/>
                <a:gd name="connsiteY13" fmla="*/ 4285 h 10061"/>
                <a:gd name="connsiteX14" fmla="*/ 9200 w 10000"/>
                <a:gd name="connsiteY14" fmla="*/ 5196 h 10061"/>
                <a:gd name="connsiteX15" fmla="*/ 10000 w 10000"/>
                <a:gd name="connsiteY15" fmla="*/ 6108 h 10061"/>
                <a:gd name="connsiteX16" fmla="*/ 9800 w 10000"/>
                <a:gd name="connsiteY16" fmla="*/ 7021 h 10061"/>
                <a:gd name="connsiteX17" fmla="*/ 9400 w 10000"/>
                <a:gd name="connsiteY17" fmla="*/ 6717 h 10061"/>
                <a:gd name="connsiteX18" fmla="*/ 8200 w 10000"/>
                <a:gd name="connsiteY18" fmla="*/ 7021 h 10061"/>
                <a:gd name="connsiteX19" fmla="*/ 6600 w 10000"/>
                <a:gd name="connsiteY19" fmla="*/ 7325 h 10061"/>
                <a:gd name="connsiteX20" fmla="*/ 6200 w 10000"/>
                <a:gd name="connsiteY20" fmla="*/ 8237 h 10061"/>
                <a:gd name="connsiteX21" fmla="*/ 4800 w 10000"/>
                <a:gd name="connsiteY21" fmla="*/ 7933 h 10061"/>
                <a:gd name="connsiteX22" fmla="*/ 3800 w 10000"/>
                <a:gd name="connsiteY22" fmla="*/ 7021 h 10061"/>
                <a:gd name="connsiteX23" fmla="*/ 3200 w 10000"/>
                <a:gd name="connsiteY23" fmla="*/ 8237 h 10061"/>
                <a:gd name="connsiteX24" fmla="*/ 3200 w 10000"/>
                <a:gd name="connsiteY24" fmla="*/ 8845 h 10061"/>
                <a:gd name="connsiteX25" fmla="*/ 1800 w 10000"/>
                <a:gd name="connsiteY25" fmla="*/ 8845 h 10061"/>
                <a:gd name="connsiteX26" fmla="*/ 1600 w 10000"/>
                <a:gd name="connsiteY26" fmla="*/ 9757 h 10061"/>
                <a:gd name="connsiteX27" fmla="*/ 1200 w 10000"/>
                <a:gd name="connsiteY27" fmla="*/ 10061 h 10061"/>
                <a:gd name="connsiteX28" fmla="*/ 1200 w 10000"/>
                <a:gd name="connsiteY28" fmla="*/ 9453 h 1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000" h="10061">
                  <a:moveTo>
                    <a:pt x="1200" y="9453"/>
                  </a:moveTo>
                  <a:cubicBezTo>
                    <a:pt x="1000" y="9149"/>
                    <a:pt x="200" y="7629"/>
                    <a:pt x="0" y="7021"/>
                  </a:cubicBezTo>
                  <a:cubicBezTo>
                    <a:pt x="0" y="6717"/>
                    <a:pt x="200" y="5500"/>
                    <a:pt x="400" y="4893"/>
                  </a:cubicBezTo>
                  <a:cubicBezTo>
                    <a:pt x="400" y="4589"/>
                    <a:pt x="433" y="4466"/>
                    <a:pt x="600" y="4285"/>
                  </a:cubicBezTo>
                  <a:cubicBezTo>
                    <a:pt x="767" y="4104"/>
                    <a:pt x="1133" y="3967"/>
                    <a:pt x="1400" y="3808"/>
                  </a:cubicBezTo>
                  <a:cubicBezTo>
                    <a:pt x="1600" y="3504"/>
                    <a:pt x="2564" y="3319"/>
                    <a:pt x="2964" y="3014"/>
                  </a:cubicBezTo>
                  <a:cubicBezTo>
                    <a:pt x="3164" y="3014"/>
                    <a:pt x="3428" y="2186"/>
                    <a:pt x="3721" y="1983"/>
                  </a:cubicBezTo>
                  <a:cubicBezTo>
                    <a:pt x="4014" y="1780"/>
                    <a:pt x="4408" y="2073"/>
                    <a:pt x="4721" y="1798"/>
                  </a:cubicBezTo>
                  <a:cubicBezTo>
                    <a:pt x="5034" y="1523"/>
                    <a:pt x="5320" y="576"/>
                    <a:pt x="5600" y="332"/>
                  </a:cubicBezTo>
                  <a:cubicBezTo>
                    <a:pt x="5880" y="88"/>
                    <a:pt x="6200" y="-276"/>
                    <a:pt x="6400" y="332"/>
                  </a:cubicBezTo>
                  <a:cubicBezTo>
                    <a:pt x="6600" y="332"/>
                    <a:pt x="7000" y="1245"/>
                    <a:pt x="7000" y="1548"/>
                  </a:cubicBezTo>
                  <a:lnTo>
                    <a:pt x="7000" y="2764"/>
                  </a:lnTo>
                  <a:cubicBezTo>
                    <a:pt x="7000" y="2764"/>
                    <a:pt x="7800" y="3068"/>
                    <a:pt x="7800" y="3372"/>
                  </a:cubicBezTo>
                  <a:cubicBezTo>
                    <a:pt x="8000" y="3677"/>
                    <a:pt x="8200" y="4285"/>
                    <a:pt x="8400" y="4285"/>
                  </a:cubicBezTo>
                  <a:cubicBezTo>
                    <a:pt x="8600" y="4589"/>
                    <a:pt x="9200" y="5196"/>
                    <a:pt x="9200" y="5196"/>
                  </a:cubicBezTo>
                  <a:cubicBezTo>
                    <a:pt x="9400" y="5500"/>
                    <a:pt x="10000" y="6108"/>
                    <a:pt x="10000" y="6108"/>
                  </a:cubicBezTo>
                  <a:cubicBezTo>
                    <a:pt x="9933" y="6412"/>
                    <a:pt x="9867" y="6717"/>
                    <a:pt x="9800" y="7021"/>
                  </a:cubicBezTo>
                  <a:cubicBezTo>
                    <a:pt x="9800" y="7021"/>
                    <a:pt x="9600" y="6717"/>
                    <a:pt x="9400" y="6717"/>
                  </a:cubicBezTo>
                  <a:cubicBezTo>
                    <a:pt x="9200" y="6717"/>
                    <a:pt x="8200" y="7021"/>
                    <a:pt x="8200" y="7021"/>
                  </a:cubicBezTo>
                  <a:cubicBezTo>
                    <a:pt x="7800" y="7325"/>
                    <a:pt x="6800" y="7325"/>
                    <a:pt x="6600" y="7325"/>
                  </a:cubicBezTo>
                  <a:cubicBezTo>
                    <a:pt x="6400" y="7325"/>
                    <a:pt x="6400" y="7933"/>
                    <a:pt x="6200" y="8237"/>
                  </a:cubicBezTo>
                  <a:cubicBezTo>
                    <a:pt x="5800" y="8237"/>
                    <a:pt x="5000" y="7933"/>
                    <a:pt x="4800" y="7933"/>
                  </a:cubicBezTo>
                  <a:cubicBezTo>
                    <a:pt x="4400" y="7933"/>
                    <a:pt x="4000" y="7021"/>
                    <a:pt x="3800" y="7021"/>
                  </a:cubicBezTo>
                  <a:cubicBezTo>
                    <a:pt x="3400" y="7021"/>
                    <a:pt x="3200" y="7933"/>
                    <a:pt x="3200" y="8237"/>
                  </a:cubicBezTo>
                  <a:lnTo>
                    <a:pt x="3200" y="8845"/>
                  </a:lnTo>
                  <a:lnTo>
                    <a:pt x="1800" y="8845"/>
                  </a:lnTo>
                  <a:cubicBezTo>
                    <a:pt x="1733" y="9149"/>
                    <a:pt x="1667" y="9453"/>
                    <a:pt x="1600" y="9757"/>
                  </a:cubicBezTo>
                  <a:lnTo>
                    <a:pt x="1200" y="10061"/>
                  </a:lnTo>
                  <a:lnTo>
                    <a:pt x="1200" y="9453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3" name="Freeform 6409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4659994" y="2529320"/>
              <a:ext cx="237489" cy="197572"/>
            </a:xfrm>
            <a:custGeom>
              <a:avLst/>
              <a:gdLst>
                <a:gd name="T0" fmla="*/ 8 w 39"/>
                <a:gd name="T1" fmla="*/ 3 h 30"/>
                <a:gd name="T2" fmla="*/ 16 w 39"/>
                <a:gd name="T3" fmla="*/ 0 h 30"/>
                <a:gd name="T4" fmla="*/ 18 w 39"/>
                <a:gd name="T5" fmla="*/ 3 h 30"/>
                <a:gd name="T6" fmla="*/ 22 w 39"/>
                <a:gd name="T7" fmla="*/ 1 h 30"/>
                <a:gd name="T8" fmla="*/ 22 w 39"/>
                <a:gd name="T9" fmla="*/ 3 h 30"/>
                <a:gd name="T10" fmla="*/ 34 w 39"/>
                <a:gd name="T11" fmla="*/ 3 h 30"/>
                <a:gd name="T12" fmla="*/ 37 w 39"/>
                <a:gd name="T13" fmla="*/ 4 h 30"/>
                <a:gd name="T14" fmla="*/ 37 w 39"/>
                <a:gd name="T15" fmla="*/ 5 h 30"/>
                <a:gd name="T16" fmla="*/ 38 w 39"/>
                <a:gd name="T17" fmla="*/ 10 h 30"/>
                <a:gd name="T18" fmla="*/ 35 w 39"/>
                <a:gd name="T19" fmla="*/ 14 h 30"/>
                <a:gd name="T20" fmla="*/ 38 w 39"/>
                <a:gd name="T21" fmla="*/ 15 h 30"/>
                <a:gd name="T22" fmla="*/ 37 w 39"/>
                <a:gd name="T23" fmla="*/ 18 h 30"/>
                <a:gd name="T24" fmla="*/ 37 w 39"/>
                <a:gd name="T25" fmla="*/ 18 h 30"/>
                <a:gd name="T26" fmla="*/ 39 w 39"/>
                <a:gd name="T27" fmla="*/ 22 h 30"/>
                <a:gd name="T28" fmla="*/ 37 w 39"/>
                <a:gd name="T29" fmla="*/ 24 h 30"/>
                <a:gd name="T30" fmla="*/ 34 w 39"/>
                <a:gd name="T31" fmla="*/ 27 h 30"/>
                <a:gd name="T32" fmla="*/ 35 w 39"/>
                <a:gd name="T33" fmla="*/ 30 h 30"/>
                <a:gd name="T34" fmla="*/ 33 w 39"/>
                <a:gd name="T35" fmla="*/ 30 h 30"/>
                <a:gd name="T36" fmla="*/ 31 w 39"/>
                <a:gd name="T37" fmla="*/ 28 h 30"/>
                <a:gd name="T38" fmla="*/ 27 w 39"/>
                <a:gd name="T39" fmla="*/ 28 h 30"/>
                <a:gd name="T40" fmla="*/ 23 w 39"/>
                <a:gd name="T41" fmla="*/ 29 h 30"/>
                <a:gd name="T42" fmla="*/ 21 w 39"/>
                <a:gd name="T43" fmla="*/ 28 h 30"/>
                <a:gd name="T44" fmla="*/ 18 w 39"/>
                <a:gd name="T45" fmla="*/ 27 h 30"/>
                <a:gd name="T46" fmla="*/ 17 w 39"/>
                <a:gd name="T47" fmla="*/ 25 h 30"/>
                <a:gd name="T48" fmla="*/ 14 w 39"/>
                <a:gd name="T49" fmla="*/ 25 h 30"/>
                <a:gd name="T50" fmla="*/ 11 w 39"/>
                <a:gd name="T51" fmla="*/ 24 h 30"/>
                <a:gd name="T52" fmla="*/ 10 w 39"/>
                <a:gd name="T53" fmla="*/ 25 h 30"/>
                <a:gd name="T54" fmla="*/ 8 w 39"/>
                <a:gd name="T55" fmla="*/ 22 h 30"/>
                <a:gd name="T56" fmla="*/ 5 w 39"/>
                <a:gd name="T57" fmla="*/ 21 h 30"/>
                <a:gd name="T58" fmla="*/ 4 w 39"/>
                <a:gd name="T59" fmla="*/ 20 h 30"/>
                <a:gd name="T60" fmla="*/ 4 w 39"/>
                <a:gd name="T61" fmla="*/ 19 h 30"/>
                <a:gd name="T62" fmla="*/ 2 w 39"/>
                <a:gd name="T63" fmla="*/ 15 h 30"/>
                <a:gd name="T64" fmla="*/ 2 w 39"/>
                <a:gd name="T65" fmla="*/ 12 h 30"/>
                <a:gd name="T66" fmla="*/ 0 w 39"/>
                <a:gd name="T67" fmla="*/ 10 h 30"/>
                <a:gd name="T68" fmla="*/ 1 w 39"/>
                <a:gd name="T69" fmla="*/ 8 h 30"/>
                <a:gd name="T70" fmla="*/ 1 w 39"/>
                <a:gd name="T71" fmla="*/ 5 h 30"/>
                <a:gd name="T72" fmla="*/ 8 w 39"/>
                <a:gd name="T73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" h="30">
                  <a:moveTo>
                    <a:pt x="8" y="3"/>
                  </a:moveTo>
                  <a:cubicBezTo>
                    <a:pt x="9" y="3"/>
                    <a:pt x="15" y="0"/>
                    <a:pt x="16" y="0"/>
                  </a:cubicBezTo>
                  <a:cubicBezTo>
                    <a:pt x="17" y="0"/>
                    <a:pt x="17" y="3"/>
                    <a:pt x="18" y="3"/>
                  </a:cubicBezTo>
                  <a:cubicBezTo>
                    <a:pt x="18" y="3"/>
                    <a:pt x="20" y="2"/>
                    <a:pt x="22" y="1"/>
                  </a:cubicBezTo>
                  <a:cubicBezTo>
                    <a:pt x="22" y="1"/>
                    <a:pt x="22" y="3"/>
                    <a:pt x="22" y="3"/>
                  </a:cubicBezTo>
                  <a:cubicBezTo>
                    <a:pt x="23" y="3"/>
                    <a:pt x="34" y="3"/>
                    <a:pt x="34" y="3"/>
                  </a:cubicBezTo>
                  <a:cubicBezTo>
                    <a:pt x="35" y="3"/>
                    <a:pt x="37" y="3"/>
                    <a:pt x="37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7"/>
                    <a:pt x="38" y="9"/>
                    <a:pt x="38" y="10"/>
                  </a:cubicBezTo>
                  <a:cubicBezTo>
                    <a:pt x="38" y="11"/>
                    <a:pt x="35" y="13"/>
                    <a:pt x="35" y="14"/>
                  </a:cubicBezTo>
                  <a:cubicBezTo>
                    <a:pt x="35" y="14"/>
                    <a:pt x="37" y="15"/>
                    <a:pt x="38" y="15"/>
                  </a:cubicBezTo>
                  <a:cubicBezTo>
                    <a:pt x="38" y="16"/>
                    <a:pt x="38" y="17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20"/>
                    <a:pt x="39" y="21"/>
                    <a:pt x="39" y="22"/>
                  </a:cubicBezTo>
                  <a:cubicBezTo>
                    <a:pt x="39" y="24"/>
                    <a:pt x="38" y="23"/>
                    <a:pt x="37" y="24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5" y="29"/>
                    <a:pt x="35" y="30"/>
                  </a:cubicBezTo>
                  <a:cubicBezTo>
                    <a:pt x="34" y="30"/>
                    <a:pt x="34" y="30"/>
                    <a:pt x="33" y="30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28" y="28"/>
                    <a:pt x="27" y="28"/>
                  </a:cubicBezTo>
                  <a:cubicBezTo>
                    <a:pt x="26" y="28"/>
                    <a:pt x="24" y="29"/>
                    <a:pt x="23" y="29"/>
                  </a:cubicBezTo>
                  <a:cubicBezTo>
                    <a:pt x="22" y="29"/>
                    <a:pt x="21" y="28"/>
                    <a:pt x="21" y="28"/>
                  </a:cubicBezTo>
                  <a:cubicBezTo>
                    <a:pt x="20" y="27"/>
                    <a:pt x="18" y="27"/>
                    <a:pt x="18" y="27"/>
                  </a:cubicBezTo>
                  <a:cubicBezTo>
                    <a:pt x="18" y="27"/>
                    <a:pt x="18" y="25"/>
                    <a:pt x="17" y="25"/>
                  </a:cubicBezTo>
                  <a:cubicBezTo>
                    <a:pt x="17" y="25"/>
                    <a:pt x="15" y="25"/>
                    <a:pt x="14" y="25"/>
                  </a:cubicBezTo>
                  <a:cubicBezTo>
                    <a:pt x="13" y="24"/>
                    <a:pt x="12" y="24"/>
                    <a:pt x="11" y="24"/>
                  </a:cubicBezTo>
                  <a:cubicBezTo>
                    <a:pt x="11" y="24"/>
                    <a:pt x="10" y="25"/>
                    <a:pt x="10" y="25"/>
                  </a:cubicBezTo>
                  <a:cubicBezTo>
                    <a:pt x="9" y="24"/>
                    <a:pt x="9" y="23"/>
                    <a:pt x="8" y="22"/>
                  </a:cubicBezTo>
                  <a:cubicBezTo>
                    <a:pt x="8" y="22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8"/>
                    <a:pt x="2" y="16"/>
                    <a:pt x="2" y="15"/>
                  </a:cubicBezTo>
                  <a:cubicBezTo>
                    <a:pt x="2" y="14"/>
                    <a:pt x="2" y="13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10"/>
                    <a:pt x="1" y="8"/>
                    <a:pt x="1" y="8"/>
                  </a:cubicBezTo>
                  <a:cubicBezTo>
                    <a:pt x="1" y="7"/>
                    <a:pt x="1" y="5"/>
                    <a:pt x="1" y="5"/>
                  </a:cubicBezTo>
                  <a:cubicBezTo>
                    <a:pt x="2" y="5"/>
                    <a:pt x="8" y="3"/>
                    <a:pt x="8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4" name="Freeform 6410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697492" y="2847444"/>
              <a:ext cx="96870" cy="87066"/>
            </a:xfrm>
            <a:custGeom>
              <a:avLst/>
              <a:gdLst>
                <a:gd name="T0" fmla="*/ 1 w 16"/>
                <a:gd name="T1" fmla="*/ 2 h 13"/>
                <a:gd name="T2" fmla="*/ 1 w 16"/>
                <a:gd name="T3" fmla="*/ 0 h 13"/>
                <a:gd name="T4" fmla="*/ 4 w 16"/>
                <a:gd name="T5" fmla="*/ 0 h 13"/>
                <a:gd name="T6" fmla="*/ 10 w 16"/>
                <a:gd name="T7" fmla="*/ 1 h 13"/>
                <a:gd name="T8" fmla="*/ 14 w 16"/>
                <a:gd name="T9" fmla="*/ 2 h 13"/>
                <a:gd name="T10" fmla="*/ 14 w 16"/>
                <a:gd name="T11" fmla="*/ 4 h 13"/>
                <a:gd name="T12" fmla="*/ 15 w 16"/>
                <a:gd name="T13" fmla="*/ 7 h 13"/>
                <a:gd name="T14" fmla="*/ 14 w 16"/>
                <a:gd name="T15" fmla="*/ 8 h 13"/>
                <a:gd name="T16" fmla="*/ 12 w 16"/>
                <a:gd name="T17" fmla="*/ 10 h 13"/>
                <a:gd name="T18" fmla="*/ 11 w 16"/>
                <a:gd name="T19" fmla="*/ 13 h 13"/>
                <a:gd name="T20" fmla="*/ 7 w 16"/>
                <a:gd name="T21" fmla="*/ 11 h 13"/>
                <a:gd name="T22" fmla="*/ 8 w 16"/>
                <a:gd name="T23" fmla="*/ 9 h 13"/>
                <a:gd name="T24" fmla="*/ 5 w 16"/>
                <a:gd name="T25" fmla="*/ 7 h 13"/>
                <a:gd name="T26" fmla="*/ 1 w 16"/>
                <a:gd name="T2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3">
                  <a:moveTo>
                    <a:pt x="1" y="2"/>
                  </a:move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5" y="0"/>
                    <a:pt x="10" y="1"/>
                    <a:pt x="10" y="1"/>
                  </a:cubicBezTo>
                  <a:cubicBezTo>
                    <a:pt x="12" y="1"/>
                    <a:pt x="14" y="2"/>
                    <a:pt x="14" y="2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5"/>
                    <a:pt x="16" y="6"/>
                    <a:pt x="15" y="7"/>
                  </a:cubicBezTo>
                  <a:cubicBezTo>
                    <a:pt x="15" y="7"/>
                    <a:pt x="15" y="7"/>
                    <a:pt x="14" y="8"/>
                  </a:cubicBezTo>
                  <a:cubicBezTo>
                    <a:pt x="14" y="9"/>
                    <a:pt x="12" y="10"/>
                    <a:pt x="12" y="10"/>
                  </a:cubicBezTo>
                  <a:cubicBezTo>
                    <a:pt x="12" y="10"/>
                    <a:pt x="12" y="12"/>
                    <a:pt x="11" y="13"/>
                  </a:cubicBezTo>
                  <a:cubicBezTo>
                    <a:pt x="10" y="12"/>
                    <a:pt x="9" y="11"/>
                    <a:pt x="7" y="1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6" y="7"/>
                    <a:pt x="5" y="7"/>
                  </a:cubicBezTo>
                  <a:cubicBezTo>
                    <a:pt x="4" y="6"/>
                    <a:pt x="1" y="2"/>
                    <a:pt x="1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5" name="Freeform 6411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4613121" y="2663267"/>
              <a:ext cx="162492" cy="77020"/>
            </a:xfrm>
            <a:custGeom>
              <a:avLst/>
              <a:gdLst>
                <a:gd name="T0" fmla="*/ 0 w 27"/>
                <a:gd name="T1" fmla="*/ 4 h 12"/>
                <a:gd name="T2" fmla="*/ 10 w 27"/>
                <a:gd name="T3" fmla="*/ 1 h 12"/>
                <a:gd name="T4" fmla="*/ 12 w 27"/>
                <a:gd name="T5" fmla="*/ 0 h 12"/>
                <a:gd name="T6" fmla="*/ 13 w 27"/>
                <a:gd name="T7" fmla="*/ 1 h 12"/>
                <a:gd name="T8" fmla="*/ 16 w 27"/>
                <a:gd name="T9" fmla="*/ 2 h 12"/>
                <a:gd name="T10" fmla="*/ 18 w 27"/>
                <a:gd name="T11" fmla="*/ 5 h 12"/>
                <a:gd name="T12" fmla="*/ 19 w 27"/>
                <a:gd name="T13" fmla="*/ 4 h 12"/>
                <a:gd name="T14" fmla="*/ 23 w 27"/>
                <a:gd name="T15" fmla="*/ 5 h 12"/>
                <a:gd name="T16" fmla="*/ 26 w 27"/>
                <a:gd name="T17" fmla="*/ 5 h 12"/>
                <a:gd name="T18" fmla="*/ 27 w 27"/>
                <a:gd name="T19" fmla="*/ 7 h 12"/>
                <a:gd name="T20" fmla="*/ 25 w 27"/>
                <a:gd name="T21" fmla="*/ 8 h 12"/>
                <a:gd name="T22" fmla="*/ 23 w 27"/>
                <a:gd name="T23" fmla="*/ 11 h 12"/>
                <a:gd name="T24" fmla="*/ 19 w 27"/>
                <a:gd name="T25" fmla="*/ 11 h 12"/>
                <a:gd name="T26" fmla="*/ 19 w 27"/>
                <a:gd name="T27" fmla="*/ 12 h 12"/>
                <a:gd name="T28" fmla="*/ 15 w 27"/>
                <a:gd name="T29" fmla="*/ 11 h 12"/>
                <a:gd name="T30" fmla="*/ 12 w 27"/>
                <a:gd name="T31" fmla="*/ 10 h 12"/>
                <a:gd name="T32" fmla="*/ 10 w 27"/>
                <a:gd name="T33" fmla="*/ 12 h 12"/>
                <a:gd name="T34" fmla="*/ 7 w 27"/>
                <a:gd name="T35" fmla="*/ 12 h 12"/>
                <a:gd name="T36" fmla="*/ 0 w 27"/>
                <a:gd name="T3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" h="12">
                  <a:moveTo>
                    <a:pt x="0" y="4"/>
                  </a:moveTo>
                  <a:cubicBezTo>
                    <a:pt x="0" y="4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6" y="2"/>
                    <a:pt x="16" y="2"/>
                  </a:cubicBezTo>
                  <a:cubicBezTo>
                    <a:pt x="17" y="3"/>
                    <a:pt x="17" y="4"/>
                    <a:pt x="18" y="5"/>
                  </a:cubicBezTo>
                  <a:cubicBezTo>
                    <a:pt x="18" y="5"/>
                    <a:pt x="19" y="4"/>
                    <a:pt x="19" y="4"/>
                  </a:cubicBezTo>
                  <a:cubicBezTo>
                    <a:pt x="20" y="4"/>
                    <a:pt x="22" y="4"/>
                    <a:pt x="23" y="5"/>
                  </a:cubicBezTo>
                  <a:cubicBezTo>
                    <a:pt x="23" y="5"/>
                    <a:pt x="25" y="5"/>
                    <a:pt x="26" y="5"/>
                  </a:cubicBezTo>
                  <a:cubicBezTo>
                    <a:pt x="26" y="5"/>
                    <a:pt x="27" y="7"/>
                    <a:pt x="27" y="7"/>
                  </a:cubicBezTo>
                  <a:cubicBezTo>
                    <a:pt x="27" y="8"/>
                    <a:pt x="26" y="8"/>
                    <a:pt x="25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1"/>
                    <a:pt x="20" y="11"/>
                    <a:pt x="19" y="11"/>
                  </a:cubicBezTo>
                  <a:cubicBezTo>
                    <a:pt x="19" y="11"/>
                    <a:pt x="19" y="11"/>
                    <a:pt x="19" y="12"/>
                  </a:cubicBezTo>
                  <a:cubicBezTo>
                    <a:pt x="19" y="12"/>
                    <a:pt x="16" y="11"/>
                    <a:pt x="15" y="11"/>
                  </a:cubicBezTo>
                  <a:cubicBezTo>
                    <a:pt x="15" y="11"/>
                    <a:pt x="13" y="10"/>
                    <a:pt x="12" y="10"/>
                  </a:cubicBezTo>
                  <a:cubicBezTo>
                    <a:pt x="12" y="10"/>
                    <a:pt x="11" y="12"/>
                    <a:pt x="10" y="12"/>
                  </a:cubicBezTo>
                  <a:cubicBezTo>
                    <a:pt x="9" y="12"/>
                    <a:pt x="7" y="12"/>
                    <a:pt x="7" y="12"/>
                  </a:cubicBezTo>
                  <a:cubicBezTo>
                    <a:pt x="8" y="11"/>
                    <a:pt x="0" y="5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6" name="Freeform 6412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4753740" y="2415464"/>
              <a:ext cx="34373" cy="43533"/>
            </a:xfrm>
            <a:custGeom>
              <a:avLst/>
              <a:gdLst>
                <a:gd name="T0" fmla="*/ 1 w 6"/>
                <a:gd name="T1" fmla="*/ 3 h 7"/>
                <a:gd name="T2" fmla="*/ 6 w 6"/>
                <a:gd name="T3" fmla="*/ 1 h 7"/>
                <a:gd name="T4" fmla="*/ 5 w 6"/>
                <a:gd name="T5" fmla="*/ 3 h 7"/>
                <a:gd name="T6" fmla="*/ 4 w 6"/>
                <a:gd name="T7" fmla="*/ 6 h 7"/>
                <a:gd name="T8" fmla="*/ 1 w 6"/>
                <a:gd name="T9" fmla="*/ 7 h 7"/>
                <a:gd name="T10" fmla="*/ 1 w 6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1" y="3"/>
                  </a:moveTo>
                  <a:cubicBezTo>
                    <a:pt x="1" y="2"/>
                    <a:pt x="5" y="0"/>
                    <a:pt x="6" y="1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5" y="4"/>
                    <a:pt x="4" y="6"/>
                    <a:pt x="4" y="6"/>
                  </a:cubicBezTo>
                  <a:cubicBezTo>
                    <a:pt x="3" y="6"/>
                    <a:pt x="1" y="7"/>
                    <a:pt x="1" y="7"/>
                  </a:cubicBezTo>
                  <a:cubicBezTo>
                    <a:pt x="0" y="6"/>
                    <a:pt x="1" y="4"/>
                    <a:pt x="1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7" name="Freeform 6413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4594372" y="1973439"/>
              <a:ext cx="296861" cy="539137"/>
            </a:xfrm>
            <a:custGeom>
              <a:avLst/>
              <a:gdLst>
                <a:gd name="T0" fmla="*/ 0 w 49"/>
                <a:gd name="T1" fmla="*/ 64 h 83"/>
                <a:gd name="T2" fmla="*/ 2 w 49"/>
                <a:gd name="T3" fmla="*/ 63 h 83"/>
                <a:gd name="T4" fmla="*/ 3 w 49"/>
                <a:gd name="T5" fmla="*/ 58 h 83"/>
                <a:gd name="T6" fmla="*/ 5 w 49"/>
                <a:gd name="T7" fmla="*/ 56 h 83"/>
                <a:gd name="T8" fmla="*/ 4 w 49"/>
                <a:gd name="T9" fmla="*/ 52 h 83"/>
                <a:gd name="T10" fmla="*/ 6 w 49"/>
                <a:gd name="T11" fmla="*/ 50 h 83"/>
                <a:gd name="T12" fmla="*/ 4 w 49"/>
                <a:gd name="T13" fmla="*/ 46 h 83"/>
                <a:gd name="T14" fmla="*/ 4 w 49"/>
                <a:gd name="T15" fmla="*/ 37 h 83"/>
                <a:gd name="T16" fmla="*/ 7 w 49"/>
                <a:gd name="T17" fmla="*/ 34 h 83"/>
                <a:gd name="T18" fmla="*/ 10 w 49"/>
                <a:gd name="T19" fmla="*/ 34 h 83"/>
                <a:gd name="T20" fmla="*/ 11 w 49"/>
                <a:gd name="T21" fmla="*/ 31 h 83"/>
                <a:gd name="T22" fmla="*/ 9 w 49"/>
                <a:gd name="T23" fmla="*/ 29 h 83"/>
                <a:gd name="T24" fmla="*/ 13 w 49"/>
                <a:gd name="T25" fmla="*/ 25 h 83"/>
                <a:gd name="T26" fmla="*/ 13 w 49"/>
                <a:gd name="T27" fmla="*/ 21 h 83"/>
                <a:gd name="T28" fmla="*/ 17 w 49"/>
                <a:gd name="T29" fmla="*/ 19 h 83"/>
                <a:gd name="T30" fmla="*/ 20 w 49"/>
                <a:gd name="T31" fmla="*/ 14 h 83"/>
                <a:gd name="T32" fmla="*/ 20 w 49"/>
                <a:gd name="T33" fmla="*/ 12 h 83"/>
                <a:gd name="T34" fmla="*/ 23 w 49"/>
                <a:gd name="T35" fmla="*/ 8 h 83"/>
                <a:gd name="T36" fmla="*/ 26 w 49"/>
                <a:gd name="T37" fmla="*/ 9 h 83"/>
                <a:gd name="T38" fmla="*/ 27 w 49"/>
                <a:gd name="T39" fmla="*/ 5 h 83"/>
                <a:gd name="T40" fmla="*/ 34 w 49"/>
                <a:gd name="T41" fmla="*/ 5 h 83"/>
                <a:gd name="T42" fmla="*/ 35 w 49"/>
                <a:gd name="T43" fmla="*/ 1 h 83"/>
                <a:gd name="T44" fmla="*/ 36 w 49"/>
                <a:gd name="T45" fmla="*/ 0 h 83"/>
                <a:gd name="T46" fmla="*/ 40 w 49"/>
                <a:gd name="T47" fmla="*/ 5 h 83"/>
                <a:gd name="T48" fmla="*/ 47 w 49"/>
                <a:gd name="T49" fmla="*/ 8 h 83"/>
                <a:gd name="T50" fmla="*/ 48 w 49"/>
                <a:gd name="T51" fmla="*/ 13 h 83"/>
                <a:gd name="T52" fmla="*/ 49 w 49"/>
                <a:gd name="T53" fmla="*/ 18 h 83"/>
                <a:gd name="T54" fmla="*/ 49 w 49"/>
                <a:gd name="T55" fmla="*/ 22 h 83"/>
                <a:gd name="T56" fmla="*/ 43 w 49"/>
                <a:gd name="T57" fmla="*/ 24 h 83"/>
                <a:gd name="T58" fmla="*/ 40 w 49"/>
                <a:gd name="T59" fmla="*/ 26 h 83"/>
                <a:gd name="T60" fmla="*/ 38 w 49"/>
                <a:gd name="T61" fmla="*/ 28 h 83"/>
                <a:gd name="T62" fmla="*/ 40 w 49"/>
                <a:gd name="T63" fmla="*/ 31 h 83"/>
                <a:gd name="T64" fmla="*/ 36 w 49"/>
                <a:gd name="T65" fmla="*/ 34 h 83"/>
                <a:gd name="T66" fmla="*/ 28 w 49"/>
                <a:gd name="T67" fmla="*/ 39 h 83"/>
                <a:gd name="T68" fmla="*/ 24 w 49"/>
                <a:gd name="T69" fmla="*/ 46 h 83"/>
                <a:gd name="T70" fmla="*/ 23 w 49"/>
                <a:gd name="T71" fmla="*/ 53 h 83"/>
                <a:gd name="T72" fmla="*/ 27 w 49"/>
                <a:gd name="T73" fmla="*/ 55 h 83"/>
                <a:gd name="T74" fmla="*/ 31 w 49"/>
                <a:gd name="T75" fmla="*/ 58 h 83"/>
                <a:gd name="T76" fmla="*/ 29 w 49"/>
                <a:gd name="T77" fmla="*/ 61 h 83"/>
                <a:gd name="T78" fmla="*/ 26 w 49"/>
                <a:gd name="T79" fmla="*/ 64 h 83"/>
                <a:gd name="T80" fmla="*/ 22 w 49"/>
                <a:gd name="T81" fmla="*/ 65 h 83"/>
                <a:gd name="T82" fmla="*/ 21 w 49"/>
                <a:gd name="T83" fmla="*/ 70 h 83"/>
                <a:gd name="T84" fmla="*/ 18 w 49"/>
                <a:gd name="T85" fmla="*/ 78 h 83"/>
                <a:gd name="T86" fmla="*/ 17 w 49"/>
                <a:gd name="T87" fmla="*/ 79 h 83"/>
                <a:gd name="T88" fmla="*/ 13 w 49"/>
                <a:gd name="T89" fmla="*/ 79 h 83"/>
                <a:gd name="T90" fmla="*/ 12 w 49"/>
                <a:gd name="T91" fmla="*/ 82 h 83"/>
                <a:gd name="T92" fmla="*/ 8 w 49"/>
                <a:gd name="T93" fmla="*/ 82 h 83"/>
                <a:gd name="T94" fmla="*/ 6 w 49"/>
                <a:gd name="T95" fmla="*/ 78 h 83"/>
                <a:gd name="T96" fmla="*/ 7 w 49"/>
                <a:gd name="T97" fmla="*/ 76 h 83"/>
                <a:gd name="T98" fmla="*/ 4 w 49"/>
                <a:gd name="T99" fmla="*/ 72 h 83"/>
                <a:gd name="T100" fmla="*/ 0 w 49"/>
                <a:gd name="T101" fmla="*/ 65 h 83"/>
                <a:gd name="T102" fmla="*/ 0 w 49"/>
                <a:gd name="T103" fmla="*/ 64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9" h="83">
                  <a:moveTo>
                    <a:pt x="0" y="64"/>
                  </a:moveTo>
                  <a:cubicBezTo>
                    <a:pt x="0" y="64"/>
                    <a:pt x="1" y="64"/>
                    <a:pt x="2" y="63"/>
                  </a:cubicBezTo>
                  <a:cubicBezTo>
                    <a:pt x="4" y="61"/>
                    <a:pt x="2" y="59"/>
                    <a:pt x="3" y="58"/>
                  </a:cubicBezTo>
                  <a:cubicBezTo>
                    <a:pt x="4" y="58"/>
                    <a:pt x="5" y="57"/>
                    <a:pt x="5" y="56"/>
                  </a:cubicBezTo>
                  <a:cubicBezTo>
                    <a:pt x="5" y="55"/>
                    <a:pt x="4" y="53"/>
                    <a:pt x="4" y="52"/>
                  </a:cubicBezTo>
                  <a:cubicBezTo>
                    <a:pt x="4" y="52"/>
                    <a:pt x="7" y="51"/>
                    <a:pt x="6" y="50"/>
                  </a:cubicBezTo>
                  <a:cubicBezTo>
                    <a:pt x="6" y="49"/>
                    <a:pt x="3" y="47"/>
                    <a:pt x="4" y="46"/>
                  </a:cubicBezTo>
                  <a:cubicBezTo>
                    <a:pt x="4" y="44"/>
                    <a:pt x="3" y="38"/>
                    <a:pt x="4" y="37"/>
                  </a:cubicBezTo>
                  <a:cubicBezTo>
                    <a:pt x="5" y="36"/>
                    <a:pt x="6" y="34"/>
                    <a:pt x="7" y="34"/>
                  </a:cubicBezTo>
                  <a:cubicBezTo>
                    <a:pt x="7" y="34"/>
                    <a:pt x="10" y="34"/>
                    <a:pt x="10" y="34"/>
                  </a:cubicBezTo>
                  <a:cubicBezTo>
                    <a:pt x="11" y="34"/>
                    <a:pt x="11" y="32"/>
                    <a:pt x="11" y="31"/>
                  </a:cubicBezTo>
                  <a:cubicBezTo>
                    <a:pt x="11" y="30"/>
                    <a:pt x="9" y="29"/>
                    <a:pt x="9" y="29"/>
                  </a:cubicBezTo>
                  <a:cubicBezTo>
                    <a:pt x="10" y="29"/>
                    <a:pt x="12" y="26"/>
                    <a:pt x="13" y="25"/>
                  </a:cubicBezTo>
                  <a:cubicBezTo>
                    <a:pt x="13" y="24"/>
                    <a:pt x="13" y="21"/>
                    <a:pt x="13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2"/>
                    <a:pt x="20" y="12"/>
                  </a:cubicBezTo>
                  <a:cubicBezTo>
                    <a:pt x="20" y="12"/>
                    <a:pt x="23" y="8"/>
                    <a:pt x="23" y="8"/>
                  </a:cubicBezTo>
                  <a:cubicBezTo>
                    <a:pt x="23" y="8"/>
                    <a:pt x="26" y="9"/>
                    <a:pt x="26" y="9"/>
                  </a:cubicBezTo>
                  <a:cubicBezTo>
                    <a:pt x="26" y="8"/>
                    <a:pt x="27" y="5"/>
                    <a:pt x="27" y="5"/>
                  </a:cubicBezTo>
                  <a:cubicBezTo>
                    <a:pt x="28" y="5"/>
                    <a:pt x="33" y="5"/>
                    <a:pt x="34" y="5"/>
                  </a:cubicBezTo>
                  <a:cubicBezTo>
                    <a:pt x="35" y="5"/>
                    <a:pt x="35" y="1"/>
                    <a:pt x="35" y="1"/>
                  </a:cubicBezTo>
                  <a:cubicBezTo>
                    <a:pt x="35" y="1"/>
                    <a:pt x="36" y="1"/>
                    <a:pt x="36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6"/>
                    <a:pt x="45" y="7"/>
                    <a:pt x="47" y="8"/>
                  </a:cubicBezTo>
                  <a:cubicBezTo>
                    <a:pt x="48" y="9"/>
                    <a:pt x="47" y="12"/>
                    <a:pt x="48" y="13"/>
                  </a:cubicBezTo>
                  <a:cubicBezTo>
                    <a:pt x="49" y="14"/>
                    <a:pt x="49" y="17"/>
                    <a:pt x="49" y="18"/>
                  </a:cubicBezTo>
                  <a:cubicBezTo>
                    <a:pt x="49" y="19"/>
                    <a:pt x="49" y="22"/>
                    <a:pt x="49" y="22"/>
                  </a:cubicBezTo>
                  <a:cubicBezTo>
                    <a:pt x="47" y="22"/>
                    <a:pt x="43" y="23"/>
                    <a:pt x="43" y="24"/>
                  </a:cubicBezTo>
                  <a:cubicBezTo>
                    <a:pt x="43" y="24"/>
                    <a:pt x="41" y="25"/>
                    <a:pt x="40" y="26"/>
                  </a:cubicBezTo>
                  <a:cubicBezTo>
                    <a:pt x="40" y="26"/>
                    <a:pt x="38" y="28"/>
                    <a:pt x="38" y="28"/>
                  </a:cubicBezTo>
                  <a:cubicBezTo>
                    <a:pt x="38" y="29"/>
                    <a:pt x="41" y="31"/>
                    <a:pt x="40" y="31"/>
                  </a:cubicBezTo>
                  <a:cubicBezTo>
                    <a:pt x="39" y="31"/>
                    <a:pt x="37" y="34"/>
                    <a:pt x="36" y="34"/>
                  </a:cubicBezTo>
                  <a:cubicBezTo>
                    <a:pt x="35" y="35"/>
                    <a:pt x="29" y="38"/>
                    <a:pt x="28" y="39"/>
                  </a:cubicBezTo>
                  <a:cubicBezTo>
                    <a:pt x="27" y="40"/>
                    <a:pt x="24" y="44"/>
                    <a:pt x="24" y="46"/>
                  </a:cubicBezTo>
                  <a:cubicBezTo>
                    <a:pt x="23" y="47"/>
                    <a:pt x="23" y="52"/>
                    <a:pt x="23" y="53"/>
                  </a:cubicBezTo>
                  <a:cubicBezTo>
                    <a:pt x="24" y="54"/>
                    <a:pt x="25" y="55"/>
                    <a:pt x="27" y="55"/>
                  </a:cubicBezTo>
                  <a:cubicBezTo>
                    <a:pt x="28" y="55"/>
                    <a:pt x="30" y="58"/>
                    <a:pt x="31" y="58"/>
                  </a:cubicBezTo>
                  <a:cubicBezTo>
                    <a:pt x="31" y="59"/>
                    <a:pt x="30" y="61"/>
                    <a:pt x="29" y="61"/>
                  </a:cubicBezTo>
                  <a:cubicBezTo>
                    <a:pt x="28" y="61"/>
                    <a:pt x="27" y="64"/>
                    <a:pt x="26" y="64"/>
                  </a:cubicBezTo>
                  <a:cubicBezTo>
                    <a:pt x="25" y="64"/>
                    <a:pt x="22" y="65"/>
                    <a:pt x="22" y="65"/>
                  </a:cubicBezTo>
                  <a:cubicBezTo>
                    <a:pt x="21" y="66"/>
                    <a:pt x="22" y="69"/>
                    <a:pt x="21" y="70"/>
                  </a:cubicBezTo>
                  <a:cubicBezTo>
                    <a:pt x="21" y="72"/>
                    <a:pt x="19" y="77"/>
                    <a:pt x="18" y="78"/>
                  </a:cubicBezTo>
                  <a:cubicBezTo>
                    <a:pt x="18" y="79"/>
                    <a:pt x="18" y="79"/>
                    <a:pt x="17" y="79"/>
                  </a:cubicBezTo>
                  <a:cubicBezTo>
                    <a:pt x="17" y="80"/>
                    <a:pt x="14" y="79"/>
                    <a:pt x="13" y="79"/>
                  </a:cubicBezTo>
                  <a:cubicBezTo>
                    <a:pt x="11" y="80"/>
                    <a:pt x="12" y="82"/>
                    <a:pt x="12" y="82"/>
                  </a:cubicBezTo>
                  <a:cubicBezTo>
                    <a:pt x="12" y="82"/>
                    <a:pt x="8" y="83"/>
                    <a:pt x="8" y="82"/>
                  </a:cubicBezTo>
                  <a:cubicBezTo>
                    <a:pt x="7" y="81"/>
                    <a:pt x="6" y="79"/>
                    <a:pt x="6" y="78"/>
                  </a:cubicBezTo>
                  <a:cubicBezTo>
                    <a:pt x="7" y="77"/>
                    <a:pt x="8" y="76"/>
                    <a:pt x="7" y="76"/>
                  </a:cubicBezTo>
                  <a:cubicBezTo>
                    <a:pt x="6" y="75"/>
                    <a:pt x="4" y="73"/>
                    <a:pt x="4" y="72"/>
                  </a:cubicBezTo>
                  <a:cubicBezTo>
                    <a:pt x="3" y="71"/>
                    <a:pt x="0" y="66"/>
                    <a:pt x="0" y="65"/>
                  </a:cubicBezTo>
                  <a:cubicBezTo>
                    <a:pt x="0" y="65"/>
                    <a:pt x="0" y="65"/>
                    <a:pt x="0" y="6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8" name="Freeform 6414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4753740" y="2415464"/>
              <a:ext cx="34373" cy="43533"/>
            </a:xfrm>
            <a:custGeom>
              <a:avLst/>
              <a:gdLst>
                <a:gd name="T0" fmla="*/ 1 w 6"/>
                <a:gd name="T1" fmla="*/ 3 h 7"/>
                <a:gd name="T2" fmla="*/ 6 w 6"/>
                <a:gd name="T3" fmla="*/ 1 h 7"/>
                <a:gd name="T4" fmla="*/ 5 w 6"/>
                <a:gd name="T5" fmla="*/ 3 h 7"/>
                <a:gd name="T6" fmla="*/ 4 w 6"/>
                <a:gd name="T7" fmla="*/ 6 h 7"/>
                <a:gd name="T8" fmla="*/ 1 w 6"/>
                <a:gd name="T9" fmla="*/ 7 h 7"/>
                <a:gd name="T10" fmla="*/ 1 w 6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1" y="3"/>
                  </a:moveTo>
                  <a:cubicBezTo>
                    <a:pt x="1" y="2"/>
                    <a:pt x="5" y="0"/>
                    <a:pt x="6" y="1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5" y="4"/>
                    <a:pt x="4" y="6"/>
                    <a:pt x="4" y="6"/>
                  </a:cubicBezTo>
                  <a:cubicBezTo>
                    <a:pt x="3" y="6"/>
                    <a:pt x="1" y="7"/>
                    <a:pt x="1" y="7"/>
                  </a:cubicBezTo>
                  <a:cubicBezTo>
                    <a:pt x="0" y="6"/>
                    <a:pt x="1" y="4"/>
                    <a:pt x="1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59" name="Freeform 6415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4656869" y="2803911"/>
              <a:ext cx="124994" cy="117204"/>
            </a:xfrm>
            <a:custGeom>
              <a:avLst/>
              <a:gdLst>
                <a:gd name="T0" fmla="*/ 0 w 21"/>
                <a:gd name="T1" fmla="*/ 7 h 18"/>
                <a:gd name="T2" fmla="*/ 0 w 21"/>
                <a:gd name="T3" fmla="*/ 6 h 18"/>
                <a:gd name="T4" fmla="*/ 3 w 21"/>
                <a:gd name="T5" fmla="*/ 6 h 18"/>
                <a:gd name="T6" fmla="*/ 6 w 21"/>
                <a:gd name="T7" fmla="*/ 6 h 18"/>
                <a:gd name="T8" fmla="*/ 7 w 21"/>
                <a:gd name="T9" fmla="*/ 3 h 18"/>
                <a:gd name="T10" fmla="*/ 9 w 21"/>
                <a:gd name="T11" fmla="*/ 2 h 18"/>
                <a:gd name="T12" fmla="*/ 10 w 21"/>
                <a:gd name="T13" fmla="*/ 0 h 18"/>
                <a:gd name="T14" fmla="*/ 11 w 21"/>
                <a:gd name="T15" fmla="*/ 0 h 18"/>
                <a:gd name="T16" fmla="*/ 14 w 21"/>
                <a:gd name="T17" fmla="*/ 3 h 18"/>
                <a:gd name="T18" fmla="*/ 18 w 21"/>
                <a:gd name="T19" fmla="*/ 4 h 18"/>
                <a:gd name="T20" fmla="*/ 20 w 21"/>
                <a:gd name="T21" fmla="*/ 3 h 18"/>
                <a:gd name="T22" fmla="*/ 20 w 21"/>
                <a:gd name="T23" fmla="*/ 5 h 18"/>
                <a:gd name="T24" fmla="*/ 21 w 21"/>
                <a:gd name="T25" fmla="*/ 7 h 18"/>
                <a:gd name="T26" fmla="*/ 21 w 21"/>
                <a:gd name="T27" fmla="*/ 9 h 18"/>
                <a:gd name="T28" fmla="*/ 18 w 21"/>
                <a:gd name="T29" fmla="*/ 8 h 18"/>
                <a:gd name="T30" fmla="*/ 11 w 21"/>
                <a:gd name="T31" fmla="*/ 7 h 18"/>
                <a:gd name="T32" fmla="*/ 8 w 21"/>
                <a:gd name="T33" fmla="*/ 7 h 18"/>
                <a:gd name="T34" fmla="*/ 8 w 21"/>
                <a:gd name="T35" fmla="*/ 9 h 18"/>
                <a:gd name="T36" fmla="*/ 12 w 21"/>
                <a:gd name="T37" fmla="*/ 14 h 18"/>
                <a:gd name="T38" fmla="*/ 15 w 21"/>
                <a:gd name="T39" fmla="*/ 16 h 18"/>
                <a:gd name="T40" fmla="*/ 14 w 21"/>
                <a:gd name="T41" fmla="*/ 18 h 18"/>
                <a:gd name="T42" fmla="*/ 11 w 21"/>
                <a:gd name="T43" fmla="*/ 16 h 18"/>
                <a:gd name="T44" fmla="*/ 6 w 21"/>
                <a:gd name="T45" fmla="*/ 13 h 18"/>
                <a:gd name="T46" fmla="*/ 2 w 21"/>
                <a:gd name="T47" fmla="*/ 10 h 18"/>
                <a:gd name="T48" fmla="*/ 0 w 21"/>
                <a:gd name="T49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18">
                  <a:moveTo>
                    <a:pt x="0" y="7"/>
                  </a:moveTo>
                  <a:cubicBezTo>
                    <a:pt x="0" y="7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6" y="6"/>
                    <a:pt x="6" y="6"/>
                  </a:cubicBezTo>
                  <a:cubicBezTo>
                    <a:pt x="6" y="5"/>
                    <a:pt x="7" y="4"/>
                    <a:pt x="7" y="3"/>
                  </a:cubicBezTo>
                  <a:cubicBezTo>
                    <a:pt x="7" y="3"/>
                    <a:pt x="8" y="2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3" y="3"/>
                    <a:pt x="14" y="3"/>
                  </a:cubicBezTo>
                  <a:cubicBezTo>
                    <a:pt x="15" y="4"/>
                    <a:pt x="17" y="4"/>
                    <a:pt x="18" y="4"/>
                  </a:cubicBezTo>
                  <a:cubicBezTo>
                    <a:pt x="19" y="4"/>
                    <a:pt x="19" y="4"/>
                    <a:pt x="20" y="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6"/>
                    <a:pt x="21" y="7"/>
                    <a:pt x="21" y="7"/>
                  </a:cubicBezTo>
                  <a:cubicBezTo>
                    <a:pt x="21" y="8"/>
                    <a:pt x="21" y="9"/>
                    <a:pt x="21" y="9"/>
                  </a:cubicBezTo>
                  <a:cubicBezTo>
                    <a:pt x="21" y="9"/>
                    <a:pt x="19" y="8"/>
                    <a:pt x="18" y="8"/>
                  </a:cubicBezTo>
                  <a:cubicBezTo>
                    <a:pt x="17" y="8"/>
                    <a:pt x="12" y="7"/>
                    <a:pt x="11" y="7"/>
                  </a:cubicBezTo>
                  <a:cubicBezTo>
                    <a:pt x="11" y="7"/>
                    <a:pt x="9" y="7"/>
                    <a:pt x="8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9"/>
                    <a:pt x="11" y="13"/>
                    <a:pt x="12" y="14"/>
                  </a:cubicBezTo>
                  <a:cubicBezTo>
                    <a:pt x="13" y="14"/>
                    <a:pt x="15" y="16"/>
                    <a:pt x="15" y="1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7"/>
                    <a:pt x="12" y="17"/>
                    <a:pt x="11" y="16"/>
                  </a:cubicBezTo>
                  <a:cubicBezTo>
                    <a:pt x="9" y="16"/>
                    <a:pt x="7" y="14"/>
                    <a:pt x="6" y="13"/>
                  </a:cubicBezTo>
                  <a:cubicBezTo>
                    <a:pt x="5" y="12"/>
                    <a:pt x="3" y="10"/>
                    <a:pt x="2" y="10"/>
                  </a:cubicBezTo>
                  <a:cubicBezTo>
                    <a:pt x="2" y="9"/>
                    <a:pt x="0" y="8"/>
                    <a:pt x="0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0" name="Freeform 6416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647495" y="3466949"/>
              <a:ext cx="243738" cy="411888"/>
            </a:xfrm>
            <a:custGeom>
              <a:avLst/>
              <a:gdLst>
                <a:gd name="T0" fmla="*/ 7 w 40"/>
                <a:gd name="T1" fmla="*/ 61 h 64"/>
                <a:gd name="T2" fmla="*/ 2 w 40"/>
                <a:gd name="T3" fmla="*/ 55 h 64"/>
                <a:gd name="T4" fmla="*/ 3 w 40"/>
                <a:gd name="T5" fmla="*/ 54 h 64"/>
                <a:gd name="T6" fmla="*/ 8 w 40"/>
                <a:gd name="T7" fmla="*/ 54 h 64"/>
                <a:gd name="T8" fmla="*/ 7 w 40"/>
                <a:gd name="T9" fmla="*/ 46 h 64"/>
                <a:gd name="T10" fmla="*/ 5 w 40"/>
                <a:gd name="T11" fmla="*/ 43 h 64"/>
                <a:gd name="T12" fmla="*/ 3 w 40"/>
                <a:gd name="T13" fmla="*/ 41 h 64"/>
                <a:gd name="T14" fmla="*/ 1 w 40"/>
                <a:gd name="T15" fmla="*/ 42 h 64"/>
                <a:gd name="T16" fmla="*/ 0 w 40"/>
                <a:gd name="T17" fmla="*/ 39 h 64"/>
                <a:gd name="T18" fmla="*/ 0 w 40"/>
                <a:gd name="T19" fmla="*/ 36 h 64"/>
                <a:gd name="T20" fmla="*/ 7 w 40"/>
                <a:gd name="T21" fmla="*/ 27 h 64"/>
                <a:gd name="T22" fmla="*/ 8 w 40"/>
                <a:gd name="T23" fmla="*/ 16 h 64"/>
                <a:gd name="T24" fmla="*/ 10 w 40"/>
                <a:gd name="T25" fmla="*/ 13 h 64"/>
                <a:gd name="T26" fmla="*/ 6 w 40"/>
                <a:gd name="T27" fmla="*/ 9 h 64"/>
                <a:gd name="T28" fmla="*/ 6 w 40"/>
                <a:gd name="T29" fmla="*/ 4 h 64"/>
                <a:gd name="T30" fmla="*/ 6 w 40"/>
                <a:gd name="T31" fmla="*/ 2 h 64"/>
                <a:gd name="T32" fmla="*/ 9 w 40"/>
                <a:gd name="T33" fmla="*/ 0 h 64"/>
                <a:gd name="T34" fmla="*/ 40 w 40"/>
                <a:gd name="T35" fmla="*/ 16 h 64"/>
                <a:gd name="T36" fmla="*/ 40 w 40"/>
                <a:gd name="T37" fmla="*/ 31 h 64"/>
                <a:gd name="T38" fmla="*/ 36 w 40"/>
                <a:gd name="T39" fmla="*/ 32 h 64"/>
                <a:gd name="T40" fmla="*/ 34 w 40"/>
                <a:gd name="T41" fmla="*/ 38 h 64"/>
                <a:gd name="T42" fmla="*/ 32 w 40"/>
                <a:gd name="T43" fmla="*/ 42 h 64"/>
                <a:gd name="T44" fmla="*/ 34 w 40"/>
                <a:gd name="T45" fmla="*/ 44 h 64"/>
                <a:gd name="T46" fmla="*/ 37 w 40"/>
                <a:gd name="T47" fmla="*/ 47 h 64"/>
                <a:gd name="T48" fmla="*/ 36 w 40"/>
                <a:gd name="T49" fmla="*/ 50 h 64"/>
                <a:gd name="T50" fmla="*/ 32 w 40"/>
                <a:gd name="T51" fmla="*/ 51 h 64"/>
                <a:gd name="T52" fmla="*/ 27 w 40"/>
                <a:gd name="T53" fmla="*/ 56 h 64"/>
                <a:gd name="T54" fmla="*/ 22 w 40"/>
                <a:gd name="T55" fmla="*/ 57 h 64"/>
                <a:gd name="T56" fmla="*/ 20 w 40"/>
                <a:gd name="T57" fmla="*/ 61 h 64"/>
                <a:gd name="T58" fmla="*/ 11 w 40"/>
                <a:gd name="T59" fmla="*/ 63 h 64"/>
                <a:gd name="T60" fmla="*/ 7 w 40"/>
                <a:gd name="T61" fmla="*/ 63 h 64"/>
                <a:gd name="T62" fmla="*/ 7 w 40"/>
                <a:gd name="T63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" h="64">
                  <a:moveTo>
                    <a:pt x="7" y="61"/>
                  </a:moveTo>
                  <a:cubicBezTo>
                    <a:pt x="6" y="59"/>
                    <a:pt x="2" y="55"/>
                    <a:pt x="2" y="55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8" y="55"/>
                    <a:pt x="8" y="54"/>
                  </a:cubicBezTo>
                  <a:cubicBezTo>
                    <a:pt x="8" y="53"/>
                    <a:pt x="6" y="48"/>
                    <a:pt x="7" y="46"/>
                  </a:cubicBezTo>
                  <a:cubicBezTo>
                    <a:pt x="7" y="44"/>
                    <a:pt x="6" y="44"/>
                    <a:pt x="5" y="43"/>
                  </a:cubicBezTo>
                  <a:cubicBezTo>
                    <a:pt x="4" y="42"/>
                    <a:pt x="4" y="41"/>
                    <a:pt x="3" y="41"/>
                  </a:cubicBezTo>
                  <a:cubicBezTo>
                    <a:pt x="3" y="41"/>
                    <a:pt x="1" y="42"/>
                    <a:pt x="1" y="4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7"/>
                    <a:pt x="0" y="36"/>
                  </a:cubicBezTo>
                  <a:cubicBezTo>
                    <a:pt x="0" y="36"/>
                    <a:pt x="7" y="27"/>
                    <a:pt x="7" y="27"/>
                  </a:cubicBezTo>
                  <a:cubicBezTo>
                    <a:pt x="8" y="26"/>
                    <a:pt x="8" y="17"/>
                    <a:pt x="8" y="16"/>
                  </a:cubicBezTo>
                  <a:cubicBezTo>
                    <a:pt x="9" y="15"/>
                    <a:pt x="10" y="13"/>
                    <a:pt x="10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37" y="32"/>
                    <a:pt x="36" y="32"/>
                  </a:cubicBezTo>
                  <a:cubicBezTo>
                    <a:pt x="35" y="33"/>
                    <a:pt x="35" y="37"/>
                    <a:pt x="34" y="38"/>
                  </a:cubicBezTo>
                  <a:cubicBezTo>
                    <a:pt x="34" y="40"/>
                    <a:pt x="33" y="41"/>
                    <a:pt x="32" y="42"/>
                  </a:cubicBezTo>
                  <a:cubicBezTo>
                    <a:pt x="32" y="44"/>
                    <a:pt x="34" y="43"/>
                    <a:pt x="34" y="44"/>
                  </a:cubicBezTo>
                  <a:cubicBezTo>
                    <a:pt x="34" y="45"/>
                    <a:pt x="36" y="46"/>
                    <a:pt x="37" y="47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5" y="49"/>
                    <a:pt x="33" y="50"/>
                    <a:pt x="32" y="51"/>
                  </a:cubicBezTo>
                  <a:cubicBezTo>
                    <a:pt x="31" y="51"/>
                    <a:pt x="29" y="55"/>
                    <a:pt x="27" y="56"/>
                  </a:cubicBezTo>
                  <a:cubicBezTo>
                    <a:pt x="26" y="57"/>
                    <a:pt x="23" y="57"/>
                    <a:pt x="22" y="57"/>
                  </a:cubicBezTo>
                  <a:cubicBezTo>
                    <a:pt x="22" y="58"/>
                    <a:pt x="21" y="61"/>
                    <a:pt x="20" y="61"/>
                  </a:cubicBezTo>
                  <a:cubicBezTo>
                    <a:pt x="18" y="61"/>
                    <a:pt x="12" y="63"/>
                    <a:pt x="11" y="63"/>
                  </a:cubicBezTo>
                  <a:cubicBezTo>
                    <a:pt x="9" y="64"/>
                    <a:pt x="7" y="63"/>
                    <a:pt x="7" y="63"/>
                  </a:cubicBezTo>
                  <a:cubicBezTo>
                    <a:pt x="8" y="63"/>
                    <a:pt x="8" y="62"/>
                    <a:pt x="7" y="6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1" name="Freeform 6417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4647495" y="2790517"/>
              <a:ext cx="74996" cy="53579"/>
            </a:xfrm>
            <a:custGeom>
              <a:avLst/>
              <a:gdLst>
                <a:gd name="T0" fmla="*/ 0 w 12"/>
                <a:gd name="T1" fmla="*/ 6 h 8"/>
                <a:gd name="T2" fmla="*/ 0 w 12"/>
                <a:gd name="T3" fmla="*/ 2 h 8"/>
                <a:gd name="T4" fmla="*/ 4 w 12"/>
                <a:gd name="T5" fmla="*/ 3 h 8"/>
                <a:gd name="T6" fmla="*/ 7 w 12"/>
                <a:gd name="T7" fmla="*/ 1 h 8"/>
                <a:gd name="T8" fmla="*/ 10 w 12"/>
                <a:gd name="T9" fmla="*/ 0 h 8"/>
                <a:gd name="T10" fmla="*/ 12 w 12"/>
                <a:gd name="T11" fmla="*/ 2 h 8"/>
                <a:gd name="T12" fmla="*/ 10 w 12"/>
                <a:gd name="T13" fmla="*/ 4 h 8"/>
                <a:gd name="T14" fmla="*/ 8 w 12"/>
                <a:gd name="T15" fmla="*/ 5 h 8"/>
                <a:gd name="T16" fmla="*/ 7 w 12"/>
                <a:gd name="T17" fmla="*/ 7 h 8"/>
                <a:gd name="T18" fmla="*/ 4 w 12"/>
                <a:gd name="T19" fmla="*/ 7 h 8"/>
                <a:gd name="T20" fmla="*/ 1 w 12"/>
                <a:gd name="T21" fmla="*/ 7 h 8"/>
                <a:gd name="T22" fmla="*/ 1 w 12"/>
                <a:gd name="T23" fmla="*/ 6 h 8"/>
                <a:gd name="T24" fmla="*/ 0 w 12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8">
                  <a:moveTo>
                    <a:pt x="0" y="6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4" y="3"/>
                    <a:pt x="4" y="3"/>
                  </a:cubicBezTo>
                  <a:cubicBezTo>
                    <a:pt x="4" y="3"/>
                    <a:pt x="6" y="1"/>
                    <a:pt x="7" y="1"/>
                  </a:cubicBezTo>
                  <a:cubicBezTo>
                    <a:pt x="8" y="1"/>
                    <a:pt x="10" y="1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8" y="4"/>
                    <a:pt x="8" y="5"/>
                  </a:cubicBezTo>
                  <a:cubicBezTo>
                    <a:pt x="8" y="5"/>
                    <a:pt x="7" y="6"/>
                    <a:pt x="7" y="7"/>
                  </a:cubicBezTo>
                  <a:cubicBezTo>
                    <a:pt x="7" y="8"/>
                    <a:pt x="5" y="7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2" name="Freeform 6418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4613121" y="3932415"/>
              <a:ext cx="453103" cy="472164"/>
            </a:xfrm>
            <a:custGeom>
              <a:avLst/>
              <a:gdLst>
                <a:gd name="T0" fmla="*/ 0 w 75"/>
                <a:gd name="T1" fmla="*/ 39 h 73"/>
                <a:gd name="T2" fmla="*/ 3 w 75"/>
                <a:gd name="T3" fmla="*/ 38 h 73"/>
                <a:gd name="T4" fmla="*/ 7 w 75"/>
                <a:gd name="T5" fmla="*/ 39 h 73"/>
                <a:gd name="T6" fmla="*/ 9 w 75"/>
                <a:gd name="T7" fmla="*/ 37 h 73"/>
                <a:gd name="T8" fmla="*/ 12 w 75"/>
                <a:gd name="T9" fmla="*/ 39 h 73"/>
                <a:gd name="T10" fmla="*/ 16 w 75"/>
                <a:gd name="T11" fmla="*/ 32 h 73"/>
                <a:gd name="T12" fmla="*/ 19 w 75"/>
                <a:gd name="T13" fmla="*/ 25 h 73"/>
                <a:gd name="T14" fmla="*/ 23 w 75"/>
                <a:gd name="T15" fmla="*/ 20 h 73"/>
                <a:gd name="T16" fmla="*/ 24 w 75"/>
                <a:gd name="T17" fmla="*/ 12 h 73"/>
                <a:gd name="T18" fmla="*/ 26 w 75"/>
                <a:gd name="T19" fmla="*/ 7 h 73"/>
                <a:gd name="T20" fmla="*/ 26 w 75"/>
                <a:gd name="T21" fmla="*/ 5 h 73"/>
                <a:gd name="T22" fmla="*/ 29 w 75"/>
                <a:gd name="T23" fmla="*/ 1 h 73"/>
                <a:gd name="T24" fmla="*/ 34 w 75"/>
                <a:gd name="T25" fmla="*/ 3 h 73"/>
                <a:gd name="T26" fmla="*/ 41 w 75"/>
                <a:gd name="T27" fmla="*/ 5 h 73"/>
                <a:gd name="T28" fmla="*/ 43 w 75"/>
                <a:gd name="T29" fmla="*/ 2 h 73"/>
                <a:gd name="T30" fmla="*/ 50 w 75"/>
                <a:gd name="T31" fmla="*/ 1 h 73"/>
                <a:gd name="T32" fmla="*/ 57 w 75"/>
                <a:gd name="T33" fmla="*/ 0 h 73"/>
                <a:gd name="T34" fmla="*/ 59 w 75"/>
                <a:gd name="T35" fmla="*/ 0 h 73"/>
                <a:gd name="T36" fmla="*/ 61 w 75"/>
                <a:gd name="T37" fmla="*/ 2 h 73"/>
                <a:gd name="T38" fmla="*/ 65 w 75"/>
                <a:gd name="T39" fmla="*/ 4 h 73"/>
                <a:gd name="T40" fmla="*/ 68 w 75"/>
                <a:gd name="T41" fmla="*/ 3 h 73"/>
                <a:gd name="T42" fmla="*/ 70 w 75"/>
                <a:gd name="T43" fmla="*/ 5 h 73"/>
                <a:gd name="T44" fmla="*/ 74 w 75"/>
                <a:gd name="T45" fmla="*/ 7 h 73"/>
                <a:gd name="T46" fmla="*/ 73 w 75"/>
                <a:gd name="T47" fmla="*/ 11 h 73"/>
                <a:gd name="T48" fmla="*/ 75 w 75"/>
                <a:gd name="T49" fmla="*/ 13 h 73"/>
                <a:gd name="T50" fmla="*/ 72 w 75"/>
                <a:gd name="T51" fmla="*/ 17 h 73"/>
                <a:gd name="T52" fmla="*/ 69 w 75"/>
                <a:gd name="T53" fmla="*/ 21 h 73"/>
                <a:gd name="T54" fmla="*/ 67 w 75"/>
                <a:gd name="T55" fmla="*/ 26 h 73"/>
                <a:gd name="T56" fmla="*/ 65 w 75"/>
                <a:gd name="T57" fmla="*/ 30 h 73"/>
                <a:gd name="T58" fmla="*/ 66 w 75"/>
                <a:gd name="T59" fmla="*/ 32 h 73"/>
                <a:gd name="T60" fmla="*/ 66 w 75"/>
                <a:gd name="T61" fmla="*/ 35 h 73"/>
                <a:gd name="T62" fmla="*/ 67 w 75"/>
                <a:gd name="T63" fmla="*/ 38 h 73"/>
                <a:gd name="T64" fmla="*/ 68 w 75"/>
                <a:gd name="T65" fmla="*/ 44 h 73"/>
                <a:gd name="T66" fmla="*/ 71 w 75"/>
                <a:gd name="T67" fmla="*/ 48 h 73"/>
                <a:gd name="T68" fmla="*/ 73 w 75"/>
                <a:gd name="T69" fmla="*/ 52 h 73"/>
                <a:gd name="T70" fmla="*/ 66 w 75"/>
                <a:gd name="T71" fmla="*/ 53 h 73"/>
                <a:gd name="T72" fmla="*/ 64 w 75"/>
                <a:gd name="T73" fmla="*/ 57 h 73"/>
                <a:gd name="T74" fmla="*/ 65 w 75"/>
                <a:gd name="T75" fmla="*/ 65 h 73"/>
                <a:gd name="T76" fmla="*/ 69 w 75"/>
                <a:gd name="T77" fmla="*/ 68 h 73"/>
                <a:gd name="T78" fmla="*/ 68 w 75"/>
                <a:gd name="T79" fmla="*/ 73 h 73"/>
                <a:gd name="T80" fmla="*/ 68 w 75"/>
                <a:gd name="T81" fmla="*/ 73 h 73"/>
                <a:gd name="T82" fmla="*/ 64 w 75"/>
                <a:gd name="T83" fmla="*/ 70 h 73"/>
                <a:gd name="T84" fmla="*/ 59 w 75"/>
                <a:gd name="T85" fmla="*/ 65 h 73"/>
                <a:gd name="T86" fmla="*/ 56 w 75"/>
                <a:gd name="T87" fmla="*/ 67 h 73"/>
                <a:gd name="T88" fmla="*/ 52 w 75"/>
                <a:gd name="T89" fmla="*/ 64 h 73"/>
                <a:gd name="T90" fmla="*/ 46 w 75"/>
                <a:gd name="T91" fmla="*/ 63 h 73"/>
                <a:gd name="T92" fmla="*/ 41 w 75"/>
                <a:gd name="T93" fmla="*/ 63 h 73"/>
                <a:gd name="T94" fmla="*/ 39 w 75"/>
                <a:gd name="T95" fmla="*/ 57 h 73"/>
                <a:gd name="T96" fmla="*/ 38 w 75"/>
                <a:gd name="T97" fmla="*/ 49 h 73"/>
                <a:gd name="T98" fmla="*/ 29 w 75"/>
                <a:gd name="T99" fmla="*/ 47 h 73"/>
                <a:gd name="T100" fmla="*/ 28 w 75"/>
                <a:gd name="T101" fmla="*/ 51 h 73"/>
                <a:gd name="T102" fmla="*/ 21 w 75"/>
                <a:gd name="T103" fmla="*/ 52 h 73"/>
                <a:gd name="T104" fmla="*/ 17 w 75"/>
                <a:gd name="T105" fmla="*/ 44 h 73"/>
                <a:gd name="T106" fmla="*/ 6 w 75"/>
                <a:gd name="T107" fmla="*/ 43 h 73"/>
                <a:gd name="T108" fmla="*/ 2 w 75"/>
                <a:gd name="T109" fmla="*/ 45 h 73"/>
                <a:gd name="T110" fmla="*/ 2 w 75"/>
                <a:gd name="T111" fmla="*/ 45 h 73"/>
                <a:gd name="T112" fmla="*/ 0 w 75"/>
                <a:gd name="T113" fmla="*/ 3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5" h="73">
                  <a:moveTo>
                    <a:pt x="0" y="39"/>
                  </a:moveTo>
                  <a:cubicBezTo>
                    <a:pt x="0" y="39"/>
                    <a:pt x="2" y="38"/>
                    <a:pt x="3" y="38"/>
                  </a:cubicBezTo>
                  <a:cubicBezTo>
                    <a:pt x="4" y="38"/>
                    <a:pt x="5" y="39"/>
                    <a:pt x="7" y="39"/>
                  </a:cubicBezTo>
                  <a:cubicBezTo>
                    <a:pt x="8" y="38"/>
                    <a:pt x="9" y="38"/>
                    <a:pt x="9" y="37"/>
                  </a:cubicBezTo>
                  <a:cubicBezTo>
                    <a:pt x="10" y="37"/>
                    <a:pt x="11" y="40"/>
                    <a:pt x="12" y="39"/>
                  </a:cubicBezTo>
                  <a:cubicBezTo>
                    <a:pt x="13" y="38"/>
                    <a:pt x="16" y="35"/>
                    <a:pt x="16" y="32"/>
                  </a:cubicBezTo>
                  <a:cubicBezTo>
                    <a:pt x="16" y="30"/>
                    <a:pt x="17" y="26"/>
                    <a:pt x="19" y="25"/>
                  </a:cubicBezTo>
                  <a:cubicBezTo>
                    <a:pt x="21" y="24"/>
                    <a:pt x="23" y="22"/>
                    <a:pt x="23" y="20"/>
                  </a:cubicBezTo>
                  <a:cubicBezTo>
                    <a:pt x="23" y="18"/>
                    <a:pt x="24" y="13"/>
                    <a:pt x="24" y="12"/>
                  </a:cubicBezTo>
                  <a:cubicBezTo>
                    <a:pt x="25" y="11"/>
                    <a:pt x="25" y="8"/>
                    <a:pt x="26" y="7"/>
                  </a:cubicBezTo>
                  <a:cubicBezTo>
                    <a:pt x="26" y="6"/>
                    <a:pt x="26" y="5"/>
                    <a:pt x="26" y="5"/>
                  </a:cubicBezTo>
                  <a:cubicBezTo>
                    <a:pt x="26" y="4"/>
                    <a:pt x="27" y="1"/>
                    <a:pt x="29" y="1"/>
                  </a:cubicBezTo>
                  <a:cubicBezTo>
                    <a:pt x="30" y="1"/>
                    <a:pt x="32" y="3"/>
                    <a:pt x="34" y="3"/>
                  </a:cubicBezTo>
                  <a:cubicBezTo>
                    <a:pt x="35" y="3"/>
                    <a:pt x="39" y="5"/>
                    <a:pt x="41" y="5"/>
                  </a:cubicBezTo>
                  <a:cubicBezTo>
                    <a:pt x="42" y="4"/>
                    <a:pt x="42" y="2"/>
                    <a:pt x="43" y="2"/>
                  </a:cubicBezTo>
                  <a:cubicBezTo>
                    <a:pt x="44" y="2"/>
                    <a:pt x="49" y="1"/>
                    <a:pt x="50" y="1"/>
                  </a:cubicBezTo>
                  <a:cubicBezTo>
                    <a:pt x="51" y="0"/>
                    <a:pt x="55" y="0"/>
                    <a:pt x="57" y="0"/>
                  </a:cubicBezTo>
                  <a:cubicBezTo>
                    <a:pt x="58" y="0"/>
                    <a:pt x="58" y="0"/>
                    <a:pt x="59" y="0"/>
                  </a:cubicBezTo>
                  <a:cubicBezTo>
                    <a:pt x="60" y="1"/>
                    <a:pt x="61" y="1"/>
                    <a:pt x="61" y="2"/>
                  </a:cubicBezTo>
                  <a:cubicBezTo>
                    <a:pt x="62" y="3"/>
                    <a:pt x="63" y="4"/>
                    <a:pt x="65" y="4"/>
                  </a:cubicBezTo>
                  <a:cubicBezTo>
                    <a:pt x="68" y="4"/>
                    <a:pt x="67" y="2"/>
                    <a:pt x="68" y="3"/>
                  </a:cubicBezTo>
                  <a:cubicBezTo>
                    <a:pt x="69" y="3"/>
                    <a:pt x="70" y="5"/>
                    <a:pt x="70" y="5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7"/>
                    <a:pt x="73" y="10"/>
                    <a:pt x="73" y="11"/>
                  </a:cubicBezTo>
                  <a:cubicBezTo>
                    <a:pt x="73" y="11"/>
                    <a:pt x="75" y="13"/>
                    <a:pt x="75" y="13"/>
                  </a:cubicBezTo>
                  <a:cubicBezTo>
                    <a:pt x="75" y="13"/>
                    <a:pt x="73" y="16"/>
                    <a:pt x="72" y="17"/>
                  </a:cubicBezTo>
                  <a:cubicBezTo>
                    <a:pt x="70" y="18"/>
                    <a:pt x="69" y="20"/>
                    <a:pt x="69" y="21"/>
                  </a:cubicBezTo>
                  <a:cubicBezTo>
                    <a:pt x="69" y="22"/>
                    <a:pt x="68" y="25"/>
                    <a:pt x="67" y="26"/>
                  </a:cubicBezTo>
                  <a:cubicBezTo>
                    <a:pt x="67" y="26"/>
                    <a:pt x="65" y="29"/>
                    <a:pt x="65" y="30"/>
                  </a:cubicBezTo>
                  <a:cubicBezTo>
                    <a:pt x="65" y="31"/>
                    <a:pt x="66" y="31"/>
                    <a:pt x="66" y="32"/>
                  </a:cubicBezTo>
                  <a:cubicBezTo>
                    <a:pt x="66" y="33"/>
                    <a:pt x="66" y="34"/>
                    <a:pt x="66" y="35"/>
                  </a:cubicBezTo>
                  <a:cubicBezTo>
                    <a:pt x="67" y="35"/>
                    <a:pt x="67" y="36"/>
                    <a:pt x="67" y="38"/>
                  </a:cubicBezTo>
                  <a:cubicBezTo>
                    <a:pt x="68" y="40"/>
                    <a:pt x="68" y="42"/>
                    <a:pt x="68" y="44"/>
                  </a:cubicBezTo>
                  <a:cubicBezTo>
                    <a:pt x="68" y="45"/>
                    <a:pt x="70" y="47"/>
                    <a:pt x="71" y="48"/>
                  </a:cubicBezTo>
                  <a:cubicBezTo>
                    <a:pt x="72" y="48"/>
                    <a:pt x="72" y="50"/>
                    <a:pt x="73" y="52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6" y="53"/>
                    <a:pt x="63" y="56"/>
                    <a:pt x="64" y="57"/>
                  </a:cubicBezTo>
                  <a:cubicBezTo>
                    <a:pt x="65" y="58"/>
                    <a:pt x="64" y="63"/>
                    <a:pt x="65" y="65"/>
                  </a:cubicBezTo>
                  <a:cubicBezTo>
                    <a:pt x="65" y="66"/>
                    <a:pt x="69" y="67"/>
                    <a:pt x="69" y="68"/>
                  </a:cubicBezTo>
                  <a:cubicBezTo>
                    <a:pt x="69" y="69"/>
                    <a:pt x="69" y="72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3"/>
                    <a:pt x="65" y="71"/>
                    <a:pt x="64" y="70"/>
                  </a:cubicBezTo>
                  <a:cubicBezTo>
                    <a:pt x="63" y="69"/>
                    <a:pt x="60" y="66"/>
                    <a:pt x="59" y="65"/>
                  </a:cubicBezTo>
                  <a:cubicBezTo>
                    <a:pt x="59" y="64"/>
                    <a:pt x="58" y="67"/>
                    <a:pt x="56" y="67"/>
                  </a:cubicBezTo>
                  <a:cubicBezTo>
                    <a:pt x="55" y="67"/>
                    <a:pt x="52" y="64"/>
                    <a:pt x="52" y="64"/>
                  </a:cubicBezTo>
                  <a:cubicBezTo>
                    <a:pt x="52" y="64"/>
                    <a:pt x="47" y="63"/>
                    <a:pt x="46" y="63"/>
                  </a:cubicBezTo>
                  <a:cubicBezTo>
                    <a:pt x="45" y="63"/>
                    <a:pt x="40" y="64"/>
                    <a:pt x="41" y="63"/>
                  </a:cubicBezTo>
                  <a:cubicBezTo>
                    <a:pt x="41" y="62"/>
                    <a:pt x="40" y="58"/>
                    <a:pt x="39" y="57"/>
                  </a:cubicBezTo>
                  <a:cubicBezTo>
                    <a:pt x="38" y="56"/>
                    <a:pt x="38" y="49"/>
                    <a:pt x="38" y="49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47"/>
                    <a:pt x="29" y="51"/>
                    <a:pt x="28" y="51"/>
                  </a:cubicBezTo>
                  <a:cubicBezTo>
                    <a:pt x="27" y="51"/>
                    <a:pt x="22" y="52"/>
                    <a:pt x="21" y="52"/>
                  </a:cubicBezTo>
                  <a:cubicBezTo>
                    <a:pt x="20" y="52"/>
                    <a:pt x="18" y="44"/>
                    <a:pt x="17" y="44"/>
                  </a:cubicBezTo>
                  <a:cubicBezTo>
                    <a:pt x="17" y="44"/>
                    <a:pt x="8" y="43"/>
                    <a:pt x="6" y="43"/>
                  </a:cubicBezTo>
                  <a:cubicBezTo>
                    <a:pt x="5" y="43"/>
                    <a:pt x="3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2"/>
                    <a:pt x="1" y="41"/>
                    <a:pt x="0" y="3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3" name="Freeform 6419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606872" y="4494994"/>
              <a:ext cx="318735" cy="311427"/>
            </a:xfrm>
            <a:custGeom>
              <a:avLst/>
              <a:gdLst>
                <a:gd name="T0" fmla="*/ 1 w 53"/>
                <a:gd name="T1" fmla="*/ 4 h 48"/>
                <a:gd name="T2" fmla="*/ 0 w 53"/>
                <a:gd name="T3" fmla="*/ 1 h 48"/>
                <a:gd name="T4" fmla="*/ 4 w 53"/>
                <a:gd name="T5" fmla="*/ 1 h 48"/>
                <a:gd name="T6" fmla="*/ 7 w 53"/>
                <a:gd name="T7" fmla="*/ 0 h 48"/>
                <a:gd name="T8" fmla="*/ 10 w 53"/>
                <a:gd name="T9" fmla="*/ 2 h 48"/>
                <a:gd name="T10" fmla="*/ 26 w 53"/>
                <a:gd name="T11" fmla="*/ 2 h 48"/>
                <a:gd name="T12" fmla="*/ 28 w 53"/>
                <a:gd name="T13" fmla="*/ 4 h 48"/>
                <a:gd name="T14" fmla="*/ 33 w 53"/>
                <a:gd name="T15" fmla="*/ 4 h 48"/>
                <a:gd name="T16" fmla="*/ 36 w 53"/>
                <a:gd name="T17" fmla="*/ 4 h 48"/>
                <a:gd name="T18" fmla="*/ 42 w 53"/>
                <a:gd name="T19" fmla="*/ 3 h 48"/>
                <a:gd name="T20" fmla="*/ 44 w 53"/>
                <a:gd name="T21" fmla="*/ 3 h 48"/>
                <a:gd name="T22" fmla="*/ 51 w 53"/>
                <a:gd name="T23" fmla="*/ 3 h 48"/>
                <a:gd name="T24" fmla="*/ 52 w 53"/>
                <a:gd name="T25" fmla="*/ 3 h 48"/>
                <a:gd name="T26" fmla="*/ 53 w 53"/>
                <a:gd name="T27" fmla="*/ 5 h 48"/>
                <a:gd name="T28" fmla="*/ 49 w 53"/>
                <a:gd name="T29" fmla="*/ 6 h 48"/>
                <a:gd name="T30" fmla="*/ 46 w 53"/>
                <a:gd name="T31" fmla="*/ 6 h 48"/>
                <a:gd name="T32" fmla="*/ 43 w 53"/>
                <a:gd name="T33" fmla="*/ 6 h 48"/>
                <a:gd name="T34" fmla="*/ 36 w 53"/>
                <a:gd name="T35" fmla="*/ 7 h 48"/>
                <a:gd name="T36" fmla="*/ 36 w 53"/>
                <a:gd name="T37" fmla="*/ 20 h 48"/>
                <a:gd name="T38" fmla="*/ 31 w 53"/>
                <a:gd name="T39" fmla="*/ 20 h 48"/>
                <a:gd name="T40" fmla="*/ 31 w 53"/>
                <a:gd name="T41" fmla="*/ 32 h 48"/>
                <a:gd name="T42" fmla="*/ 31 w 53"/>
                <a:gd name="T43" fmla="*/ 47 h 48"/>
                <a:gd name="T44" fmla="*/ 24 w 53"/>
                <a:gd name="T45" fmla="*/ 48 h 48"/>
                <a:gd name="T46" fmla="*/ 21 w 53"/>
                <a:gd name="T47" fmla="*/ 45 h 48"/>
                <a:gd name="T48" fmla="*/ 19 w 53"/>
                <a:gd name="T49" fmla="*/ 48 h 48"/>
                <a:gd name="T50" fmla="*/ 19 w 53"/>
                <a:gd name="T51" fmla="*/ 48 h 48"/>
                <a:gd name="T52" fmla="*/ 18 w 53"/>
                <a:gd name="T53" fmla="*/ 47 h 48"/>
                <a:gd name="T54" fmla="*/ 13 w 53"/>
                <a:gd name="T55" fmla="*/ 40 h 48"/>
                <a:gd name="T56" fmla="*/ 11 w 53"/>
                <a:gd name="T57" fmla="*/ 32 h 48"/>
                <a:gd name="T58" fmla="*/ 11 w 53"/>
                <a:gd name="T59" fmla="*/ 27 h 48"/>
                <a:gd name="T60" fmla="*/ 10 w 53"/>
                <a:gd name="T61" fmla="*/ 21 h 48"/>
                <a:gd name="T62" fmla="*/ 5 w 53"/>
                <a:gd name="T63" fmla="*/ 12 h 48"/>
                <a:gd name="T64" fmla="*/ 1 w 53"/>
                <a:gd name="T65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48">
                  <a:moveTo>
                    <a:pt x="1" y="4"/>
                  </a:move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8" y="0"/>
                    <a:pt x="9" y="2"/>
                    <a:pt x="10" y="2"/>
                  </a:cubicBezTo>
                  <a:cubicBezTo>
                    <a:pt x="10" y="2"/>
                    <a:pt x="26" y="2"/>
                    <a:pt x="26" y="2"/>
                  </a:cubicBezTo>
                  <a:cubicBezTo>
                    <a:pt x="26" y="2"/>
                    <a:pt x="27" y="4"/>
                    <a:pt x="28" y="4"/>
                  </a:cubicBezTo>
                  <a:cubicBezTo>
                    <a:pt x="29" y="4"/>
                    <a:pt x="31" y="4"/>
                    <a:pt x="33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3" y="3"/>
                    <a:pt x="44" y="3"/>
                  </a:cubicBezTo>
                  <a:cubicBezTo>
                    <a:pt x="47" y="3"/>
                    <a:pt x="51" y="2"/>
                    <a:pt x="51" y="3"/>
                  </a:cubicBezTo>
                  <a:cubicBezTo>
                    <a:pt x="51" y="3"/>
                    <a:pt x="52" y="3"/>
                    <a:pt x="52" y="3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7" y="6"/>
                    <a:pt x="46" y="6"/>
                  </a:cubicBezTo>
                  <a:cubicBezTo>
                    <a:pt x="46" y="7"/>
                    <a:pt x="45" y="6"/>
                    <a:pt x="43" y="6"/>
                  </a:cubicBezTo>
                  <a:cubicBezTo>
                    <a:pt x="43" y="6"/>
                    <a:pt x="37" y="7"/>
                    <a:pt x="36" y="7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25" y="48"/>
                    <a:pt x="24" y="48"/>
                  </a:cubicBezTo>
                  <a:cubicBezTo>
                    <a:pt x="23" y="48"/>
                    <a:pt x="22" y="45"/>
                    <a:pt x="21" y="45"/>
                  </a:cubicBezTo>
                  <a:cubicBezTo>
                    <a:pt x="20" y="45"/>
                    <a:pt x="19" y="47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7"/>
                    <a:pt x="18" y="47"/>
                    <a:pt x="18" y="47"/>
                  </a:cubicBezTo>
                  <a:cubicBezTo>
                    <a:pt x="16" y="45"/>
                    <a:pt x="13" y="43"/>
                    <a:pt x="13" y="40"/>
                  </a:cubicBezTo>
                  <a:cubicBezTo>
                    <a:pt x="13" y="37"/>
                    <a:pt x="12" y="34"/>
                    <a:pt x="11" y="32"/>
                  </a:cubicBezTo>
                  <a:cubicBezTo>
                    <a:pt x="11" y="30"/>
                    <a:pt x="11" y="29"/>
                    <a:pt x="11" y="27"/>
                  </a:cubicBezTo>
                  <a:cubicBezTo>
                    <a:pt x="11" y="25"/>
                    <a:pt x="11" y="24"/>
                    <a:pt x="10" y="21"/>
                  </a:cubicBezTo>
                  <a:cubicBezTo>
                    <a:pt x="9" y="19"/>
                    <a:pt x="6" y="14"/>
                    <a:pt x="5" y="12"/>
                  </a:cubicBezTo>
                  <a:cubicBezTo>
                    <a:pt x="3" y="10"/>
                    <a:pt x="1" y="6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4" name="Freeform 6420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606872" y="4210356"/>
              <a:ext cx="290611" cy="311427"/>
            </a:xfrm>
            <a:custGeom>
              <a:avLst/>
              <a:gdLst>
                <a:gd name="T0" fmla="*/ 0 w 48"/>
                <a:gd name="T1" fmla="*/ 45 h 48"/>
                <a:gd name="T2" fmla="*/ 1 w 48"/>
                <a:gd name="T3" fmla="*/ 40 h 48"/>
                <a:gd name="T4" fmla="*/ 3 w 48"/>
                <a:gd name="T5" fmla="*/ 34 h 48"/>
                <a:gd name="T6" fmla="*/ 3 w 48"/>
                <a:gd name="T7" fmla="*/ 30 h 48"/>
                <a:gd name="T8" fmla="*/ 7 w 48"/>
                <a:gd name="T9" fmla="*/ 26 h 48"/>
                <a:gd name="T10" fmla="*/ 8 w 48"/>
                <a:gd name="T11" fmla="*/ 20 h 48"/>
                <a:gd name="T12" fmla="*/ 5 w 48"/>
                <a:gd name="T13" fmla="*/ 14 h 48"/>
                <a:gd name="T14" fmla="*/ 7 w 48"/>
                <a:gd name="T15" fmla="*/ 11 h 48"/>
                <a:gd name="T16" fmla="*/ 3 w 48"/>
                <a:gd name="T17" fmla="*/ 2 h 48"/>
                <a:gd name="T18" fmla="*/ 7 w 48"/>
                <a:gd name="T19" fmla="*/ 0 h 48"/>
                <a:gd name="T20" fmla="*/ 18 w 48"/>
                <a:gd name="T21" fmla="*/ 1 h 48"/>
                <a:gd name="T22" fmla="*/ 22 w 48"/>
                <a:gd name="T23" fmla="*/ 10 h 48"/>
                <a:gd name="T24" fmla="*/ 29 w 48"/>
                <a:gd name="T25" fmla="*/ 9 h 48"/>
                <a:gd name="T26" fmla="*/ 30 w 48"/>
                <a:gd name="T27" fmla="*/ 5 h 48"/>
                <a:gd name="T28" fmla="*/ 39 w 48"/>
                <a:gd name="T29" fmla="*/ 6 h 48"/>
                <a:gd name="T30" fmla="*/ 40 w 48"/>
                <a:gd name="T31" fmla="*/ 15 h 48"/>
                <a:gd name="T32" fmla="*/ 42 w 48"/>
                <a:gd name="T33" fmla="*/ 20 h 48"/>
                <a:gd name="T34" fmla="*/ 47 w 48"/>
                <a:gd name="T35" fmla="*/ 21 h 48"/>
                <a:gd name="T36" fmla="*/ 48 w 48"/>
                <a:gd name="T37" fmla="*/ 29 h 48"/>
                <a:gd name="T38" fmla="*/ 40 w 48"/>
                <a:gd name="T39" fmla="*/ 29 h 48"/>
                <a:gd name="T40" fmla="*/ 40 w 48"/>
                <a:gd name="T41" fmla="*/ 41 h 48"/>
                <a:gd name="T42" fmla="*/ 44 w 48"/>
                <a:gd name="T43" fmla="*/ 46 h 48"/>
                <a:gd name="T44" fmla="*/ 42 w 48"/>
                <a:gd name="T45" fmla="*/ 47 h 48"/>
                <a:gd name="T46" fmla="*/ 36 w 48"/>
                <a:gd name="T47" fmla="*/ 48 h 48"/>
                <a:gd name="T48" fmla="*/ 33 w 48"/>
                <a:gd name="T49" fmla="*/ 48 h 48"/>
                <a:gd name="T50" fmla="*/ 28 w 48"/>
                <a:gd name="T51" fmla="*/ 48 h 48"/>
                <a:gd name="T52" fmla="*/ 26 w 48"/>
                <a:gd name="T53" fmla="*/ 46 h 48"/>
                <a:gd name="T54" fmla="*/ 10 w 48"/>
                <a:gd name="T55" fmla="*/ 46 h 48"/>
                <a:gd name="T56" fmla="*/ 7 w 48"/>
                <a:gd name="T57" fmla="*/ 44 h 48"/>
                <a:gd name="T58" fmla="*/ 4 w 48"/>
                <a:gd name="T59" fmla="*/ 45 h 48"/>
                <a:gd name="T60" fmla="*/ 0 w 48"/>
                <a:gd name="T61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" h="48">
                  <a:moveTo>
                    <a:pt x="0" y="45"/>
                  </a:moveTo>
                  <a:cubicBezTo>
                    <a:pt x="0" y="43"/>
                    <a:pt x="0" y="41"/>
                    <a:pt x="1" y="40"/>
                  </a:cubicBezTo>
                  <a:cubicBezTo>
                    <a:pt x="1" y="38"/>
                    <a:pt x="2" y="36"/>
                    <a:pt x="3" y="34"/>
                  </a:cubicBezTo>
                  <a:cubicBezTo>
                    <a:pt x="3" y="33"/>
                    <a:pt x="3" y="30"/>
                    <a:pt x="3" y="30"/>
                  </a:cubicBezTo>
                  <a:cubicBezTo>
                    <a:pt x="3" y="29"/>
                    <a:pt x="6" y="27"/>
                    <a:pt x="7" y="26"/>
                  </a:cubicBezTo>
                  <a:cubicBezTo>
                    <a:pt x="8" y="25"/>
                    <a:pt x="9" y="22"/>
                    <a:pt x="8" y="20"/>
                  </a:cubicBezTo>
                  <a:cubicBezTo>
                    <a:pt x="7" y="18"/>
                    <a:pt x="5" y="15"/>
                    <a:pt x="5" y="14"/>
                  </a:cubicBezTo>
                  <a:cubicBezTo>
                    <a:pt x="5" y="13"/>
                    <a:pt x="7" y="12"/>
                    <a:pt x="7" y="11"/>
                  </a:cubicBezTo>
                  <a:cubicBezTo>
                    <a:pt x="6" y="10"/>
                    <a:pt x="4" y="5"/>
                    <a:pt x="3" y="2"/>
                  </a:cubicBezTo>
                  <a:cubicBezTo>
                    <a:pt x="4" y="2"/>
                    <a:pt x="6" y="0"/>
                    <a:pt x="7" y="0"/>
                  </a:cubicBezTo>
                  <a:cubicBezTo>
                    <a:pt x="9" y="0"/>
                    <a:pt x="18" y="1"/>
                    <a:pt x="18" y="1"/>
                  </a:cubicBezTo>
                  <a:cubicBezTo>
                    <a:pt x="19" y="1"/>
                    <a:pt x="21" y="10"/>
                    <a:pt x="22" y="10"/>
                  </a:cubicBezTo>
                  <a:cubicBezTo>
                    <a:pt x="23" y="10"/>
                    <a:pt x="28" y="9"/>
                    <a:pt x="29" y="9"/>
                  </a:cubicBezTo>
                  <a:cubicBezTo>
                    <a:pt x="30" y="9"/>
                    <a:pt x="30" y="5"/>
                    <a:pt x="30" y="5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14"/>
                    <a:pt x="40" y="15"/>
                  </a:cubicBezTo>
                  <a:cubicBezTo>
                    <a:pt x="41" y="16"/>
                    <a:pt x="42" y="19"/>
                    <a:pt x="42" y="20"/>
                  </a:cubicBezTo>
                  <a:cubicBezTo>
                    <a:pt x="41" y="21"/>
                    <a:pt x="46" y="21"/>
                    <a:pt x="47" y="21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1" y="48"/>
                    <a:pt x="29" y="48"/>
                    <a:pt x="28" y="48"/>
                  </a:cubicBezTo>
                  <a:cubicBezTo>
                    <a:pt x="27" y="48"/>
                    <a:pt x="26" y="46"/>
                    <a:pt x="26" y="46"/>
                  </a:cubicBezTo>
                  <a:cubicBezTo>
                    <a:pt x="26" y="46"/>
                    <a:pt x="10" y="46"/>
                    <a:pt x="10" y="46"/>
                  </a:cubicBezTo>
                  <a:cubicBezTo>
                    <a:pt x="9" y="46"/>
                    <a:pt x="8" y="44"/>
                    <a:pt x="7" y="44"/>
                  </a:cubicBezTo>
                  <a:cubicBezTo>
                    <a:pt x="6" y="44"/>
                    <a:pt x="5" y="45"/>
                    <a:pt x="4" y="45"/>
                  </a:cubicBezTo>
                  <a:cubicBezTo>
                    <a:pt x="2" y="45"/>
                    <a:pt x="0" y="45"/>
                    <a:pt x="0" y="4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5" name="Freeform 6421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4588123" y="3975948"/>
              <a:ext cx="184366" cy="214315"/>
            </a:xfrm>
            <a:custGeom>
              <a:avLst/>
              <a:gdLst>
                <a:gd name="T0" fmla="*/ 4 w 30"/>
                <a:gd name="T1" fmla="*/ 32 h 33"/>
                <a:gd name="T2" fmla="*/ 0 w 30"/>
                <a:gd name="T3" fmla="*/ 28 h 33"/>
                <a:gd name="T4" fmla="*/ 3 w 30"/>
                <a:gd name="T5" fmla="*/ 27 h 33"/>
                <a:gd name="T6" fmla="*/ 4 w 30"/>
                <a:gd name="T7" fmla="*/ 28 h 33"/>
                <a:gd name="T8" fmla="*/ 5 w 30"/>
                <a:gd name="T9" fmla="*/ 25 h 33"/>
                <a:gd name="T10" fmla="*/ 3 w 30"/>
                <a:gd name="T11" fmla="*/ 24 h 33"/>
                <a:gd name="T12" fmla="*/ 3 w 30"/>
                <a:gd name="T13" fmla="*/ 21 h 33"/>
                <a:gd name="T14" fmla="*/ 12 w 30"/>
                <a:gd name="T15" fmla="*/ 23 h 33"/>
                <a:gd name="T16" fmla="*/ 14 w 30"/>
                <a:gd name="T17" fmla="*/ 17 h 33"/>
                <a:gd name="T18" fmla="*/ 11 w 30"/>
                <a:gd name="T19" fmla="*/ 13 h 33"/>
                <a:gd name="T20" fmla="*/ 14 w 30"/>
                <a:gd name="T21" fmla="*/ 10 h 33"/>
                <a:gd name="T22" fmla="*/ 9 w 30"/>
                <a:gd name="T23" fmla="*/ 9 h 33"/>
                <a:gd name="T24" fmla="*/ 9 w 30"/>
                <a:gd name="T25" fmla="*/ 7 h 33"/>
                <a:gd name="T26" fmla="*/ 9 w 30"/>
                <a:gd name="T27" fmla="*/ 5 h 33"/>
                <a:gd name="T28" fmla="*/ 9 w 30"/>
                <a:gd name="T29" fmla="*/ 5 h 33"/>
                <a:gd name="T30" fmla="*/ 13 w 30"/>
                <a:gd name="T31" fmla="*/ 5 h 33"/>
                <a:gd name="T32" fmla="*/ 20 w 30"/>
                <a:gd name="T33" fmla="*/ 7 h 33"/>
                <a:gd name="T34" fmla="*/ 20 w 30"/>
                <a:gd name="T35" fmla="*/ 4 h 33"/>
                <a:gd name="T36" fmla="*/ 22 w 30"/>
                <a:gd name="T37" fmla="*/ 3 h 33"/>
                <a:gd name="T38" fmla="*/ 23 w 30"/>
                <a:gd name="T39" fmla="*/ 0 h 33"/>
                <a:gd name="T40" fmla="*/ 30 w 30"/>
                <a:gd name="T41" fmla="*/ 0 h 33"/>
                <a:gd name="T42" fmla="*/ 29 w 30"/>
                <a:gd name="T43" fmla="*/ 5 h 33"/>
                <a:gd name="T44" fmla="*/ 27 w 30"/>
                <a:gd name="T45" fmla="*/ 13 h 33"/>
                <a:gd name="T46" fmla="*/ 23 w 30"/>
                <a:gd name="T47" fmla="*/ 18 h 33"/>
                <a:gd name="T48" fmla="*/ 20 w 30"/>
                <a:gd name="T49" fmla="*/ 25 h 33"/>
                <a:gd name="T50" fmla="*/ 16 w 30"/>
                <a:gd name="T51" fmla="*/ 32 h 33"/>
                <a:gd name="T52" fmla="*/ 13 w 30"/>
                <a:gd name="T53" fmla="*/ 30 h 33"/>
                <a:gd name="T54" fmla="*/ 11 w 30"/>
                <a:gd name="T55" fmla="*/ 31 h 33"/>
                <a:gd name="T56" fmla="*/ 7 w 30"/>
                <a:gd name="T57" fmla="*/ 31 h 33"/>
                <a:gd name="T58" fmla="*/ 4 w 30"/>
                <a:gd name="T59" fmla="*/ 32 h 33"/>
                <a:gd name="T60" fmla="*/ 4 w 30"/>
                <a:gd name="T61" fmla="*/ 3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" h="33">
                  <a:moveTo>
                    <a:pt x="4" y="32"/>
                  </a:moveTo>
                  <a:cubicBezTo>
                    <a:pt x="3" y="31"/>
                    <a:pt x="2" y="30"/>
                    <a:pt x="0" y="28"/>
                  </a:cubicBezTo>
                  <a:cubicBezTo>
                    <a:pt x="1" y="28"/>
                    <a:pt x="2" y="27"/>
                    <a:pt x="3" y="2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11" y="23"/>
                    <a:pt x="12" y="23"/>
                  </a:cubicBezTo>
                  <a:cubicBezTo>
                    <a:pt x="13" y="23"/>
                    <a:pt x="15" y="18"/>
                    <a:pt x="14" y="17"/>
                  </a:cubicBezTo>
                  <a:cubicBezTo>
                    <a:pt x="13" y="15"/>
                    <a:pt x="11" y="14"/>
                    <a:pt x="11" y="13"/>
                  </a:cubicBezTo>
                  <a:cubicBezTo>
                    <a:pt x="12" y="12"/>
                    <a:pt x="15" y="11"/>
                    <a:pt x="14" y="10"/>
                  </a:cubicBezTo>
                  <a:cubicBezTo>
                    <a:pt x="12" y="9"/>
                    <a:pt x="10" y="10"/>
                    <a:pt x="9" y="9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3" y="5"/>
                    <a:pt x="13" y="5"/>
                  </a:cubicBezTo>
                  <a:cubicBezTo>
                    <a:pt x="15" y="5"/>
                    <a:pt x="19" y="8"/>
                    <a:pt x="20" y="7"/>
                  </a:cubicBezTo>
                  <a:cubicBezTo>
                    <a:pt x="21" y="7"/>
                    <a:pt x="21" y="5"/>
                    <a:pt x="20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29" y="4"/>
                    <a:pt x="29" y="5"/>
                  </a:cubicBezTo>
                  <a:cubicBezTo>
                    <a:pt x="28" y="6"/>
                    <a:pt x="27" y="11"/>
                    <a:pt x="27" y="13"/>
                  </a:cubicBezTo>
                  <a:cubicBezTo>
                    <a:pt x="27" y="15"/>
                    <a:pt x="25" y="17"/>
                    <a:pt x="23" y="18"/>
                  </a:cubicBezTo>
                  <a:cubicBezTo>
                    <a:pt x="21" y="19"/>
                    <a:pt x="20" y="23"/>
                    <a:pt x="20" y="25"/>
                  </a:cubicBezTo>
                  <a:cubicBezTo>
                    <a:pt x="20" y="28"/>
                    <a:pt x="17" y="31"/>
                    <a:pt x="16" y="32"/>
                  </a:cubicBezTo>
                  <a:cubicBezTo>
                    <a:pt x="15" y="33"/>
                    <a:pt x="14" y="30"/>
                    <a:pt x="13" y="30"/>
                  </a:cubicBezTo>
                  <a:cubicBezTo>
                    <a:pt x="13" y="31"/>
                    <a:pt x="12" y="31"/>
                    <a:pt x="11" y="31"/>
                  </a:cubicBezTo>
                  <a:cubicBezTo>
                    <a:pt x="9" y="32"/>
                    <a:pt x="8" y="31"/>
                    <a:pt x="7" y="31"/>
                  </a:cubicBezTo>
                  <a:cubicBezTo>
                    <a:pt x="6" y="31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6" name="Freeform 6422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4531875" y="4009436"/>
              <a:ext cx="146868" cy="147341"/>
            </a:xfrm>
            <a:custGeom>
              <a:avLst/>
              <a:gdLst>
                <a:gd name="T0" fmla="*/ 2 w 24"/>
                <a:gd name="T1" fmla="*/ 15 h 23"/>
                <a:gd name="T2" fmla="*/ 0 w 24"/>
                <a:gd name="T3" fmla="*/ 11 h 23"/>
                <a:gd name="T4" fmla="*/ 3 w 24"/>
                <a:gd name="T5" fmla="*/ 10 h 23"/>
                <a:gd name="T6" fmla="*/ 3 w 24"/>
                <a:gd name="T7" fmla="*/ 7 h 23"/>
                <a:gd name="T8" fmla="*/ 4 w 24"/>
                <a:gd name="T9" fmla="*/ 5 h 23"/>
                <a:gd name="T10" fmla="*/ 4 w 24"/>
                <a:gd name="T11" fmla="*/ 3 h 23"/>
                <a:gd name="T12" fmla="*/ 6 w 24"/>
                <a:gd name="T13" fmla="*/ 0 h 23"/>
                <a:gd name="T14" fmla="*/ 18 w 24"/>
                <a:gd name="T15" fmla="*/ 0 h 23"/>
                <a:gd name="T16" fmla="*/ 18 w 24"/>
                <a:gd name="T17" fmla="*/ 0 h 23"/>
                <a:gd name="T18" fmla="*/ 18 w 24"/>
                <a:gd name="T19" fmla="*/ 2 h 23"/>
                <a:gd name="T20" fmla="*/ 18 w 24"/>
                <a:gd name="T21" fmla="*/ 4 h 23"/>
                <a:gd name="T22" fmla="*/ 23 w 24"/>
                <a:gd name="T23" fmla="*/ 5 h 23"/>
                <a:gd name="T24" fmla="*/ 20 w 24"/>
                <a:gd name="T25" fmla="*/ 8 h 23"/>
                <a:gd name="T26" fmla="*/ 23 w 24"/>
                <a:gd name="T27" fmla="*/ 12 h 23"/>
                <a:gd name="T28" fmla="*/ 21 w 24"/>
                <a:gd name="T29" fmla="*/ 18 h 23"/>
                <a:gd name="T30" fmla="*/ 12 w 24"/>
                <a:gd name="T31" fmla="*/ 16 h 23"/>
                <a:gd name="T32" fmla="*/ 12 w 24"/>
                <a:gd name="T33" fmla="*/ 19 h 23"/>
                <a:gd name="T34" fmla="*/ 14 w 24"/>
                <a:gd name="T35" fmla="*/ 20 h 23"/>
                <a:gd name="T36" fmla="*/ 13 w 24"/>
                <a:gd name="T37" fmla="*/ 23 h 23"/>
                <a:gd name="T38" fmla="*/ 12 w 24"/>
                <a:gd name="T39" fmla="*/ 22 h 23"/>
                <a:gd name="T40" fmla="*/ 9 w 24"/>
                <a:gd name="T41" fmla="*/ 23 h 23"/>
                <a:gd name="T42" fmla="*/ 7 w 24"/>
                <a:gd name="T43" fmla="*/ 21 h 23"/>
                <a:gd name="T44" fmla="*/ 2 w 24"/>
                <a:gd name="T45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3">
                  <a:moveTo>
                    <a:pt x="2" y="15"/>
                  </a:moveTo>
                  <a:cubicBezTo>
                    <a:pt x="1" y="14"/>
                    <a:pt x="0" y="12"/>
                    <a:pt x="0" y="11"/>
                  </a:cubicBezTo>
                  <a:cubicBezTo>
                    <a:pt x="0" y="11"/>
                    <a:pt x="3" y="11"/>
                    <a:pt x="3" y="10"/>
                  </a:cubicBezTo>
                  <a:cubicBezTo>
                    <a:pt x="3" y="9"/>
                    <a:pt x="3" y="8"/>
                    <a:pt x="3" y="7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4"/>
                    <a:pt x="3" y="4"/>
                    <a:pt x="4" y="3"/>
                  </a:cubicBezTo>
                  <a:cubicBezTo>
                    <a:pt x="4" y="2"/>
                    <a:pt x="5" y="1"/>
                    <a:pt x="6" y="0"/>
                  </a:cubicBezTo>
                  <a:cubicBezTo>
                    <a:pt x="6" y="0"/>
                    <a:pt x="13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4"/>
                  </a:cubicBezTo>
                  <a:cubicBezTo>
                    <a:pt x="19" y="5"/>
                    <a:pt x="21" y="4"/>
                    <a:pt x="23" y="5"/>
                  </a:cubicBezTo>
                  <a:cubicBezTo>
                    <a:pt x="24" y="6"/>
                    <a:pt x="21" y="7"/>
                    <a:pt x="20" y="8"/>
                  </a:cubicBezTo>
                  <a:cubicBezTo>
                    <a:pt x="20" y="9"/>
                    <a:pt x="22" y="10"/>
                    <a:pt x="23" y="12"/>
                  </a:cubicBezTo>
                  <a:cubicBezTo>
                    <a:pt x="24" y="13"/>
                    <a:pt x="22" y="18"/>
                    <a:pt x="21" y="18"/>
                  </a:cubicBezTo>
                  <a:cubicBezTo>
                    <a:pt x="20" y="18"/>
                    <a:pt x="12" y="16"/>
                    <a:pt x="12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2" y="22"/>
                  </a:cubicBezTo>
                  <a:cubicBezTo>
                    <a:pt x="11" y="22"/>
                    <a:pt x="10" y="23"/>
                    <a:pt x="9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5" y="19"/>
                    <a:pt x="3" y="16"/>
                    <a:pt x="2" y="1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7" name="Freeform 6423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4531875" y="3731495"/>
              <a:ext cx="184366" cy="298033"/>
            </a:xfrm>
            <a:custGeom>
              <a:avLst/>
              <a:gdLst>
                <a:gd name="T0" fmla="*/ 0 w 30"/>
                <a:gd name="T1" fmla="*/ 34 h 46"/>
                <a:gd name="T2" fmla="*/ 1 w 30"/>
                <a:gd name="T3" fmla="*/ 29 h 46"/>
                <a:gd name="T4" fmla="*/ 6 w 30"/>
                <a:gd name="T5" fmla="*/ 25 h 46"/>
                <a:gd name="T6" fmla="*/ 9 w 30"/>
                <a:gd name="T7" fmla="*/ 25 h 46"/>
                <a:gd name="T8" fmla="*/ 11 w 30"/>
                <a:gd name="T9" fmla="*/ 27 h 46"/>
                <a:gd name="T10" fmla="*/ 14 w 30"/>
                <a:gd name="T11" fmla="*/ 20 h 46"/>
                <a:gd name="T12" fmla="*/ 18 w 30"/>
                <a:gd name="T13" fmla="*/ 14 h 46"/>
                <a:gd name="T14" fmla="*/ 20 w 30"/>
                <a:gd name="T15" fmla="*/ 8 h 46"/>
                <a:gd name="T16" fmla="*/ 22 w 30"/>
                <a:gd name="T17" fmla="*/ 6 h 46"/>
                <a:gd name="T18" fmla="*/ 21 w 30"/>
                <a:gd name="T19" fmla="*/ 4 h 46"/>
                <a:gd name="T20" fmla="*/ 20 w 30"/>
                <a:gd name="T21" fmla="*/ 1 h 46"/>
                <a:gd name="T22" fmla="*/ 22 w 30"/>
                <a:gd name="T23" fmla="*/ 0 h 46"/>
                <a:gd name="T24" fmla="*/ 24 w 30"/>
                <a:gd name="T25" fmla="*/ 2 h 46"/>
                <a:gd name="T26" fmla="*/ 26 w 30"/>
                <a:gd name="T27" fmla="*/ 5 h 46"/>
                <a:gd name="T28" fmla="*/ 28 w 30"/>
                <a:gd name="T29" fmla="*/ 13 h 46"/>
                <a:gd name="T30" fmla="*/ 22 w 30"/>
                <a:gd name="T31" fmla="*/ 13 h 46"/>
                <a:gd name="T32" fmla="*/ 21 w 30"/>
                <a:gd name="T33" fmla="*/ 14 h 46"/>
                <a:gd name="T34" fmla="*/ 26 w 30"/>
                <a:gd name="T35" fmla="*/ 20 h 46"/>
                <a:gd name="T36" fmla="*/ 26 w 30"/>
                <a:gd name="T37" fmla="*/ 23 h 46"/>
                <a:gd name="T38" fmla="*/ 25 w 30"/>
                <a:gd name="T39" fmla="*/ 25 h 46"/>
                <a:gd name="T40" fmla="*/ 23 w 30"/>
                <a:gd name="T41" fmla="*/ 32 h 46"/>
                <a:gd name="T42" fmla="*/ 29 w 30"/>
                <a:gd name="T43" fmla="*/ 40 h 46"/>
                <a:gd name="T44" fmla="*/ 30 w 30"/>
                <a:gd name="T45" fmla="*/ 42 h 46"/>
                <a:gd name="T46" fmla="*/ 30 w 30"/>
                <a:gd name="T47" fmla="*/ 45 h 46"/>
                <a:gd name="T48" fmla="*/ 22 w 30"/>
                <a:gd name="T49" fmla="*/ 43 h 46"/>
                <a:gd name="T50" fmla="*/ 18 w 30"/>
                <a:gd name="T51" fmla="*/ 43 h 46"/>
                <a:gd name="T52" fmla="*/ 6 w 30"/>
                <a:gd name="T53" fmla="*/ 43 h 46"/>
                <a:gd name="T54" fmla="*/ 6 w 30"/>
                <a:gd name="T55" fmla="*/ 42 h 46"/>
                <a:gd name="T56" fmla="*/ 5 w 30"/>
                <a:gd name="T57" fmla="*/ 38 h 46"/>
                <a:gd name="T58" fmla="*/ 0 w 30"/>
                <a:gd name="T59" fmla="*/ 34 h 46"/>
                <a:gd name="T60" fmla="*/ 0 w 30"/>
                <a:gd name="T61" fmla="*/ 3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" h="46">
                  <a:moveTo>
                    <a:pt x="0" y="34"/>
                  </a:moveTo>
                  <a:cubicBezTo>
                    <a:pt x="0" y="34"/>
                    <a:pt x="0" y="31"/>
                    <a:pt x="1" y="29"/>
                  </a:cubicBezTo>
                  <a:cubicBezTo>
                    <a:pt x="2" y="28"/>
                    <a:pt x="5" y="25"/>
                    <a:pt x="6" y="25"/>
                  </a:cubicBezTo>
                  <a:cubicBezTo>
                    <a:pt x="7" y="25"/>
                    <a:pt x="8" y="25"/>
                    <a:pt x="9" y="25"/>
                  </a:cubicBezTo>
                  <a:cubicBezTo>
                    <a:pt x="9" y="25"/>
                    <a:pt x="10" y="27"/>
                    <a:pt x="11" y="27"/>
                  </a:cubicBezTo>
                  <a:cubicBezTo>
                    <a:pt x="12" y="26"/>
                    <a:pt x="13" y="22"/>
                    <a:pt x="14" y="20"/>
                  </a:cubicBezTo>
                  <a:cubicBezTo>
                    <a:pt x="16" y="18"/>
                    <a:pt x="18" y="16"/>
                    <a:pt x="18" y="14"/>
                  </a:cubicBezTo>
                  <a:cubicBezTo>
                    <a:pt x="18" y="13"/>
                    <a:pt x="19" y="9"/>
                    <a:pt x="20" y="8"/>
                  </a:cubicBezTo>
                  <a:cubicBezTo>
                    <a:pt x="21" y="7"/>
                    <a:pt x="23" y="7"/>
                    <a:pt x="22" y="6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2" y="0"/>
                    <a:pt x="22" y="0"/>
                  </a:cubicBezTo>
                  <a:cubicBezTo>
                    <a:pt x="23" y="0"/>
                    <a:pt x="23" y="1"/>
                    <a:pt x="24" y="2"/>
                  </a:cubicBezTo>
                  <a:cubicBezTo>
                    <a:pt x="25" y="4"/>
                    <a:pt x="26" y="3"/>
                    <a:pt x="26" y="5"/>
                  </a:cubicBezTo>
                  <a:cubicBezTo>
                    <a:pt x="26" y="7"/>
                    <a:pt x="28" y="12"/>
                    <a:pt x="28" y="13"/>
                  </a:cubicBezTo>
                  <a:cubicBezTo>
                    <a:pt x="27" y="14"/>
                    <a:pt x="22" y="13"/>
                    <a:pt x="22" y="13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5" y="18"/>
                    <a:pt x="26" y="20"/>
                  </a:cubicBezTo>
                  <a:cubicBezTo>
                    <a:pt x="27" y="21"/>
                    <a:pt x="27" y="22"/>
                    <a:pt x="26" y="23"/>
                  </a:cubicBezTo>
                  <a:cubicBezTo>
                    <a:pt x="26" y="24"/>
                    <a:pt x="26" y="24"/>
                    <a:pt x="25" y="25"/>
                  </a:cubicBezTo>
                  <a:cubicBezTo>
                    <a:pt x="24" y="27"/>
                    <a:pt x="23" y="31"/>
                    <a:pt x="23" y="32"/>
                  </a:cubicBezTo>
                  <a:cubicBezTo>
                    <a:pt x="24" y="34"/>
                    <a:pt x="28" y="39"/>
                    <a:pt x="29" y="40"/>
                  </a:cubicBezTo>
                  <a:cubicBezTo>
                    <a:pt x="29" y="40"/>
                    <a:pt x="30" y="41"/>
                    <a:pt x="30" y="42"/>
                  </a:cubicBezTo>
                  <a:cubicBezTo>
                    <a:pt x="30" y="43"/>
                    <a:pt x="30" y="45"/>
                    <a:pt x="30" y="45"/>
                  </a:cubicBezTo>
                  <a:cubicBezTo>
                    <a:pt x="29" y="46"/>
                    <a:pt x="24" y="43"/>
                    <a:pt x="22" y="43"/>
                  </a:cubicBezTo>
                  <a:cubicBezTo>
                    <a:pt x="22" y="43"/>
                    <a:pt x="20" y="43"/>
                    <a:pt x="18" y="43"/>
                  </a:cubicBezTo>
                  <a:cubicBezTo>
                    <a:pt x="14" y="43"/>
                    <a:pt x="6" y="43"/>
                    <a:pt x="6" y="43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39"/>
                    <a:pt x="5" y="38"/>
                  </a:cubicBezTo>
                  <a:cubicBezTo>
                    <a:pt x="3" y="37"/>
                    <a:pt x="0" y="34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8" name="Freeform 6426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4559999" y="2726891"/>
              <a:ext cx="171867" cy="83717"/>
            </a:xfrm>
            <a:custGeom>
              <a:avLst/>
              <a:gdLst>
                <a:gd name="T0" fmla="*/ 3 w 29"/>
                <a:gd name="T1" fmla="*/ 10 h 13"/>
                <a:gd name="T2" fmla="*/ 0 w 29"/>
                <a:gd name="T3" fmla="*/ 10 h 13"/>
                <a:gd name="T4" fmla="*/ 0 w 29"/>
                <a:gd name="T5" fmla="*/ 7 h 13"/>
                <a:gd name="T6" fmla="*/ 1 w 29"/>
                <a:gd name="T7" fmla="*/ 7 h 13"/>
                <a:gd name="T8" fmla="*/ 3 w 29"/>
                <a:gd name="T9" fmla="*/ 8 h 13"/>
                <a:gd name="T10" fmla="*/ 7 w 29"/>
                <a:gd name="T11" fmla="*/ 7 h 13"/>
                <a:gd name="T12" fmla="*/ 12 w 29"/>
                <a:gd name="T13" fmla="*/ 6 h 13"/>
                <a:gd name="T14" fmla="*/ 13 w 29"/>
                <a:gd name="T15" fmla="*/ 4 h 13"/>
                <a:gd name="T16" fmla="*/ 16 w 29"/>
                <a:gd name="T17" fmla="*/ 2 h 13"/>
                <a:gd name="T18" fmla="*/ 19 w 29"/>
                <a:gd name="T19" fmla="*/ 2 h 13"/>
                <a:gd name="T20" fmla="*/ 21 w 29"/>
                <a:gd name="T21" fmla="*/ 0 h 13"/>
                <a:gd name="T22" fmla="*/ 25 w 29"/>
                <a:gd name="T23" fmla="*/ 1 h 13"/>
                <a:gd name="T24" fmla="*/ 29 w 29"/>
                <a:gd name="T25" fmla="*/ 2 h 13"/>
                <a:gd name="T26" fmla="*/ 29 w 29"/>
                <a:gd name="T27" fmla="*/ 4 h 13"/>
                <a:gd name="T28" fmla="*/ 29 w 29"/>
                <a:gd name="T29" fmla="*/ 5 h 13"/>
                <a:gd name="T30" fmla="*/ 29 w 29"/>
                <a:gd name="T31" fmla="*/ 7 h 13"/>
                <a:gd name="T32" fmla="*/ 27 w 29"/>
                <a:gd name="T33" fmla="*/ 6 h 13"/>
                <a:gd name="T34" fmla="*/ 27 w 29"/>
                <a:gd name="T35" fmla="*/ 9 h 13"/>
                <a:gd name="T36" fmla="*/ 25 w 29"/>
                <a:gd name="T37" fmla="*/ 10 h 13"/>
                <a:gd name="T38" fmla="*/ 22 w 29"/>
                <a:gd name="T39" fmla="*/ 11 h 13"/>
                <a:gd name="T40" fmla="*/ 19 w 29"/>
                <a:gd name="T41" fmla="*/ 13 h 13"/>
                <a:gd name="T42" fmla="*/ 15 w 29"/>
                <a:gd name="T43" fmla="*/ 12 h 13"/>
                <a:gd name="T44" fmla="*/ 12 w 29"/>
                <a:gd name="T45" fmla="*/ 12 h 13"/>
                <a:gd name="T46" fmla="*/ 10 w 29"/>
                <a:gd name="T47" fmla="*/ 10 h 13"/>
                <a:gd name="T48" fmla="*/ 7 w 29"/>
                <a:gd name="T49" fmla="*/ 10 h 13"/>
                <a:gd name="T50" fmla="*/ 6 w 29"/>
                <a:gd name="T51" fmla="*/ 11 h 13"/>
                <a:gd name="T52" fmla="*/ 3 w 29"/>
                <a:gd name="T53" fmla="*/ 11 h 13"/>
                <a:gd name="T54" fmla="*/ 3 w 29"/>
                <a:gd name="T55" fmla="*/ 11 h 13"/>
                <a:gd name="T56" fmla="*/ 3 w 29"/>
                <a:gd name="T57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13">
                  <a:moveTo>
                    <a:pt x="3" y="10"/>
                  </a:moveTo>
                  <a:cubicBezTo>
                    <a:pt x="2" y="10"/>
                    <a:pt x="0" y="10"/>
                    <a:pt x="0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8"/>
                    <a:pt x="3" y="8"/>
                  </a:cubicBezTo>
                  <a:cubicBezTo>
                    <a:pt x="4" y="8"/>
                    <a:pt x="7" y="7"/>
                    <a:pt x="7" y="7"/>
                  </a:cubicBezTo>
                  <a:cubicBezTo>
                    <a:pt x="8" y="7"/>
                    <a:pt x="11" y="6"/>
                    <a:pt x="12" y="6"/>
                  </a:cubicBezTo>
                  <a:cubicBezTo>
                    <a:pt x="14" y="8"/>
                    <a:pt x="13" y="4"/>
                    <a:pt x="13" y="4"/>
                  </a:cubicBezTo>
                  <a:cubicBezTo>
                    <a:pt x="14" y="3"/>
                    <a:pt x="16" y="3"/>
                    <a:pt x="16" y="2"/>
                  </a:cubicBezTo>
                  <a:cubicBezTo>
                    <a:pt x="16" y="2"/>
                    <a:pt x="18" y="2"/>
                    <a:pt x="19" y="2"/>
                  </a:cubicBezTo>
                  <a:cubicBezTo>
                    <a:pt x="20" y="2"/>
                    <a:pt x="21" y="0"/>
                    <a:pt x="21" y="0"/>
                  </a:cubicBezTo>
                  <a:cubicBezTo>
                    <a:pt x="22" y="0"/>
                    <a:pt x="24" y="1"/>
                    <a:pt x="25" y="1"/>
                  </a:cubicBezTo>
                  <a:cubicBezTo>
                    <a:pt x="25" y="1"/>
                    <a:pt x="28" y="2"/>
                    <a:pt x="29" y="2"/>
                  </a:cubicBezTo>
                  <a:cubicBezTo>
                    <a:pt x="29" y="2"/>
                    <a:pt x="29" y="4"/>
                    <a:pt x="29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6"/>
                    <a:pt x="29" y="6"/>
                    <a:pt x="29" y="7"/>
                  </a:cubicBezTo>
                  <a:cubicBezTo>
                    <a:pt x="29" y="7"/>
                    <a:pt x="28" y="6"/>
                    <a:pt x="27" y="6"/>
                  </a:cubicBezTo>
                  <a:cubicBezTo>
                    <a:pt x="27" y="7"/>
                    <a:pt x="27" y="8"/>
                    <a:pt x="27" y="9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5" y="11"/>
                    <a:pt x="23" y="11"/>
                    <a:pt x="22" y="11"/>
                  </a:cubicBezTo>
                  <a:cubicBezTo>
                    <a:pt x="21" y="11"/>
                    <a:pt x="19" y="13"/>
                    <a:pt x="19" y="13"/>
                  </a:cubicBezTo>
                  <a:cubicBezTo>
                    <a:pt x="19" y="13"/>
                    <a:pt x="17" y="12"/>
                    <a:pt x="15" y="12"/>
                  </a:cubicBezTo>
                  <a:cubicBezTo>
                    <a:pt x="14" y="12"/>
                    <a:pt x="12" y="12"/>
                    <a:pt x="12" y="12"/>
                  </a:cubicBezTo>
                  <a:cubicBezTo>
                    <a:pt x="11" y="11"/>
                    <a:pt x="10" y="10"/>
                    <a:pt x="10" y="10"/>
                  </a:cubicBezTo>
                  <a:cubicBezTo>
                    <a:pt x="9" y="10"/>
                    <a:pt x="7" y="10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69" name="Freeform 6427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4575623" y="2492484"/>
              <a:ext cx="43748" cy="46882"/>
            </a:xfrm>
            <a:custGeom>
              <a:avLst/>
              <a:gdLst>
                <a:gd name="T0" fmla="*/ 0 w 7"/>
                <a:gd name="T1" fmla="*/ 4 h 7"/>
                <a:gd name="T2" fmla="*/ 0 w 7"/>
                <a:gd name="T3" fmla="*/ 2 h 7"/>
                <a:gd name="T4" fmla="*/ 3 w 7"/>
                <a:gd name="T5" fmla="*/ 1 h 7"/>
                <a:gd name="T6" fmla="*/ 6 w 7"/>
                <a:gd name="T7" fmla="*/ 0 h 7"/>
                <a:gd name="T8" fmla="*/ 6 w 7"/>
                <a:gd name="T9" fmla="*/ 2 h 7"/>
                <a:gd name="T10" fmla="*/ 6 w 7"/>
                <a:gd name="T11" fmla="*/ 3 h 7"/>
                <a:gd name="T12" fmla="*/ 6 w 7"/>
                <a:gd name="T13" fmla="*/ 4 h 7"/>
                <a:gd name="T14" fmla="*/ 6 w 7"/>
                <a:gd name="T15" fmla="*/ 6 h 7"/>
                <a:gd name="T16" fmla="*/ 5 w 7"/>
                <a:gd name="T17" fmla="*/ 7 h 7"/>
                <a:gd name="T18" fmla="*/ 3 w 7"/>
                <a:gd name="T19" fmla="*/ 5 h 7"/>
                <a:gd name="T20" fmla="*/ 0 w 7"/>
                <a:gd name="T2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7">
                  <a:moveTo>
                    <a:pt x="0" y="4"/>
                  </a:moveTo>
                  <a:cubicBezTo>
                    <a:pt x="0" y="4"/>
                    <a:pt x="0" y="2"/>
                    <a:pt x="0" y="2"/>
                  </a:cubicBezTo>
                  <a:cubicBezTo>
                    <a:pt x="0" y="2"/>
                    <a:pt x="3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6" y="2"/>
                    <a:pt x="6" y="2"/>
                  </a:cubicBezTo>
                  <a:cubicBezTo>
                    <a:pt x="7" y="3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5" y="6"/>
                    <a:pt x="6" y="7"/>
                    <a:pt x="5" y="7"/>
                  </a:cubicBezTo>
                  <a:cubicBezTo>
                    <a:pt x="5" y="7"/>
                    <a:pt x="4" y="5"/>
                    <a:pt x="3" y="5"/>
                  </a:cubicBezTo>
                  <a:cubicBezTo>
                    <a:pt x="3" y="5"/>
                    <a:pt x="1" y="5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0" name="Freeform 6428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4522501" y="2435556"/>
              <a:ext cx="65622" cy="93763"/>
            </a:xfrm>
            <a:custGeom>
              <a:avLst/>
              <a:gdLst>
                <a:gd name="T0" fmla="*/ 0 w 11"/>
                <a:gd name="T1" fmla="*/ 10 h 15"/>
                <a:gd name="T2" fmla="*/ 1 w 11"/>
                <a:gd name="T3" fmla="*/ 3 h 15"/>
                <a:gd name="T4" fmla="*/ 6 w 11"/>
                <a:gd name="T5" fmla="*/ 2 h 15"/>
                <a:gd name="T6" fmla="*/ 8 w 11"/>
                <a:gd name="T7" fmla="*/ 0 h 15"/>
                <a:gd name="T8" fmla="*/ 9 w 11"/>
                <a:gd name="T9" fmla="*/ 1 h 15"/>
                <a:gd name="T10" fmla="*/ 8 w 11"/>
                <a:gd name="T11" fmla="*/ 5 h 15"/>
                <a:gd name="T12" fmla="*/ 11 w 11"/>
                <a:gd name="T13" fmla="*/ 7 h 15"/>
                <a:gd name="T14" fmla="*/ 6 w 11"/>
                <a:gd name="T15" fmla="*/ 10 h 15"/>
                <a:gd name="T16" fmla="*/ 6 w 11"/>
                <a:gd name="T17" fmla="*/ 13 h 15"/>
                <a:gd name="T18" fmla="*/ 6 w 11"/>
                <a:gd name="T19" fmla="*/ 15 h 15"/>
                <a:gd name="T20" fmla="*/ 1 w 11"/>
                <a:gd name="T21" fmla="*/ 15 h 15"/>
                <a:gd name="T22" fmla="*/ 2 w 11"/>
                <a:gd name="T23" fmla="*/ 12 h 15"/>
                <a:gd name="T24" fmla="*/ 0 w 11"/>
                <a:gd name="T25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9"/>
                    <a:pt x="0" y="4"/>
                    <a:pt x="1" y="3"/>
                  </a:cubicBezTo>
                  <a:cubicBezTo>
                    <a:pt x="2" y="3"/>
                    <a:pt x="5" y="3"/>
                    <a:pt x="6" y="2"/>
                  </a:cubicBezTo>
                  <a:cubicBezTo>
                    <a:pt x="6" y="2"/>
                    <a:pt x="6" y="0"/>
                    <a:pt x="8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1"/>
                    <a:pt x="8" y="4"/>
                    <a:pt x="8" y="5"/>
                  </a:cubicBezTo>
                  <a:cubicBezTo>
                    <a:pt x="9" y="5"/>
                    <a:pt x="11" y="7"/>
                    <a:pt x="11" y="7"/>
                  </a:cubicBezTo>
                  <a:cubicBezTo>
                    <a:pt x="11" y="8"/>
                    <a:pt x="7" y="9"/>
                    <a:pt x="6" y="10"/>
                  </a:cubicBezTo>
                  <a:cubicBezTo>
                    <a:pt x="6" y="10"/>
                    <a:pt x="6" y="12"/>
                    <a:pt x="6" y="13"/>
                  </a:cubicBezTo>
                  <a:cubicBezTo>
                    <a:pt x="6" y="13"/>
                    <a:pt x="6" y="14"/>
                    <a:pt x="6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2" y="13"/>
                    <a:pt x="2" y="12"/>
                  </a:cubicBezTo>
                  <a:cubicBezTo>
                    <a:pt x="2" y="11"/>
                    <a:pt x="0" y="11"/>
                    <a:pt x="0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1" name="Freeform 6429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4475628" y="2763728"/>
              <a:ext cx="99995" cy="66974"/>
            </a:xfrm>
            <a:custGeom>
              <a:avLst/>
              <a:gdLst>
                <a:gd name="T0" fmla="*/ 3 w 17"/>
                <a:gd name="T1" fmla="*/ 7 h 10"/>
                <a:gd name="T2" fmla="*/ 0 w 17"/>
                <a:gd name="T3" fmla="*/ 7 h 10"/>
                <a:gd name="T4" fmla="*/ 2 w 17"/>
                <a:gd name="T5" fmla="*/ 3 h 10"/>
                <a:gd name="T6" fmla="*/ 6 w 17"/>
                <a:gd name="T7" fmla="*/ 1 h 10"/>
                <a:gd name="T8" fmla="*/ 6 w 17"/>
                <a:gd name="T9" fmla="*/ 1 h 10"/>
                <a:gd name="T10" fmla="*/ 7 w 17"/>
                <a:gd name="T11" fmla="*/ 1 h 10"/>
                <a:gd name="T12" fmla="*/ 10 w 17"/>
                <a:gd name="T13" fmla="*/ 0 h 10"/>
                <a:gd name="T14" fmla="*/ 14 w 17"/>
                <a:gd name="T15" fmla="*/ 1 h 10"/>
                <a:gd name="T16" fmla="*/ 14 w 17"/>
                <a:gd name="T17" fmla="*/ 4 h 10"/>
                <a:gd name="T18" fmla="*/ 17 w 17"/>
                <a:gd name="T19" fmla="*/ 4 h 10"/>
                <a:gd name="T20" fmla="*/ 17 w 17"/>
                <a:gd name="T21" fmla="*/ 5 h 10"/>
                <a:gd name="T22" fmla="*/ 17 w 17"/>
                <a:gd name="T23" fmla="*/ 6 h 10"/>
                <a:gd name="T24" fmla="*/ 16 w 17"/>
                <a:gd name="T25" fmla="*/ 7 h 10"/>
                <a:gd name="T26" fmla="*/ 14 w 17"/>
                <a:gd name="T27" fmla="*/ 6 h 10"/>
                <a:gd name="T28" fmla="*/ 11 w 17"/>
                <a:gd name="T29" fmla="*/ 10 h 10"/>
                <a:gd name="T30" fmla="*/ 9 w 17"/>
                <a:gd name="T31" fmla="*/ 6 h 10"/>
                <a:gd name="T32" fmla="*/ 7 w 17"/>
                <a:gd name="T33" fmla="*/ 9 h 10"/>
                <a:gd name="T34" fmla="*/ 6 w 17"/>
                <a:gd name="T35" fmla="*/ 9 h 10"/>
                <a:gd name="T36" fmla="*/ 4 w 17"/>
                <a:gd name="T37" fmla="*/ 10 h 10"/>
                <a:gd name="T38" fmla="*/ 3 w 17"/>
                <a:gd name="T39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" h="10">
                  <a:moveTo>
                    <a:pt x="3" y="7"/>
                  </a:moveTo>
                  <a:cubicBezTo>
                    <a:pt x="2" y="7"/>
                    <a:pt x="0" y="8"/>
                    <a:pt x="0" y="7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10" y="0"/>
                    <a:pt x="10" y="0"/>
                  </a:cubicBezTo>
                  <a:cubicBezTo>
                    <a:pt x="11" y="0"/>
                    <a:pt x="13" y="1"/>
                    <a:pt x="14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6" y="4"/>
                    <a:pt x="17" y="4"/>
                  </a:cubicBezTo>
                  <a:cubicBezTo>
                    <a:pt x="17" y="4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6" y="7"/>
                    <a:pt x="16" y="7"/>
                  </a:cubicBezTo>
                  <a:cubicBezTo>
                    <a:pt x="16" y="8"/>
                    <a:pt x="14" y="6"/>
                    <a:pt x="14" y="6"/>
                  </a:cubicBezTo>
                  <a:cubicBezTo>
                    <a:pt x="13" y="6"/>
                    <a:pt x="12" y="9"/>
                    <a:pt x="11" y="10"/>
                  </a:cubicBezTo>
                  <a:cubicBezTo>
                    <a:pt x="11" y="10"/>
                    <a:pt x="10" y="6"/>
                    <a:pt x="9" y="6"/>
                  </a:cubicBezTo>
                  <a:cubicBezTo>
                    <a:pt x="9" y="6"/>
                    <a:pt x="8" y="8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8"/>
                    <a:pt x="4" y="8"/>
                    <a:pt x="3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2" name="Freeform 6430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4522501" y="2971345"/>
              <a:ext cx="37498" cy="73671"/>
            </a:xfrm>
            <a:custGeom>
              <a:avLst/>
              <a:gdLst>
                <a:gd name="T0" fmla="*/ 0 w 6"/>
                <a:gd name="T1" fmla="*/ 2 h 11"/>
                <a:gd name="T2" fmla="*/ 3 w 6"/>
                <a:gd name="T3" fmla="*/ 1 h 11"/>
                <a:gd name="T4" fmla="*/ 6 w 6"/>
                <a:gd name="T5" fmla="*/ 0 h 11"/>
                <a:gd name="T6" fmla="*/ 6 w 6"/>
                <a:gd name="T7" fmla="*/ 4 h 11"/>
                <a:gd name="T8" fmla="*/ 6 w 6"/>
                <a:gd name="T9" fmla="*/ 9 h 11"/>
                <a:gd name="T10" fmla="*/ 4 w 6"/>
                <a:gd name="T11" fmla="*/ 8 h 11"/>
                <a:gd name="T12" fmla="*/ 2 w 6"/>
                <a:gd name="T13" fmla="*/ 10 h 11"/>
                <a:gd name="T14" fmla="*/ 2 w 6"/>
                <a:gd name="T15" fmla="*/ 10 h 11"/>
                <a:gd name="T16" fmla="*/ 2 w 6"/>
                <a:gd name="T17" fmla="*/ 8 h 11"/>
                <a:gd name="T18" fmla="*/ 2 w 6"/>
                <a:gd name="T19" fmla="*/ 4 h 11"/>
                <a:gd name="T20" fmla="*/ 0 w 6"/>
                <a:gd name="T2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1">
                  <a:moveTo>
                    <a:pt x="0" y="2"/>
                  </a:moveTo>
                  <a:cubicBezTo>
                    <a:pt x="1" y="1"/>
                    <a:pt x="3" y="2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5"/>
                    <a:pt x="6" y="9"/>
                    <a:pt x="6" y="9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3" y="9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9"/>
                    <a:pt x="2" y="8"/>
                  </a:cubicBezTo>
                  <a:cubicBezTo>
                    <a:pt x="2" y="6"/>
                    <a:pt x="2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3" name="Freeform 6431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4488127" y="2790517"/>
              <a:ext cx="284361" cy="311427"/>
            </a:xfrm>
            <a:custGeom>
              <a:avLst/>
              <a:gdLst>
                <a:gd name="T0" fmla="*/ 2 w 47"/>
                <a:gd name="T1" fmla="*/ 13 h 48"/>
                <a:gd name="T2" fmla="*/ 1 w 47"/>
                <a:gd name="T3" fmla="*/ 10 h 48"/>
                <a:gd name="T4" fmla="*/ 2 w 47"/>
                <a:gd name="T5" fmla="*/ 7 h 48"/>
                <a:gd name="T6" fmla="*/ 2 w 47"/>
                <a:gd name="T7" fmla="*/ 6 h 48"/>
                <a:gd name="T8" fmla="*/ 4 w 47"/>
                <a:gd name="T9" fmla="*/ 5 h 48"/>
                <a:gd name="T10" fmla="*/ 6 w 47"/>
                <a:gd name="T11" fmla="*/ 5 h 48"/>
                <a:gd name="T12" fmla="*/ 7 w 47"/>
                <a:gd name="T13" fmla="*/ 2 h 48"/>
                <a:gd name="T14" fmla="*/ 10 w 47"/>
                <a:gd name="T15" fmla="*/ 6 h 48"/>
                <a:gd name="T16" fmla="*/ 12 w 47"/>
                <a:gd name="T17" fmla="*/ 2 h 48"/>
                <a:gd name="T18" fmla="*/ 14 w 47"/>
                <a:gd name="T19" fmla="*/ 3 h 48"/>
                <a:gd name="T20" fmla="*/ 15 w 47"/>
                <a:gd name="T21" fmla="*/ 2 h 48"/>
                <a:gd name="T22" fmla="*/ 15 w 47"/>
                <a:gd name="T23" fmla="*/ 2 h 48"/>
                <a:gd name="T24" fmla="*/ 15 w 47"/>
                <a:gd name="T25" fmla="*/ 2 h 48"/>
                <a:gd name="T26" fmla="*/ 18 w 47"/>
                <a:gd name="T27" fmla="*/ 2 h 48"/>
                <a:gd name="T28" fmla="*/ 19 w 47"/>
                <a:gd name="T29" fmla="*/ 0 h 48"/>
                <a:gd name="T30" fmla="*/ 22 w 47"/>
                <a:gd name="T31" fmla="*/ 0 h 48"/>
                <a:gd name="T32" fmla="*/ 24 w 47"/>
                <a:gd name="T33" fmla="*/ 2 h 48"/>
                <a:gd name="T34" fmla="*/ 27 w 47"/>
                <a:gd name="T35" fmla="*/ 2 h 48"/>
                <a:gd name="T36" fmla="*/ 27 w 47"/>
                <a:gd name="T37" fmla="*/ 6 h 48"/>
                <a:gd name="T38" fmla="*/ 22 w 47"/>
                <a:gd name="T39" fmla="*/ 8 h 48"/>
                <a:gd name="T40" fmla="*/ 23 w 47"/>
                <a:gd name="T41" fmla="*/ 11 h 48"/>
                <a:gd name="T42" fmla="*/ 22 w 47"/>
                <a:gd name="T43" fmla="*/ 14 h 48"/>
                <a:gd name="T44" fmla="*/ 28 w 47"/>
                <a:gd name="T45" fmla="*/ 17 h 48"/>
                <a:gd name="T46" fmla="*/ 31 w 47"/>
                <a:gd name="T47" fmla="*/ 23 h 48"/>
                <a:gd name="T48" fmla="*/ 35 w 47"/>
                <a:gd name="T49" fmla="*/ 24 h 48"/>
                <a:gd name="T50" fmla="*/ 38 w 47"/>
                <a:gd name="T51" fmla="*/ 25 h 48"/>
                <a:gd name="T52" fmla="*/ 37 w 47"/>
                <a:gd name="T53" fmla="*/ 27 h 48"/>
                <a:gd name="T54" fmla="*/ 44 w 47"/>
                <a:gd name="T55" fmla="*/ 30 h 48"/>
                <a:gd name="T56" fmla="*/ 47 w 47"/>
                <a:gd name="T57" fmla="*/ 33 h 48"/>
                <a:gd name="T58" fmla="*/ 46 w 47"/>
                <a:gd name="T59" fmla="*/ 34 h 48"/>
                <a:gd name="T60" fmla="*/ 41 w 47"/>
                <a:gd name="T61" fmla="*/ 32 h 48"/>
                <a:gd name="T62" fmla="*/ 40 w 47"/>
                <a:gd name="T63" fmla="*/ 35 h 48"/>
                <a:gd name="T64" fmla="*/ 42 w 47"/>
                <a:gd name="T65" fmla="*/ 36 h 48"/>
                <a:gd name="T66" fmla="*/ 42 w 47"/>
                <a:gd name="T67" fmla="*/ 38 h 48"/>
                <a:gd name="T68" fmla="*/ 40 w 47"/>
                <a:gd name="T69" fmla="*/ 39 h 48"/>
                <a:gd name="T70" fmla="*/ 37 w 47"/>
                <a:gd name="T71" fmla="*/ 42 h 48"/>
                <a:gd name="T72" fmla="*/ 35 w 47"/>
                <a:gd name="T73" fmla="*/ 42 h 48"/>
                <a:gd name="T74" fmla="*/ 34 w 47"/>
                <a:gd name="T75" fmla="*/ 43 h 48"/>
                <a:gd name="T76" fmla="*/ 33 w 47"/>
                <a:gd name="T77" fmla="*/ 47 h 48"/>
                <a:gd name="T78" fmla="*/ 31 w 47"/>
                <a:gd name="T79" fmla="*/ 47 h 48"/>
                <a:gd name="T80" fmla="*/ 28 w 47"/>
                <a:gd name="T81" fmla="*/ 45 h 48"/>
                <a:gd name="T82" fmla="*/ 23 w 47"/>
                <a:gd name="T83" fmla="*/ 42 h 48"/>
                <a:gd name="T84" fmla="*/ 26 w 47"/>
                <a:gd name="T85" fmla="*/ 41 h 48"/>
                <a:gd name="T86" fmla="*/ 33 w 47"/>
                <a:gd name="T87" fmla="*/ 41 h 48"/>
                <a:gd name="T88" fmla="*/ 35 w 47"/>
                <a:gd name="T89" fmla="*/ 40 h 48"/>
                <a:gd name="T90" fmla="*/ 37 w 47"/>
                <a:gd name="T91" fmla="*/ 38 h 48"/>
                <a:gd name="T92" fmla="*/ 35 w 47"/>
                <a:gd name="T93" fmla="*/ 33 h 48"/>
                <a:gd name="T94" fmla="*/ 33 w 47"/>
                <a:gd name="T95" fmla="*/ 32 h 48"/>
                <a:gd name="T96" fmla="*/ 28 w 47"/>
                <a:gd name="T97" fmla="*/ 28 h 48"/>
                <a:gd name="T98" fmla="*/ 24 w 47"/>
                <a:gd name="T99" fmla="*/ 27 h 48"/>
                <a:gd name="T100" fmla="*/ 19 w 47"/>
                <a:gd name="T101" fmla="*/ 22 h 48"/>
                <a:gd name="T102" fmla="*/ 16 w 47"/>
                <a:gd name="T103" fmla="*/ 19 h 48"/>
                <a:gd name="T104" fmla="*/ 14 w 47"/>
                <a:gd name="T105" fmla="*/ 14 h 48"/>
                <a:gd name="T106" fmla="*/ 9 w 47"/>
                <a:gd name="T107" fmla="*/ 13 h 48"/>
                <a:gd name="T108" fmla="*/ 6 w 47"/>
                <a:gd name="T109" fmla="*/ 15 h 48"/>
                <a:gd name="T110" fmla="*/ 5 w 47"/>
                <a:gd name="T111" fmla="*/ 15 h 48"/>
                <a:gd name="T112" fmla="*/ 5 w 47"/>
                <a:gd name="T113" fmla="*/ 13 h 48"/>
                <a:gd name="T114" fmla="*/ 2 w 47"/>
                <a:gd name="T115" fmla="*/ 1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" h="48">
                  <a:moveTo>
                    <a:pt x="2" y="13"/>
                  </a:moveTo>
                  <a:cubicBezTo>
                    <a:pt x="2" y="12"/>
                    <a:pt x="0" y="10"/>
                    <a:pt x="1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5"/>
                    <a:pt x="7" y="2"/>
                    <a:pt x="7" y="2"/>
                  </a:cubicBezTo>
                  <a:cubicBezTo>
                    <a:pt x="8" y="2"/>
                    <a:pt x="9" y="6"/>
                    <a:pt x="10" y="6"/>
                  </a:cubicBezTo>
                  <a:cubicBezTo>
                    <a:pt x="10" y="5"/>
                    <a:pt x="11" y="2"/>
                    <a:pt x="12" y="2"/>
                  </a:cubicBezTo>
                  <a:cubicBezTo>
                    <a:pt x="12" y="2"/>
                    <a:pt x="14" y="4"/>
                    <a:pt x="14" y="3"/>
                  </a:cubicBezTo>
                  <a:cubicBezTo>
                    <a:pt x="14" y="3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0"/>
                    <a:pt x="19" y="0"/>
                  </a:cubicBezTo>
                  <a:cubicBezTo>
                    <a:pt x="19" y="0"/>
                    <a:pt x="21" y="0"/>
                    <a:pt x="22" y="0"/>
                  </a:cubicBezTo>
                  <a:cubicBezTo>
                    <a:pt x="22" y="0"/>
                    <a:pt x="23" y="2"/>
                    <a:pt x="24" y="2"/>
                  </a:cubicBezTo>
                  <a:cubicBezTo>
                    <a:pt x="24" y="2"/>
                    <a:pt x="26" y="2"/>
                    <a:pt x="27" y="2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2" y="8"/>
                    <a:pt x="22" y="8"/>
                  </a:cubicBezTo>
                  <a:cubicBezTo>
                    <a:pt x="22" y="8"/>
                    <a:pt x="23" y="10"/>
                    <a:pt x="23" y="11"/>
                  </a:cubicBezTo>
                  <a:cubicBezTo>
                    <a:pt x="23" y="11"/>
                    <a:pt x="21" y="12"/>
                    <a:pt x="22" y="14"/>
                  </a:cubicBezTo>
                  <a:cubicBezTo>
                    <a:pt x="24" y="15"/>
                    <a:pt x="27" y="16"/>
                    <a:pt x="28" y="17"/>
                  </a:cubicBezTo>
                  <a:cubicBezTo>
                    <a:pt x="28" y="18"/>
                    <a:pt x="31" y="23"/>
                    <a:pt x="31" y="23"/>
                  </a:cubicBezTo>
                  <a:cubicBezTo>
                    <a:pt x="32" y="23"/>
                    <a:pt x="34" y="24"/>
                    <a:pt x="35" y="24"/>
                  </a:cubicBezTo>
                  <a:cubicBezTo>
                    <a:pt x="35" y="24"/>
                    <a:pt x="37" y="24"/>
                    <a:pt x="38" y="25"/>
                  </a:cubicBezTo>
                  <a:cubicBezTo>
                    <a:pt x="38" y="25"/>
                    <a:pt x="37" y="26"/>
                    <a:pt x="37" y="27"/>
                  </a:cubicBezTo>
                  <a:cubicBezTo>
                    <a:pt x="37" y="27"/>
                    <a:pt x="43" y="29"/>
                    <a:pt x="44" y="30"/>
                  </a:cubicBezTo>
                  <a:cubicBezTo>
                    <a:pt x="46" y="30"/>
                    <a:pt x="47" y="32"/>
                    <a:pt x="47" y="33"/>
                  </a:cubicBezTo>
                  <a:cubicBezTo>
                    <a:pt x="47" y="33"/>
                    <a:pt x="46" y="34"/>
                    <a:pt x="46" y="34"/>
                  </a:cubicBezTo>
                  <a:cubicBezTo>
                    <a:pt x="46" y="35"/>
                    <a:pt x="42" y="31"/>
                    <a:pt x="41" y="32"/>
                  </a:cubicBezTo>
                  <a:cubicBezTo>
                    <a:pt x="40" y="32"/>
                    <a:pt x="39" y="34"/>
                    <a:pt x="40" y="35"/>
                  </a:cubicBezTo>
                  <a:cubicBezTo>
                    <a:pt x="40" y="35"/>
                    <a:pt x="42" y="35"/>
                    <a:pt x="42" y="36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1" y="39"/>
                    <a:pt x="40" y="39"/>
                    <a:pt x="40" y="39"/>
                  </a:cubicBezTo>
                  <a:cubicBezTo>
                    <a:pt x="40" y="40"/>
                    <a:pt x="38" y="42"/>
                    <a:pt x="37" y="42"/>
                  </a:cubicBezTo>
                  <a:cubicBezTo>
                    <a:pt x="37" y="42"/>
                    <a:pt x="35" y="43"/>
                    <a:pt x="35" y="42"/>
                  </a:cubicBezTo>
                  <a:cubicBezTo>
                    <a:pt x="35" y="41"/>
                    <a:pt x="34" y="42"/>
                    <a:pt x="34" y="43"/>
                  </a:cubicBezTo>
                  <a:cubicBezTo>
                    <a:pt x="34" y="44"/>
                    <a:pt x="34" y="47"/>
                    <a:pt x="33" y="47"/>
                  </a:cubicBezTo>
                  <a:cubicBezTo>
                    <a:pt x="33" y="48"/>
                    <a:pt x="31" y="48"/>
                    <a:pt x="31" y="47"/>
                  </a:cubicBezTo>
                  <a:cubicBezTo>
                    <a:pt x="30" y="47"/>
                    <a:pt x="29" y="46"/>
                    <a:pt x="28" y="45"/>
                  </a:cubicBezTo>
                  <a:cubicBezTo>
                    <a:pt x="27" y="45"/>
                    <a:pt x="23" y="43"/>
                    <a:pt x="23" y="42"/>
                  </a:cubicBezTo>
                  <a:cubicBezTo>
                    <a:pt x="23" y="41"/>
                    <a:pt x="25" y="41"/>
                    <a:pt x="26" y="41"/>
                  </a:cubicBezTo>
                  <a:cubicBezTo>
                    <a:pt x="28" y="41"/>
                    <a:pt x="32" y="41"/>
                    <a:pt x="33" y="41"/>
                  </a:cubicBezTo>
                  <a:cubicBezTo>
                    <a:pt x="34" y="41"/>
                    <a:pt x="35" y="41"/>
                    <a:pt x="35" y="40"/>
                  </a:cubicBezTo>
                  <a:cubicBezTo>
                    <a:pt x="37" y="39"/>
                    <a:pt x="37" y="40"/>
                    <a:pt x="37" y="38"/>
                  </a:cubicBezTo>
                  <a:cubicBezTo>
                    <a:pt x="37" y="37"/>
                    <a:pt x="36" y="34"/>
                    <a:pt x="35" y="33"/>
                  </a:cubicBezTo>
                  <a:cubicBezTo>
                    <a:pt x="34" y="32"/>
                    <a:pt x="33" y="33"/>
                    <a:pt x="33" y="32"/>
                  </a:cubicBezTo>
                  <a:cubicBezTo>
                    <a:pt x="32" y="31"/>
                    <a:pt x="29" y="28"/>
                    <a:pt x="28" y="28"/>
                  </a:cubicBezTo>
                  <a:cubicBezTo>
                    <a:pt x="26" y="27"/>
                    <a:pt x="25" y="27"/>
                    <a:pt x="24" y="27"/>
                  </a:cubicBezTo>
                  <a:cubicBezTo>
                    <a:pt x="23" y="26"/>
                    <a:pt x="19" y="23"/>
                    <a:pt x="19" y="22"/>
                  </a:cubicBezTo>
                  <a:cubicBezTo>
                    <a:pt x="18" y="21"/>
                    <a:pt x="16" y="21"/>
                    <a:pt x="16" y="19"/>
                  </a:cubicBezTo>
                  <a:cubicBezTo>
                    <a:pt x="15" y="17"/>
                    <a:pt x="15" y="16"/>
                    <a:pt x="14" y="14"/>
                  </a:cubicBezTo>
                  <a:cubicBezTo>
                    <a:pt x="12" y="13"/>
                    <a:pt x="11" y="13"/>
                    <a:pt x="9" y="13"/>
                  </a:cubicBezTo>
                  <a:cubicBezTo>
                    <a:pt x="8" y="13"/>
                    <a:pt x="8" y="15"/>
                    <a:pt x="6" y="15"/>
                  </a:cubicBezTo>
                  <a:cubicBezTo>
                    <a:pt x="6" y="15"/>
                    <a:pt x="6" y="15"/>
                    <a:pt x="5" y="15"/>
                  </a:cubicBezTo>
                  <a:cubicBezTo>
                    <a:pt x="5" y="15"/>
                    <a:pt x="5" y="14"/>
                    <a:pt x="5" y="13"/>
                  </a:cubicBezTo>
                  <a:cubicBezTo>
                    <a:pt x="4" y="13"/>
                    <a:pt x="2" y="14"/>
                    <a:pt x="2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4" name="Freeform 6432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4522501" y="2971345"/>
              <a:ext cx="37498" cy="73671"/>
            </a:xfrm>
            <a:custGeom>
              <a:avLst/>
              <a:gdLst>
                <a:gd name="T0" fmla="*/ 0 w 6"/>
                <a:gd name="T1" fmla="*/ 2 h 11"/>
                <a:gd name="T2" fmla="*/ 3 w 6"/>
                <a:gd name="T3" fmla="*/ 1 h 11"/>
                <a:gd name="T4" fmla="*/ 6 w 6"/>
                <a:gd name="T5" fmla="*/ 0 h 11"/>
                <a:gd name="T6" fmla="*/ 6 w 6"/>
                <a:gd name="T7" fmla="*/ 4 h 11"/>
                <a:gd name="T8" fmla="*/ 6 w 6"/>
                <a:gd name="T9" fmla="*/ 9 h 11"/>
                <a:gd name="T10" fmla="*/ 4 w 6"/>
                <a:gd name="T11" fmla="*/ 8 h 11"/>
                <a:gd name="T12" fmla="*/ 2 w 6"/>
                <a:gd name="T13" fmla="*/ 10 h 11"/>
                <a:gd name="T14" fmla="*/ 2 w 6"/>
                <a:gd name="T15" fmla="*/ 10 h 11"/>
                <a:gd name="T16" fmla="*/ 2 w 6"/>
                <a:gd name="T17" fmla="*/ 8 h 11"/>
                <a:gd name="T18" fmla="*/ 2 w 6"/>
                <a:gd name="T19" fmla="*/ 4 h 11"/>
                <a:gd name="T20" fmla="*/ 0 w 6"/>
                <a:gd name="T2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1">
                  <a:moveTo>
                    <a:pt x="0" y="2"/>
                  </a:moveTo>
                  <a:cubicBezTo>
                    <a:pt x="1" y="1"/>
                    <a:pt x="3" y="2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5"/>
                    <a:pt x="6" y="9"/>
                    <a:pt x="6" y="9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3" y="9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9"/>
                    <a:pt x="2" y="8"/>
                  </a:cubicBezTo>
                  <a:cubicBezTo>
                    <a:pt x="2" y="6"/>
                    <a:pt x="2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5" name="Freeform 6434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419381" y="2576201"/>
              <a:ext cx="78121" cy="97112"/>
            </a:xfrm>
            <a:custGeom>
              <a:avLst/>
              <a:gdLst>
                <a:gd name="T0" fmla="*/ 1 w 13"/>
                <a:gd name="T1" fmla="*/ 9 h 15"/>
                <a:gd name="T2" fmla="*/ 4 w 13"/>
                <a:gd name="T3" fmla="*/ 6 h 15"/>
                <a:gd name="T4" fmla="*/ 5 w 13"/>
                <a:gd name="T5" fmla="*/ 2 h 15"/>
                <a:gd name="T6" fmla="*/ 11 w 13"/>
                <a:gd name="T7" fmla="*/ 0 h 15"/>
                <a:gd name="T8" fmla="*/ 12 w 13"/>
                <a:gd name="T9" fmla="*/ 0 h 15"/>
                <a:gd name="T10" fmla="*/ 13 w 13"/>
                <a:gd name="T11" fmla="*/ 2 h 15"/>
                <a:gd name="T12" fmla="*/ 13 w 13"/>
                <a:gd name="T13" fmla="*/ 5 h 15"/>
                <a:gd name="T14" fmla="*/ 12 w 13"/>
                <a:gd name="T15" fmla="*/ 8 h 15"/>
                <a:gd name="T16" fmla="*/ 9 w 13"/>
                <a:gd name="T17" fmla="*/ 9 h 15"/>
                <a:gd name="T18" fmla="*/ 9 w 13"/>
                <a:gd name="T19" fmla="*/ 11 h 15"/>
                <a:gd name="T20" fmla="*/ 9 w 13"/>
                <a:gd name="T21" fmla="*/ 13 h 15"/>
                <a:gd name="T22" fmla="*/ 9 w 13"/>
                <a:gd name="T23" fmla="*/ 15 h 15"/>
                <a:gd name="T24" fmla="*/ 7 w 13"/>
                <a:gd name="T25" fmla="*/ 14 h 15"/>
                <a:gd name="T26" fmla="*/ 6 w 13"/>
                <a:gd name="T27" fmla="*/ 12 h 15"/>
                <a:gd name="T28" fmla="*/ 0 w 13"/>
                <a:gd name="T29" fmla="*/ 10 h 15"/>
                <a:gd name="T30" fmla="*/ 1 w 13"/>
                <a:gd name="T31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15">
                  <a:moveTo>
                    <a:pt x="1" y="9"/>
                  </a:moveTo>
                  <a:cubicBezTo>
                    <a:pt x="1" y="9"/>
                    <a:pt x="4" y="7"/>
                    <a:pt x="4" y="6"/>
                  </a:cubicBezTo>
                  <a:cubicBezTo>
                    <a:pt x="4" y="5"/>
                    <a:pt x="5" y="2"/>
                    <a:pt x="5" y="2"/>
                  </a:cubicBezTo>
                  <a:cubicBezTo>
                    <a:pt x="6" y="2"/>
                    <a:pt x="10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0"/>
                    <a:pt x="13" y="2"/>
                    <a:pt x="13" y="2"/>
                  </a:cubicBezTo>
                  <a:cubicBezTo>
                    <a:pt x="13" y="3"/>
                    <a:pt x="13" y="4"/>
                    <a:pt x="13" y="5"/>
                  </a:cubicBezTo>
                  <a:cubicBezTo>
                    <a:pt x="13" y="6"/>
                    <a:pt x="13" y="8"/>
                    <a:pt x="12" y="8"/>
                  </a:cubicBezTo>
                  <a:cubicBezTo>
                    <a:pt x="12" y="9"/>
                    <a:pt x="9" y="9"/>
                    <a:pt x="9" y="9"/>
                  </a:cubicBezTo>
                  <a:cubicBezTo>
                    <a:pt x="8" y="9"/>
                    <a:pt x="9" y="10"/>
                    <a:pt x="9" y="11"/>
                  </a:cubicBezTo>
                  <a:cubicBezTo>
                    <a:pt x="10" y="11"/>
                    <a:pt x="9" y="13"/>
                    <a:pt x="9" y="13"/>
                  </a:cubicBezTo>
                  <a:cubicBezTo>
                    <a:pt x="9" y="14"/>
                    <a:pt x="9" y="14"/>
                    <a:pt x="9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2"/>
                    <a:pt x="6" y="12"/>
                  </a:cubicBezTo>
                  <a:cubicBezTo>
                    <a:pt x="6" y="11"/>
                    <a:pt x="1" y="11"/>
                    <a:pt x="0" y="10"/>
                  </a:cubicBezTo>
                  <a:cubicBezTo>
                    <a:pt x="0" y="10"/>
                    <a:pt x="1" y="9"/>
                    <a:pt x="1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6" name="Freeform 6435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813112" y="1521367"/>
              <a:ext cx="90621" cy="70322"/>
            </a:xfrm>
            <a:custGeom>
              <a:avLst/>
              <a:gdLst>
                <a:gd name="T0" fmla="*/ 0 w 15"/>
                <a:gd name="T1" fmla="*/ 3 h 11"/>
                <a:gd name="T2" fmla="*/ 1 w 15"/>
                <a:gd name="T3" fmla="*/ 2 h 11"/>
                <a:gd name="T4" fmla="*/ 6 w 15"/>
                <a:gd name="T5" fmla="*/ 0 h 11"/>
                <a:gd name="T6" fmla="*/ 7 w 15"/>
                <a:gd name="T7" fmla="*/ 2 h 11"/>
                <a:gd name="T8" fmla="*/ 10 w 15"/>
                <a:gd name="T9" fmla="*/ 2 h 11"/>
                <a:gd name="T10" fmla="*/ 11 w 15"/>
                <a:gd name="T11" fmla="*/ 5 h 11"/>
                <a:gd name="T12" fmla="*/ 15 w 15"/>
                <a:gd name="T13" fmla="*/ 5 h 11"/>
                <a:gd name="T14" fmla="*/ 9 w 15"/>
                <a:gd name="T15" fmla="*/ 11 h 11"/>
                <a:gd name="T16" fmla="*/ 8 w 15"/>
                <a:gd name="T17" fmla="*/ 7 h 11"/>
                <a:gd name="T18" fmla="*/ 2 w 15"/>
                <a:gd name="T19" fmla="*/ 8 h 11"/>
                <a:gd name="T20" fmla="*/ 4 w 15"/>
                <a:gd name="T21" fmla="*/ 5 h 11"/>
                <a:gd name="T22" fmla="*/ 0 w 15"/>
                <a:gd name="T2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1">
                  <a:moveTo>
                    <a:pt x="0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5" y="0"/>
                    <a:pt x="6" y="0"/>
                  </a:cubicBezTo>
                  <a:cubicBezTo>
                    <a:pt x="7" y="0"/>
                    <a:pt x="7" y="2"/>
                    <a:pt x="7" y="2"/>
                  </a:cubicBezTo>
                  <a:cubicBezTo>
                    <a:pt x="8" y="2"/>
                    <a:pt x="10" y="2"/>
                    <a:pt x="10" y="2"/>
                  </a:cubicBezTo>
                  <a:cubicBezTo>
                    <a:pt x="11" y="2"/>
                    <a:pt x="11" y="5"/>
                    <a:pt x="11" y="5"/>
                  </a:cubicBezTo>
                  <a:cubicBezTo>
                    <a:pt x="12" y="5"/>
                    <a:pt x="15" y="5"/>
                    <a:pt x="15" y="5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0"/>
                    <a:pt x="8" y="7"/>
                    <a:pt x="8" y="7"/>
                  </a:cubicBezTo>
                  <a:cubicBezTo>
                    <a:pt x="8" y="7"/>
                    <a:pt x="2" y="9"/>
                    <a:pt x="2" y="8"/>
                  </a:cubicBezTo>
                  <a:cubicBezTo>
                    <a:pt x="1" y="8"/>
                    <a:pt x="5" y="5"/>
                    <a:pt x="4" y="5"/>
                  </a:cubicBezTo>
                  <a:cubicBezTo>
                    <a:pt x="4" y="4"/>
                    <a:pt x="1" y="3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7" name="Freeform 6436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753740" y="1404164"/>
              <a:ext cx="215615" cy="70322"/>
            </a:xfrm>
            <a:custGeom>
              <a:avLst/>
              <a:gdLst>
                <a:gd name="T0" fmla="*/ 1 w 36"/>
                <a:gd name="T1" fmla="*/ 3 h 11"/>
                <a:gd name="T2" fmla="*/ 2 w 36"/>
                <a:gd name="T3" fmla="*/ 2 h 11"/>
                <a:gd name="T4" fmla="*/ 6 w 36"/>
                <a:gd name="T5" fmla="*/ 2 h 11"/>
                <a:gd name="T6" fmla="*/ 8 w 36"/>
                <a:gd name="T7" fmla="*/ 0 h 11"/>
                <a:gd name="T8" fmla="*/ 13 w 36"/>
                <a:gd name="T9" fmla="*/ 2 h 11"/>
                <a:gd name="T10" fmla="*/ 17 w 36"/>
                <a:gd name="T11" fmla="*/ 4 h 11"/>
                <a:gd name="T12" fmla="*/ 19 w 36"/>
                <a:gd name="T13" fmla="*/ 0 h 11"/>
                <a:gd name="T14" fmla="*/ 21 w 36"/>
                <a:gd name="T15" fmla="*/ 1 h 11"/>
                <a:gd name="T16" fmla="*/ 22 w 36"/>
                <a:gd name="T17" fmla="*/ 3 h 11"/>
                <a:gd name="T18" fmla="*/ 25 w 36"/>
                <a:gd name="T19" fmla="*/ 1 h 11"/>
                <a:gd name="T20" fmla="*/ 33 w 36"/>
                <a:gd name="T21" fmla="*/ 2 h 11"/>
                <a:gd name="T22" fmla="*/ 36 w 36"/>
                <a:gd name="T23" fmla="*/ 4 h 11"/>
                <a:gd name="T24" fmla="*/ 35 w 36"/>
                <a:gd name="T25" fmla="*/ 6 h 11"/>
                <a:gd name="T26" fmla="*/ 31 w 36"/>
                <a:gd name="T27" fmla="*/ 7 h 11"/>
                <a:gd name="T28" fmla="*/ 29 w 36"/>
                <a:gd name="T29" fmla="*/ 10 h 11"/>
                <a:gd name="T30" fmla="*/ 22 w 36"/>
                <a:gd name="T31" fmla="*/ 11 h 11"/>
                <a:gd name="T32" fmla="*/ 18 w 36"/>
                <a:gd name="T33" fmla="*/ 10 h 11"/>
                <a:gd name="T34" fmla="*/ 9 w 36"/>
                <a:gd name="T35" fmla="*/ 9 h 11"/>
                <a:gd name="T36" fmla="*/ 15 w 36"/>
                <a:gd name="T37" fmla="*/ 7 h 11"/>
                <a:gd name="T38" fmla="*/ 13 w 36"/>
                <a:gd name="T39" fmla="*/ 5 h 11"/>
                <a:gd name="T40" fmla="*/ 4 w 36"/>
                <a:gd name="T41" fmla="*/ 6 h 11"/>
                <a:gd name="T42" fmla="*/ 2 w 36"/>
                <a:gd name="T43" fmla="*/ 5 h 11"/>
                <a:gd name="T44" fmla="*/ 1 w 36"/>
                <a:gd name="T4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11">
                  <a:moveTo>
                    <a:pt x="1" y="3"/>
                  </a:moveTo>
                  <a:cubicBezTo>
                    <a:pt x="0" y="3"/>
                    <a:pt x="2" y="2"/>
                    <a:pt x="2" y="2"/>
                  </a:cubicBezTo>
                  <a:cubicBezTo>
                    <a:pt x="2" y="2"/>
                    <a:pt x="5" y="3"/>
                    <a:pt x="6" y="2"/>
                  </a:cubicBezTo>
                  <a:cubicBezTo>
                    <a:pt x="7" y="2"/>
                    <a:pt x="7" y="0"/>
                    <a:pt x="8" y="0"/>
                  </a:cubicBezTo>
                  <a:cubicBezTo>
                    <a:pt x="9" y="0"/>
                    <a:pt x="11" y="2"/>
                    <a:pt x="13" y="2"/>
                  </a:cubicBezTo>
                  <a:cubicBezTo>
                    <a:pt x="14" y="2"/>
                    <a:pt x="17" y="4"/>
                    <a:pt x="17" y="4"/>
                  </a:cubicBezTo>
                  <a:cubicBezTo>
                    <a:pt x="17" y="3"/>
                    <a:pt x="18" y="0"/>
                    <a:pt x="19" y="0"/>
                  </a:cubicBezTo>
                  <a:cubicBezTo>
                    <a:pt x="20" y="0"/>
                    <a:pt x="21" y="1"/>
                    <a:pt x="21" y="1"/>
                  </a:cubicBezTo>
                  <a:cubicBezTo>
                    <a:pt x="21" y="1"/>
                    <a:pt x="21" y="3"/>
                    <a:pt x="22" y="3"/>
                  </a:cubicBezTo>
                  <a:cubicBezTo>
                    <a:pt x="22" y="3"/>
                    <a:pt x="24" y="1"/>
                    <a:pt x="25" y="1"/>
                  </a:cubicBezTo>
                  <a:cubicBezTo>
                    <a:pt x="26" y="1"/>
                    <a:pt x="32" y="2"/>
                    <a:pt x="33" y="2"/>
                  </a:cubicBezTo>
                  <a:cubicBezTo>
                    <a:pt x="33" y="2"/>
                    <a:pt x="36" y="3"/>
                    <a:pt x="36" y="4"/>
                  </a:cubicBezTo>
                  <a:cubicBezTo>
                    <a:pt x="36" y="5"/>
                    <a:pt x="36" y="6"/>
                    <a:pt x="35" y="6"/>
                  </a:cubicBezTo>
                  <a:cubicBezTo>
                    <a:pt x="35" y="6"/>
                    <a:pt x="31" y="7"/>
                    <a:pt x="31" y="7"/>
                  </a:cubicBezTo>
                  <a:cubicBezTo>
                    <a:pt x="30" y="8"/>
                    <a:pt x="31" y="11"/>
                    <a:pt x="29" y="10"/>
                  </a:cubicBezTo>
                  <a:cubicBezTo>
                    <a:pt x="28" y="10"/>
                    <a:pt x="24" y="11"/>
                    <a:pt x="22" y="11"/>
                  </a:cubicBezTo>
                  <a:cubicBezTo>
                    <a:pt x="20" y="11"/>
                    <a:pt x="19" y="10"/>
                    <a:pt x="18" y="10"/>
                  </a:cubicBezTo>
                  <a:cubicBezTo>
                    <a:pt x="17" y="10"/>
                    <a:pt x="10" y="9"/>
                    <a:pt x="9" y="9"/>
                  </a:cubicBezTo>
                  <a:cubicBezTo>
                    <a:pt x="9" y="8"/>
                    <a:pt x="15" y="7"/>
                    <a:pt x="15" y="7"/>
                  </a:cubicBezTo>
                  <a:cubicBezTo>
                    <a:pt x="15" y="6"/>
                    <a:pt x="13" y="5"/>
                    <a:pt x="13" y="5"/>
                  </a:cubicBezTo>
                  <a:cubicBezTo>
                    <a:pt x="13" y="5"/>
                    <a:pt x="5" y="7"/>
                    <a:pt x="4" y="6"/>
                  </a:cubicBezTo>
                  <a:cubicBezTo>
                    <a:pt x="3" y="6"/>
                    <a:pt x="2" y="5"/>
                    <a:pt x="2" y="5"/>
                  </a:cubicBezTo>
                  <a:cubicBezTo>
                    <a:pt x="1" y="4"/>
                    <a:pt x="1" y="3"/>
                    <a:pt x="1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8" name="Freeform 6437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581873" y="1420908"/>
              <a:ext cx="256238" cy="204270"/>
            </a:xfrm>
            <a:custGeom>
              <a:avLst/>
              <a:gdLst>
                <a:gd name="T0" fmla="*/ 0 w 42"/>
                <a:gd name="T1" fmla="*/ 4 h 31"/>
                <a:gd name="T2" fmla="*/ 3 w 42"/>
                <a:gd name="T3" fmla="*/ 3 h 31"/>
                <a:gd name="T4" fmla="*/ 7 w 42"/>
                <a:gd name="T5" fmla="*/ 3 h 31"/>
                <a:gd name="T6" fmla="*/ 12 w 42"/>
                <a:gd name="T7" fmla="*/ 3 h 31"/>
                <a:gd name="T8" fmla="*/ 10 w 42"/>
                <a:gd name="T9" fmla="*/ 5 h 31"/>
                <a:gd name="T10" fmla="*/ 12 w 42"/>
                <a:gd name="T11" fmla="*/ 7 h 31"/>
                <a:gd name="T12" fmla="*/ 15 w 42"/>
                <a:gd name="T13" fmla="*/ 3 h 31"/>
                <a:gd name="T14" fmla="*/ 18 w 42"/>
                <a:gd name="T15" fmla="*/ 6 h 31"/>
                <a:gd name="T16" fmla="*/ 22 w 42"/>
                <a:gd name="T17" fmla="*/ 11 h 31"/>
                <a:gd name="T18" fmla="*/ 20 w 42"/>
                <a:gd name="T19" fmla="*/ 3 h 31"/>
                <a:gd name="T20" fmla="*/ 22 w 42"/>
                <a:gd name="T21" fmla="*/ 1 h 31"/>
                <a:gd name="T22" fmla="*/ 27 w 42"/>
                <a:gd name="T23" fmla="*/ 4 h 31"/>
                <a:gd name="T24" fmla="*/ 27 w 42"/>
                <a:gd name="T25" fmla="*/ 8 h 31"/>
                <a:gd name="T26" fmla="*/ 31 w 42"/>
                <a:gd name="T27" fmla="*/ 6 h 31"/>
                <a:gd name="T28" fmla="*/ 32 w 42"/>
                <a:gd name="T29" fmla="*/ 9 h 31"/>
                <a:gd name="T30" fmla="*/ 34 w 42"/>
                <a:gd name="T31" fmla="*/ 9 h 31"/>
                <a:gd name="T32" fmla="*/ 40 w 42"/>
                <a:gd name="T33" fmla="*/ 11 h 31"/>
                <a:gd name="T34" fmla="*/ 42 w 42"/>
                <a:gd name="T35" fmla="*/ 12 h 31"/>
                <a:gd name="T36" fmla="*/ 41 w 42"/>
                <a:gd name="T37" fmla="*/ 13 h 31"/>
                <a:gd name="T38" fmla="*/ 33 w 42"/>
                <a:gd name="T39" fmla="*/ 15 h 31"/>
                <a:gd name="T40" fmla="*/ 32 w 42"/>
                <a:gd name="T41" fmla="*/ 18 h 31"/>
                <a:gd name="T42" fmla="*/ 29 w 42"/>
                <a:gd name="T43" fmla="*/ 19 h 31"/>
                <a:gd name="T44" fmla="*/ 29 w 42"/>
                <a:gd name="T45" fmla="*/ 22 h 31"/>
                <a:gd name="T46" fmla="*/ 27 w 42"/>
                <a:gd name="T47" fmla="*/ 23 h 31"/>
                <a:gd name="T48" fmla="*/ 25 w 42"/>
                <a:gd name="T49" fmla="*/ 28 h 31"/>
                <a:gd name="T50" fmla="*/ 24 w 42"/>
                <a:gd name="T51" fmla="*/ 31 h 31"/>
                <a:gd name="T52" fmla="*/ 17 w 42"/>
                <a:gd name="T53" fmla="*/ 27 h 31"/>
                <a:gd name="T54" fmla="*/ 12 w 42"/>
                <a:gd name="T55" fmla="*/ 24 h 31"/>
                <a:gd name="T56" fmla="*/ 21 w 42"/>
                <a:gd name="T57" fmla="*/ 22 h 31"/>
                <a:gd name="T58" fmla="*/ 21 w 42"/>
                <a:gd name="T59" fmla="*/ 20 h 31"/>
                <a:gd name="T60" fmla="*/ 12 w 42"/>
                <a:gd name="T61" fmla="*/ 20 h 31"/>
                <a:gd name="T62" fmla="*/ 12 w 42"/>
                <a:gd name="T63" fmla="*/ 19 h 31"/>
                <a:gd name="T64" fmla="*/ 17 w 42"/>
                <a:gd name="T65" fmla="*/ 17 h 31"/>
                <a:gd name="T66" fmla="*/ 21 w 42"/>
                <a:gd name="T67" fmla="*/ 16 h 31"/>
                <a:gd name="T68" fmla="*/ 24 w 42"/>
                <a:gd name="T69" fmla="*/ 16 h 31"/>
                <a:gd name="T70" fmla="*/ 23 w 42"/>
                <a:gd name="T71" fmla="*/ 14 h 31"/>
                <a:gd name="T72" fmla="*/ 19 w 42"/>
                <a:gd name="T73" fmla="*/ 14 h 31"/>
                <a:gd name="T74" fmla="*/ 18 w 42"/>
                <a:gd name="T75" fmla="*/ 12 h 31"/>
                <a:gd name="T76" fmla="*/ 15 w 42"/>
                <a:gd name="T77" fmla="*/ 13 h 31"/>
                <a:gd name="T78" fmla="*/ 14 w 42"/>
                <a:gd name="T79" fmla="*/ 15 h 31"/>
                <a:gd name="T80" fmla="*/ 10 w 42"/>
                <a:gd name="T81" fmla="*/ 16 h 31"/>
                <a:gd name="T82" fmla="*/ 8 w 42"/>
                <a:gd name="T83" fmla="*/ 15 h 31"/>
                <a:gd name="T84" fmla="*/ 4 w 42"/>
                <a:gd name="T85" fmla="*/ 12 h 31"/>
                <a:gd name="T86" fmla="*/ 6 w 42"/>
                <a:gd name="T87" fmla="*/ 11 h 31"/>
                <a:gd name="T88" fmla="*/ 4 w 42"/>
                <a:gd name="T89" fmla="*/ 8 h 31"/>
                <a:gd name="T90" fmla="*/ 2 w 42"/>
                <a:gd name="T91" fmla="*/ 9 h 31"/>
                <a:gd name="T92" fmla="*/ 0 w 42"/>
                <a:gd name="T9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" h="31">
                  <a:moveTo>
                    <a:pt x="0" y="4"/>
                  </a:moveTo>
                  <a:cubicBezTo>
                    <a:pt x="0" y="3"/>
                    <a:pt x="2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8" y="3"/>
                    <a:pt x="12" y="2"/>
                    <a:pt x="12" y="3"/>
                  </a:cubicBezTo>
                  <a:cubicBezTo>
                    <a:pt x="12" y="3"/>
                    <a:pt x="10" y="5"/>
                    <a:pt x="10" y="5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3" y="7"/>
                    <a:pt x="14" y="3"/>
                    <a:pt x="15" y="3"/>
                  </a:cubicBezTo>
                  <a:cubicBezTo>
                    <a:pt x="15" y="3"/>
                    <a:pt x="17" y="6"/>
                    <a:pt x="18" y="6"/>
                  </a:cubicBezTo>
                  <a:cubicBezTo>
                    <a:pt x="18" y="7"/>
                    <a:pt x="21" y="11"/>
                    <a:pt x="22" y="11"/>
                  </a:cubicBezTo>
                  <a:cubicBezTo>
                    <a:pt x="23" y="11"/>
                    <a:pt x="19" y="3"/>
                    <a:pt x="20" y="3"/>
                  </a:cubicBezTo>
                  <a:cubicBezTo>
                    <a:pt x="20" y="2"/>
                    <a:pt x="21" y="0"/>
                    <a:pt x="22" y="1"/>
                  </a:cubicBezTo>
                  <a:cubicBezTo>
                    <a:pt x="23" y="1"/>
                    <a:pt x="27" y="3"/>
                    <a:pt x="27" y="4"/>
                  </a:cubicBezTo>
                  <a:cubicBezTo>
                    <a:pt x="27" y="5"/>
                    <a:pt x="27" y="8"/>
                    <a:pt x="27" y="8"/>
                  </a:cubicBezTo>
                  <a:cubicBezTo>
                    <a:pt x="27" y="8"/>
                    <a:pt x="30" y="6"/>
                    <a:pt x="31" y="6"/>
                  </a:cubicBezTo>
                  <a:cubicBezTo>
                    <a:pt x="31" y="6"/>
                    <a:pt x="31" y="9"/>
                    <a:pt x="32" y="9"/>
                  </a:cubicBezTo>
                  <a:cubicBezTo>
                    <a:pt x="33" y="9"/>
                    <a:pt x="34" y="8"/>
                    <a:pt x="34" y="9"/>
                  </a:cubicBezTo>
                  <a:cubicBezTo>
                    <a:pt x="36" y="9"/>
                    <a:pt x="39" y="11"/>
                    <a:pt x="40" y="11"/>
                  </a:cubicBezTo>
                  <a:cubicBezTo>
                    <a:pt x="40" y="11"/>
                    <a:pt x="42" y="12"/>
                    <a:pt x="42" y="12"/>
                  </a:cubicBezTo>
                  <a:cubicBezTo>
                    <a:pt x="42" y="13"/>
                    <a:pt x="41" y="13"/>
                    <a:pt x="41" y="13"/>
                  </a:cubicBezTo>
                  <a:cubicBezTo>
                    <a:pt x="40" y="14"/>
                    <a:pt x="34" y="14"/>
                    <a:pt x="33" y="15"/>
                  </a:cubicBezTo>
                  <a:cubicBezTo>
                    <a:pt x="32" y="15"/>
                    <a:pt x="33" y="18"/>
                    <a:pt x="32" y="18"/>
                  </a:cubicBezTo>
                  <a:cubicBezTo>
                    <a:pt x="32" y="19"/>
                    <a:pt x="29" y="18"/>
                    <a:pt x="29" y="19"/>
                  </a:cubicBezTo>
                  <a:cubicBezTo>
                    <a:pt x="29" y="19"/>
                    <a:pt x="29" y="22"/>
                    <a:pt x="29" y="22"/>
                  </a:cubicBezTo>
                  <a:cubicBezTo>
                    <a:pt x="29" y="23"/>
                    <a:pt x="27" y="23"/>
                    <a:pt x="27" y="23"/>
                  </a:cubicBezTo>
                  <a:cubicBezTo>
                    <a:pt x="27" y="23"/>
                    <a:pt x="25" y="28"/>
                    <a:pt x="25" y="28"/>
                  </a:cubicBezTo>
                  <a:cubicBezTo>
                    <a:pt x="25" y="29"/>
                    <a:pt x="25" y="31"/>
                    <a:pt x="24" y="31"/>
                  </a:cubicBezTo>
                  <a:cubicBezTo>
                    <a:pt x="22" y="30"/>
                    <a:pt x="19" y="28"/>
                    <a:pt x="17" y="27"/>
                  </a:cubicBezTo>
                  <a:cubicBezTo>
                    <a:pt x="16" y="26"/>
                    <a:pt x="12" y="25"/>
                    <a:pt x="12" y="24"/>
                  </a:cubicBezTo>
                  <a:cubicBezTo>
                    <a:pt x="13" y="23"/>
                    <a:pt x="20" y="22"/>
                    <a:pt x="21" y="22"/>
                  </a:cubicBezTo>
                  <a:cubicBezTo>
                    <a:pt x="21" y="22"/>
                    <a:pt x="21" y="20"/>
                    <a:pt x="21" y="20"/>
                  </a:cubicBezTo>
                  <a:cubicBezTo>
                    <a:pt x="21" y="19"/>
                    <a:pt x="12" y="20"/>
                    <a:pt x="12" y="20"/>
                  </a:cubicBezTo>
                  <a:cubicBezTo>
                    <a:pt x="12" y="21"/>
                    <a:pt x="11" y="19"/>
                    <a:pt x="12" y="19"/>
                  </a:cubicBezTo>
                  <a:cubicBezTo>
                    <a:pt x="12" y="18"/>
                    <a:pt x="17" y="18"/>
                    <a:pt x="17" y="17"/>
                  </a:cubicBezTo>
                  <a:cubicBezTo>
                    <a:pt x="18" y="17"/>
                    <a:pt x="20" y="16"/>
                    <a:pt x="21" y="16"/>
                  </a:cubicBezTo>
                  <a:cubicBezTo>
                    <a:pt x="22" y="16"/>
                    <a:pt x="24" y="16"/>
                    <a:pt x="24" y="16"/>
                  </a:cubicBezTo>
                  <a:cubicBezTo>
                    <a:pt x="24" y="16"/>
                    <a:pt x="23" y="15"/>
                    <a:pt x="23" y="14"/>
                  </a:cubicBezTo>
                  <a:cubicBezTo>
                    <a:pt x="23" y="13"/>
                    <a:pt x="19" y="14"/>
                    <a:pt x="19" y="14"/>
                  </a:cubicBezTo>
                  <a:cubicBezTo>
                    <a:pt x="18" y="13"/>
                    <a:pt x="18" y="13"/>
                    <a:pt x="18" y="12"/>
                  </a:cubicBezTo>
                  <a:cubicBezTo>
                    <a:pt x="18" y="12"/>
                    <a:pt x="15" y="13"/>
                    <a:pt x="15" y="13"/>
                  </a:cubicBezTo>
                  <a:cubicBezTo>
                    <a:pt x="14" y="13"/>
                    <a:pt x="14" y="15"/>
                    <a:pt x="14" y="15"/>
                  </a:cubicBezTo>
                  <a:cubicBezTo>
                    <a:pt x="14" y="15"/>
                    <a:pt x="11" y="16"/>
                    <a:pt x="10" y="16"/>
                  </a:cubicBezTo>
                  <a:cubicBezTo>
                    <a:pt x="9" y="16"/>
                    <a:pt x="9" y="16"/>
                    <a:pt x="8" y="15"/>
                  </a:cubicBezTo>
                  <a:cubicBezTo>
                    <a:pt x="7" y="15"/>
                    <a:pt x="4" y="12"/>
                    <a:pt x="4" y="12"/>
                  </a:cubicBezTo>
                  <a:cubicBezTo>
                    <a:pt x="3" y="11"/>
                    <a:pt x="6" y="11"/>
                    <a:pt x="6" y="11"/>
                  </a:cubicBezTo>
                  <a:cubicBezTo>
                    <a:pt x="6" y="10"/>
                    <a:pt x="5" y="9"/>
                    <a:pt x="4" y="8"/>
                  </a:cubicBezTo>
                  <a:cubicBezTo>
                    <a:pt x="4" y="8"/>
                    <a:pt x="2" y="10"/>
                    <a:pt x="2" y="9"/>
                  </a:cubicBezTo>
                  <a:cubicBezTo>
                    <a:pt x="1" y="8"/>
                    <a:pt x="0" y="5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79" name="Freeform 643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394382" y="2643175"/>
              <a:ext cx="93746" cy="70322"/>
            </a:xfrm>
            <a:custGeom>
              <a:avLst/>
              <a:gdLst>
                <a:gd name="T0" fmla="*/ 5 w 15"/>
                <a:gd name="T1" fmla="*/ 8 h 11"/>
                <a:gd name="T2" fmla="*/ 0 w 15"/>
                <a:gd name="T3" fmla="*/ 3 h 11"/>
                <a:gd name="T4" fmla="*/ 3 w 15"/>
                <a:gd name="T5" fmla="*/ 2 h 11"/>
                <a:gd name="T6" fmla="*/ 5 w 15"/>
                <a:gd name="T7" fmla="*/ 0 h 11"/>
                <a:gd name="T8" fmla="*/ 10 w 15"/>
                <a:gd name="T9" fmla="*/ 2 h 11"/>
                <a:gd name="T10" fmla="*/ 11 w 15"/>
                <a:gd name="T11" fmla="*/ 4 h 11"/>
                <a:gd name="T12" fmla="*/ 13 w 15"/>
                <a:gd name="T13" fmla="*/ 5 h 11"/>
                <a:gd name="T14" fmla="*/ 14 w 15"/>
                <a:gd name="T15" fmla="*/ 6 h 11"/>
                <a:gd name="T16" fmla="*/ 14 w 15"/>
                <a:gd name="T17" fmla="*/ 10 h 11"/>
                <a:gd name="T18" fmla="*/ 14 w 15"/>
                <a:gd name="T19" fmla="*/ 11 h 11"/>
                <a:gd name="T20" fmla="*/ 12 w 15"/>
                <a:gd name="T21" fmla="*/ 11 h 11"/>
                <a:gd name="T22" fmla="*/ 9 w 15"/>
                <a:gd name="T23" fmla="*/ 9 h 11"/>
                <a:gd name="T24" fmla="*/ 8 w 15"/>
                <a:gd name="T25" fmla="*/ 8 h 11"/>
                <a:gd name="T26" fmla="*/ 5 w 15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11">
                  <a:moveTo>
                    <a:pt x="5" y="8"/>
                  </a:moveTo>
                  <a:cubicBezTo>
                    <a:pt x="4" y="7"/>
                    <a:pt x="0" y="3"/>
                    <a:pt x="0" y="3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3" y="2"/>
                    <a:pt x="4" y="1"/>
                    <a:pt x="5" y="0"/>
                  </a:cubicBezTo>
                  <a:cubicBezTo>
                    <a:pt x="5" y="1"/>
                    <a:pt x="10" y="1"/>
                    <a:pt x="10" y="2"/>
                  </a:cubicBezTo>
                  <a:cubicBezTo>
                    <a:pt x="10" y="2"/>
                    <a:pt x="10" y="4"/>
                    <a:pt x="11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5" y="7"/>
                    <a:pt x="14" y="8"/>
                    <a:pt x="14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11"/>
                    <a:pt x="9" y="10"/>
                    <a:pt x="9" y="9"/>
                  </a:cubicBezTo>
                  <a:cubicBezTo>
                    <a:pt x="9" y="9"/>
                    <a:pt x="9" y="8"/>
                    <a:pt x="8" y="8"/>
                  </a:cubicBezTo>
                  <a:cubicBezTo>
                    <a:pt x="8" y="7"/>
                    <a:pt x="6" y="8"/>
                    <a:pt x="5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0" name="Freeform 644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335010" y="3466949"/>
              <a:ext cx="374982" cy="304729"/>
            </a:xfrm>
            <a:custGeom>
              <a:avLst/>
              <a:gdLst>
                <a:gd name="T0" fmla="*/ 6 w 62"/>
                <a:gd name="T1" fmla="*/ 43 h 47"/>
                <a:gd name="T2" fmla="*/ 2 w 62"/>
                <a:gd name="T3" fmla="*/ 40 h 47"/>
                <a:gd name="T4" fmla="*/ 0 w 62"/>
                <a:gd name="T5" fmla="*/ 37 h 47"/>
                <a:gd name="T6" fmla="*/ 1 w 62"/>
                <a:gd name="T7" fmla="*/ 34 h 47"/>
                <a:gd name="T8" fmla="*/ 4 w 62"/>
                <a:gd name="T9" fmla="*/ 34 h 47"/>
                <a:gd name="T10" fmla="*/ 14 w 62"/>
                <a:gd name="T11" fmla="*/ 33 h 47"/>
                <a:gd name="T12" fmla="*/ 16 w 62"/>
                <a:gd name="T13" fmla="*/ 27 h 47"/>
                <a:gd name="T14" fmla="*/ 16 w 62"/>
                <a:gd name="T15" fmla="*/ 18 h 47"/>
                <a:gd name="T16" fmla="*/ 22 w 62"/>
                <a:gd name="T17" fmla="*/ 17 h 47"/>
                <a:gd name="T18" fmla="*/ 28 w 62"/>
                <a:gd name="T19" fmla="*/ 11 h 47"/>
                <a:gd name="T20" fmla="*/ 45 w 62"/>
                <a:gd name="T21" fmla="*/ 0 h 47"/>
                <a:gd name="T22" fmla="*/ 46 w 62"/>
                <a:gd name="T23" fmla="*/ 0 h 47"/>
                <a:gd name="T24" fmla="*/ 50 w 62"/>
                <a:gd name="T25" fmla="*/ 1 h 47"/>
                <a:gd name="T26" fmla="*/ 54 w 62"/>
                <a:gd name="T27" fmla="*/ 4 h 47"/>
                <a:gd name="T28" fmla="*/ 58 w 62"/>
                <a:gd name="T29" fmla="*/ 2 h 47"/>
                <a:gd name="T30" fmla="*/ 58 w 62"/>
                <a:gd name="T31" fmla="*/ 4 h 47"/>
                <a:gd name="T32" fmla="*/ 59 w 62"/>
                <a:gd name="T33" fmla="*/ 9 h 47"/>
                <a:gd name="T34" fmla="*/ 62 w 62"/>
                <a:gd name="T35" fmla="*/ 13 h 47"/>
                <a:gd name="T36" fmla="*/ 61 w 62"/>
                <a:gd name="T37" fmla="*/ 16 h 47"/>
                <a:gd name="T38" fmla="*/ 59 w 62"/>
                <a:gd name="T39" fmla="*/ 27 h 47"/>
                <a:gd name="T40" fmla="*/ 52 w 62"/>
                <a:gd name="T41" fmla="*/ 36 h 47"/>
                <a:gd name="T42" fmla="*/ 52 w 62"/>
                <a:gd name="T43" fmla="*/ 39 h 47"/>
                <a:gd name="T44" fmla="*/ 47 w 62"/>
                <a:gd name="T45" fmla="*/ 42 h 47"/>
                <a:gd name="T46" fmla="*/ 41 w 62"/>
                <a:gd name="T47" fmla="*/ 41 h 47"/>
                <a:gd name="T48" fmla="*/ 37 w 62"/>
                <a:gd name="T49" fmla="*/ 43 h 47"/>
                <a:gd name="T50" fmla="*/ 30 w 62"/>
                <a:gd name="T51" fmla="*/ 41 h 47"/>
                <a:gd name="T52" fmla="*/ 26 w 62"/>
                <a:gd name="T53" fmla="*/ 42 h 47"/>
                <a:gd name="T54" fmla="*/ 21 w 62"/>
                <a:gd name="T55" fmla="*/ 39 h 47"/>
                <a:gd name="T56" fmla="*/ 16 w 62"/>
                <a:gd name="T57" fmla="*/ 41 h 47"/>
                <a:gd name="T58" fmla="*/ 14 w 62"/>
                <a:gd name="T59" fmla="*/ 47 h 47"/>
                <a:gd name="T60" fmla="*/ 11 w 62"/>
                <a:gd name="T61" fmla="*/ 44 h 47"/>
                <a:gd name="T62" fmla="*/ 8 w 62"/>
                <a:gd name="T63" fmla="*/ 45 h 47"/>
                <a:gd name="T64" fmla="*/ 6 w 62"/>
                <a:gd name="T65" fmla="*/ 43 h 47"/>
                <a:gd name="connsiteX0" fmla="*/ 968 w 10000"/>
                <a:gd name="connsiteY0" fmla="*/ 9149 h 10000"/>
                <a:gd name="connsiteX1" fmla="*/ 323 w 10000"/>
                <a:gd name="connsiteY1" fmla="*/ 8511 h 10000"/>
                <a:gd name="connsiteX2" fmla="*/ 0 w 10000"/>
                <a:gd name="connsiteY2" fmla="*/ 7872 h 10000"/>
                <a:gd name="connsiteX3" fmla="*/ 161 w 10000"/>
                <a:gd name="connsiteY3" fmla="*/ 7234 h 10000"/>
                <a:gd name="connsiteX4" fmla="*/ 645 w 10000"/>
                <a:gd name="connsiteY4" fmla="*/ 7234 h 10000"/>
                <a:gd name="connsiteX5" fmla="*/ 2258 w 10000"/>
                <a:gd name="connsiteY5" fmla="*/ 7021 h 10000"/>
                <a:gd name="connsiteX6" fmla="*/ 2263 w 10000"/>
                <a:gd name="connsiteY6" fmla="*/ 5745 h 10000"/>
                <a:gd name="connsiteX7" fmla="*/ 2581 w 10000"/>
                <a:gd name="connsiteY7" fmla="*/ 3830 h 10000"/>
                <a:gd name="connsiteX8" fmla="*/ 3548 w 10000"/>
                <a:gd name="connsiteY8" fmla="*/ 3617 h 10000"/>
                <a:gd name="connsiteX9" fmla="*/ 4516 w 10000"/>
                <a:gd name="connsiteY9" fmla="*/ 2340 h 10000"/>
                <a:gd name="connsiteX10" fmla="*/ 7258 w 10000"/>
                <a:gd name="connsiteY10" fmla="*/ 0 h 10000"/>
                <a:gd name="connsiteX11" fmla="*/ 7419 w 10000"/>
                <a:gd name="connsiteY11" fmla="*/ 0 h 10000"/>
                <a:gd name="connsiteX12" fmla="*/ 8065 w 10000"/>
                <a:gd name="connsiteY12" fmla="*/ 213 h 10000"/>
                <a:gd name="connsiteX13" fmla="*/ 8710 w 10000"/>
                <a:gd name="connsiteY13" fmla="*/ 851 h 10000"/>
                <a:gd name="connsiteX14" fmla="*/ 9355 w 10000"/>
                <a:gd name="connsiteY14" fmla="*/ 426 h 10000"/>
                <a:gd name="connsiteX15" fmla="*/ 9355 w 10000"/>
                <a:gd name="connsiteY15" fmla="*/ 851 h 10000"/>
                <a:gd name="connsiteX16" fmla="*/ 9516 w 10000"/>
                <a:gd name="connsiteY16" fmla="*/ 1915 h 10000"/>
                <a:gd name="connsiteX17" fmla="*/ 10000 w 10000"/>
                <a:gd name="connsiteY17" fmla="*/ 2766 h 10000"/>
                <a:gd name="connsiteX18" fmla="*/ 9839 w 10000"/>
                <a:gd name="connsiteY18" fmla="*/ 3404 h 10000"/>
                <a:gd name="connsiteX19" fmla="*/ 9516 w 10000"/>
                <a:gd name="connsiteY19" fmla="*/ 5745 h 10000"/>
                <a:gd name="connsiteX20" fmla="*/ 8387 w 10000"/>
                <a:gd name="connsiteY20" fmla="*/ 7660 h 10000"/>
                <a:gd name="connsiteX21" fmla="*/ 8387 w 10000"/>
                <a:gd name="connsiteY21" fmla="*/ 8298 h 10000"/>
                <a:gd name="connsiteX22" fmla="*/ 7581 w 10000"/>
                <a:gd name="connsiteY22" fmla="*/ 8936 h 10000"/>
                <a:gd name="connsiteX23" fmla="*/ 6613 w 10000"/>
                <a:gd name="connsiteY23" fmla="*/ 8723 h 10000"/>
                <a:gd name="connsiteX24" fmla="*/ 5968 w 10000"/>
                <a:gd name="connsiteY24" fmla="*/ 9149 h 10000"/>
                <a:gd name="connsiteX25" fmla="*/ 4839 w 10000"/>
                <a:gd name="connsiteY25" fmla="*/ 8723 h 10000"/>
                <a:gd name="connsiteX26" fmla="*/ 4194 w 10000"/>
                <a:gd name="connsiteY26" fmla="*/ 8936 h 10000"/>
                <a:gd name="connsiteX27" fmla="*/ 3387 w 10000"/>
                <a:gd name="connsiteY27" fmla="*/ 8298 h 10000"/>
                <a:gd name="connsiteX28" fmla="*/ 2581 w 10000"/>
                <a:gd name="connsiteY28" fmla="*/ 8723 h 10000"/>
                <a:gd name="connsiteX29" fmla="*/ 2258 w 10000"/>
                <a:gd name="connsiteY29" fmla="*/ 10000 h 10000"/>
                <a:gd name="connsiteX30" fmla="*/ 1774 w 10000"/>
                <a:gd name="connsiteY30" fmla="*/ 9362 h 10000"/>
                <a:gd name="connsiteX31" fmla="*/ 1290 w 10000"/>
                <a:gd name="connsiteY31" fmla="*/ 9574 h 10000"/>
                <a:gd name="connsiteX32" fmla="*/ 968 w 10000"/>
                <a:gd name="connsiteY32" fmla="*/ 9149 h 10000"/>
                <a:gd name="connsiteX0" fmla="*/ 968 w 10000"/>
                <a:gd name="connsiteY0" fmla="*/ 9149 h 10000"/>
                <a:gd name="connsiteX1" fmla="*/ 323 w 10000"/>
                <a:gd name="connsiteY1" fmla="*/ 8511 h 10000"/>
                <a:gd name="connsiteX2" fmla="*/ 0 w 10000"/>
                <a:gd name="connsiteY2" fmla="*/ 7872 h 10000"/>
                <a:gd name="connsiteX3" fmla="*/ 161 w 10000"/>
                <a:gd name="connsiteY3" fmla="*/ 7234 h 10000"/>
                <a:gd name="connsiteX4" fmla="*/ 645 w 10000"/>
                <a:gd name="connsiteY4" fmla="*/ 7234 h 10000"/>
                <a:gd name="connsiteX5" fmla="*/ 2004 w 10000"/>
                <a:gd name="connsiteY5" fmla="*/ 6602 h 10000"/>
                <a:gd name="connsiteX6" fmla="*/ 2263 w 10000"/>
                <a:gd name="connsiteY6" fmla="*/ 5745 h 10000"/>
                <a:gd name="connsiteX7" fmla="*/ 2581 w 10000"/>
                <a:gd name="connsiteY7" fmla="*/ 3830 h 10000"/>
                <a:gd name="connsiteX8" fmla="*/ 3548 w 10000"/>
                <a:gd name="connsiteY8" fmla="*/ 3617 h 10000"/>
                <a:gd name="connsiteX9" fmla="*/ 4516 w 10000"/>
                <a:gd name="connsiteY9" fmla="*/ 2340 h 10000"/>
                <a:gd name="connsiteX10" fmla="*/ 7258 w 10000"/>
                <a:gd name="connsiteY10" fmla="*/ 0 h 10000"/>
                <a:gd name="connsiteX11" fmla="*/ 7419 w 10000"/>
                <a:gd name="connsiteY11" fmla="*/ 0 h 10000"/>
                <a:gd name="connsiteX12" fmla="*/ 8065 w 10000"/>
                <a:gd name="connsiteY12" fmla="*/ 213 h 10000"/>
                <a:gd name="connsiteX13" fmla="*/ 8710 w 10000"/>
                <a:gd name="connsiteY13" fmla="*/ 851 h 10000"/>
                <a:gd name="connsiteX14" fmla="*/ 9355 w 10000"/>
                <a:gd name="connsiteY14" fmla="*/ 426 h 10000"/>
                <a:gd name="connsiteX15" fmla="*/ 9355 w 10000"/>
                <a:gd name="connsiteY15" fmla="*/ 851 h 10000"/>
                <a:gd name="connsiteX16" fmla="*/ 9516 w 10000"/>
                <a:gd name="connsiteY16" fmla="*/ 1915 h 10000"/>
                <a:gd name="connsiteX17" fmla="*/ 10000 w 10000"/>
                <a:gd name="connsiteY17" fmla="*/ 2766 h 10000"/>
                <a:gd name="connsiteX18" fmla="*/ 9839 w 10000"/>
                <a:gd name="connsiteY18" fmla="*/ 3404 h 10000"/>
                <a:gd name="connsiteX19" fmla="*/ 9516 w 10000"/>
                <a:gd name="connsiteY19" fmla="*/ 5745 h 10000"/>
                <a:gd name="connsiteX20" fmla="*/ 8387 w 10000"/>
                <a:gd name="connsiteY20" fmla="*/ 7660 h 10000"/>
                <a:gd name="connsiteX21" fmla="*/ 8387 w 10000"/>
                <a:gd name="connsiteY21" fmla="*/ 8298 h 10000"/>
                <a:gd name="connsiteX22" fmla="*/ 7581 w 10000"/>
                <a:gd name="connsiteY22" fmla="*/ 8936 h 10000"/>
                <a:gd name="connsiteX23" fmla="*/ 6613 w 10000"/>
                <a:gd name="connsiteY23" fmla="*/ 8723 h 10000"/>
                <a:gd name="connsiteX24" fmla="*/ 5968 w 10000"/>
                <a:gd name="connsiteY24" fmla="*/ 9149 h 10000"/>
                <a:gd name="connsiteX25" fmla="*/ 4839 w 10000"/>
                <a:gd name="connsiteY25" fmla="*/ 8723 h 10000"/>
                <a:gd name="connsiteX26" fmla="*/ 4194 w 10000"/>
                <a:gd name="connsiteY26" fmla="*/ 8936 h 10000"/>
                <a:gd name="connsiteX27" fmla="*/ 3387 w 10000"/>
                <a:gd name="connsiteY27" fmla="*/ 8298 h 10000"/>
                <a:gd name="connsiteX28" fmla="*/ 2581 w 10000"/>
                <a:gd name="connsiteY28" fmla="*/ 8723 h 10000"/>
                <a:gd name="connsiteX29" fmla="*/ 2258 w 10000"/>
                <a:gd name="connsiteY29" fmla="*/ 10000 h 10000"/>
                <a:gd name="connsiteX30" fmla="*/ 1774 w 10000"/>
                <a:gd name="connsiteY30" fmla="*/ 9362 h 10000"/>
                <a:gd name="connsiteX31" fmla="*/ 1290 w 10000"/>
                <a:gd name="connsiteY31" fmla="*/ 9574 h 10000"/>
                <a:gd name="connsiteX32" fmla="*/ 968 w 10000"/>
                <a:gd name="connsiteY32" fmla="*/ 914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00" h="10000">
                  <a:moveTo>
                    <a:pt x="968" y="9149"/>
                  </a:moveTo>
                  <a:cubicBezTo>
                    <a:pt x="806" y="8936"/>
                    <a:pt x="484" y="8723"/>
                    <a:pt x="323" y="8511"/>
                  </a:cubicBezTo>
                  <a:cubicBezTo>
                    <a:pt x="161" y="8298"/>
                    <a:pt x="0" y="8085"/>
                    <a:pt x="0" y="7872"/>
                  </a:cubicBezTo>
                  <a:cubicBezTo>
                    <a:pt x="54" y="7659"/>
                    <a:pt x="107" y="7447"/>
                    <a:pt x="161" y="7234"/>
                  </a:cubicBezTo>
                  <a:cubicBezTo>
                    <a:pt x="322" y="7234"/>
                    <a:pt x="338" y="7339"/>
                    <a:pt x="645" y="7234"/>
                  </a:cubicBezTo>
                  <a:cubicBezTo>
                    <a:pt x="952" y="7129"/>
                    <a:pt x="1734" y="6850"/>
                    <a:pt x="2004" y="6602"/>
                  </a:cubicBezTo>
                  <a:cubicBezTo>
                    <a:pt x="2274" y="6354"/>
                    <a:pt x="2167" y="6207"/>
                    <a:pt x="2263" y="5745"/>
                  </a:cubicBezTo>
                  <a:cubicBezTo>
                    <a:pt x="2359" y="5283"/>
                    <a:pt x="2367" y="4185"/>
                    <a:pt x="2581" y="3830"/>
                  </a:cubicBezTo>
                  <a:cubicBezTo>
                    <a:pt x="2795" y="3475"/>
                    <a:pt x="3548" y="3617"/>
                    <a:pt x="3548" y="3617"/>
                  </a:cubicBezTo>
                  <a:lnTo>
                    <a:pt x="4516" y="2340"/>
                  </a:lnTo>
                  <a:cubicBezTo>
                    <a:pt x="4516" y="2128"/>
                    <a:pt x="6774" y="638"/>
                    <a:pt x="7258" y="0"/>
                  </a:cubicBezTo>
                  <a:lnTo>
                    <a:pt x="7419" y="0"/>
                  </a:lnTo>
                  <a:lnTo>
                    <a:pt x="8065" y="213"/>
                  </a:lnTo>
                  <a:lnTo>
                    <a:pt x="8710" y="851"/>
                  </a:lnTo>
                  <a:lnTo>
                    <a:pt x="9355" y="426"/>
                  </a:lnTo>
                  <a:lnTo>
                    <a:pt x="9355" y="851"/>
                  </a:lnTo>
                  <a:cubicBezTo>
                    <a:pt x="9409" y="1206"/>
                    <a:pt x="9462" y="1560"/>
                    <a:pt x="9516" y="1915"/>
                  </a:cubicBezTo>
                  <a:lnTo>
                    <a:pt x="10000" y="2766"/>
                  </a:lnTo>
                  <a:cubicBezTo>
                    <a:pt x="10000" y="2766"/>
                    <a:pt x="9839" y="3191"/>
                    <a:pt x="9839" y="3404"/>
                  </a:cubicBezTo>
                  <a:cubicBezTo>
                    <a:pt x="9677" y="3617"/>
                    <a:pt x="9677" y="5532"/>
                    <a:pt x="9516" y="5745"/>
                  </a:cubicBezTo>
                  <a:lnTo>
                    <a:pt x="8387" y="7660"/>
                  </a:lnTo>
                  <a:lnTo>
                    <a:pt x="8387" y="8298"/>
                  </a:lnTo>
                  <a:cubicBezTo>
                    <a:pt x="8226" y="8511"/>
                    <a:pt x="7742" y="8936"/>
                    <a:pt x="7581" y="8936"/>
                  </a:cubicBezTo>
                  <a:cubicBezTo>
                    <a:pt x="7258" y="8936"/>
                    <a:pt x="6774" y="8723"/>
                    <a:pt x="6613" y="8723"/>
                  </a:cubicBezTo>
                  <a:cubicBezTo>
                    <a:pt x="6452" y="8723"/>
                    <a:pt x="6129" y="9149"/>
                    <a:pt x="5968" y="9149"/>
                  </a:cubicBezTo>
                  <a:cubicBezTo>
                    <a:pt x="5806" y="9362"/>
                    <a:pt x="5161" y="8723"/>
                    <a:pt x="4839" y="8723"/>
                  </a:cubicBezTo>
                  <a:cubicBezTo>
                    <a:pt x="4839" y="8511"/>
                    <a:pt x="4194" y="9149"/>
                    <a:pt x="4194" y="8936"/>
                  </a:cubicBezTo>
                  <a:cubicBezTo>
                    <a:pt x="4194" y="8723"/>
                    <a:pt x="3710" y="8298"/>
                    <a:pt x="3387" y="8298"/>
                  </a:cubicBezTo>
                  <a:cubicBezTo>
                    <a:pt x="3226" y="8298"/>
                    <a:pt x="2581" y="8298"/>
                    <a:pt x="2581" y="8723"/>
                  </a:cubicBezTo>
                  <a:cubicBezTo>
                    <a:pt x="2419" y="8936"/>
                    <a:pt x="2258" y="9574"/>
                    <a:pt x="2258" y="10000"/>
                  </a:cubicBezTo>
                  <a:lnTo>
                    <a:pt x="1774" y="9362"/>
                  </a:lnTo>
                  <a:lnTo>
                    <a:pt x="1290" y="9574"/>
                  </a:lnTo>
                  <a:lnTo>
                    <a:pt x="968" y="9149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1" name="Freeform 644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394382" y="3718075"/>
              <a:ext cx="273718" cy="242920"/>
            </a:xfrm>
            <a:custGeom>
              <a:avLst/>
              <a:gdLst>
                <a:gd name="T0" fmla="*/ 4 w 46"/>
                <a:gd name="T1" fmla="*/ 9 h 38"/>
                <a:gd name="T2" fmla="*/ 6 w 46"/>
                <a:gd name="T3" fmla="*/ 2 h 38"/>
                <a:gd name="T4" fmla="*/ 11 w 46"/>
                <a:gd name="T5" fmla="*/ 0 h 38"/>
                <a:gd name="T6" fmla="*/ 16 w 46"/>
                <a:gd name="T7" fmla="*/ 3 h 38"/>
                <a:gd name="T8" fmla="*/ 20 w 46"/>
                <a:gd name="T9" fmla="*/ 2 h 38"/>
                <a:gd name="T10" fmla="*/ 27 w 46"/>
                <a:gd name="T11" fmla="*/ 5 h 38"/>
                <a:gd name="T12" fmla="*/ 31 w 46"/>
                <a:gd name="T13" fmla="*/ 2 h 38"/>
                <a:gd name="T14" fmla="*/ 36 w 46"/>
                <a:gd name="T15" fmla="*/ 3 h 38"/>
                <a:gd name="T16" fmla="*/ 42 w 46"/>
                <a:gd name="T17" fmla="*/ 0 h 38"/>
                <a:gd name="T18" fmla="*/ 43 w 46"/>
                <a:gd name="T19" fmla="*/ 3 h 38"/>
                <a:gd name="T20" fmla="*/ 44 w 46"/>
                <a:gd name="T21" fmla="*/ 6 h 38"/>
                <a:gd name="T22" fmla="*/ 45 w 46"/>
                <a:gd name="T23" fmla="*/ 8 h 38"/>
                <a:gd name="T24" fmla="*/ 43 w 46"/>
                <a:gd name="T25" fmla="*/ 10 h 38"/>
                <a:gd name="T26" fmla="*/ 40 w 46"/>
                <a:gd name="T27" fmla="*/ 16 h 38"/>
                <a:gd name="T28" fmla="*/ 37 w 46"/>
                <a:gd name="T29" fmla="*/ 22 h 38"/>
                <a:gd name="T30" fmla="*/ 33 w 46"/>
                <a:gd name="T31" fmla="*/ 29 h 38"/>
                <a:gd name="T32" fmla="*/ 31 w 46"/>
                <a:gd name="T33" fmla="*/ 27 h 38"/>
                <a:gd name="T34" fmla="*/ 29 w 46"/>
                <a:gd name="T35" fmla="*/ 27 h 38"/>
                <a:gd name="T36" fmla="*/ 24 w 46"/>
                <a:gd name="T37" fmla="*/ 31 h 38"/>
                <a:gd name="T38" fmla="*/ 22 w 46"/>
                <a:gd name="T39" fmla="*/ 36 h 38"/>
                <a:gd name="T40" fmla="*/ 18 w 46"/>
                <a:gd name="T41" fmla="*/ 37 h 38"/>
                <a:gd name="T42" fmla="*/ 12 w 46"/>
                <a:gd name="T43" fmla="*/ 36 h 38"/>
                <a:gd name="T44" fmla="*/ 7 w 46"/>
                <a:gd name="T45" fmla="*/ 29 h 38"/>
                <a:gd name="T46" fmla="*/ 1 w 46"/>
                <a:gd name="T47" fmla="*/ 29 h 38"/>
                <a:gd name="T48" fmla="*/ 0 w 46"/>
                <a:gd name="T49" fmla="*/ 19 h 38"/>
                <a:gd name="T50" fmla="*/ 4 w 46"/>
                <a:gd name="T51" fmla="*/ 14 h 38"/>
                <a:gd name="T52" fmla="*/ 4 w 46"/>
                <a:gd name="T53" fmla="*/ 9 h 38"/>
                <a:gd name="connsiteX0" fmla="*/ 870 w 9842"/>
                <a:gd name="connsiteY0" fmla="*/ 2368 h 9802"/>
                <a:gd name="connsiteX1" fmla="*/ 1304 w 9842"/>
                <a:gd name="connsiteY1" fmla="*/ 526 h 9802"/>
                <a:gd name="connsiteX2" fmla="*/ 2391 w 9842"/>
                <a:gd name="connsiteY2" fmla="*/ 0 h 9802"/>
                <a:gd name="connsiteX3" fmla="*/ 3478 w 9842"/>
                <a:gd name="connsiteY3" fmla="*/ 789 h 9802"/>
                <a:gd name="connsiteX4" fmla="*/ 4348 w 9842"/>
                <a:gd name="connsiteY4" fmla="*/ 526 h 9802"/>
                <a:gd name="connsiteX5" fmla="*/ 5870 w 9842"/>
                <a:gd name="connsiteY5" fmla="*/ 1316 h 9802"/>
                <a:gd name="connsiteX6" fmla="*/ 6739 w 9842"/>
                <a:gd name="connsiteY6" fmla="*/ 526 h 9802"/>
                <a:gd name="connsiteX7" fmla="*/ 7826 w 9842"/>
                <a:gd name="connsiteY7" fmla="*/ 789 h 9802"/>
                <a:gd name="connsiteX8" fmla="*/ 9130 w 9842"/>
                <a:gd name="connsiteY8" fmla="*/ 0 h 9802"/>
                <a:gd name="connsiteX9" fmla="*/ 9348 w 9842"/>
                <a:gd name="connsiteY9" fmla="*/ 789 h 9802"/>
                <a:gd name="connsiteX10" fmla="*/ 9565 w 9842"/>
                <a:gd name="connsiteY10" fmla="*/ 1579 h 9802"/>
                <a:gd name="connsiteX11" fmla="*/ 9783 w 9842"/>
                <a:gd name="connsiteY11" fmla="*/ 2105 h 9802"/>
                <a:gd name="connsiteX12" fmla="*/ 9348 w 9842"/>
                <a:gd name="connsiteY12" fmla="*/ 2632 h 9802"/>
                <a:gd name="connsiteX13" fmla="*/ 8953 w 9842"/>
                <a:gd name="connsiteY13" fmla="*/ 4314 h 9802"/>
                <a:gd name="connsiteX14" fmla="*/ 8043 w 9842"/>
                <a:gd name="connsiteY14" fmla="*/ 5789 h 9802"/>
                <a:gd name="connsiteX15" fmla="*/ 7174 w 9842"/>
                <a:gd name="connsiteY15" fmla="*/ 7632 h 9802"/>
                <a:gd name="connsiteX16" fmla="*/ 6739 w 9842"/>
                <a:gd name="connsiteY16" fmla="*/ 7105 h 9802"/>
                <a:gd name="connsiteX17" fmla="*/ 6304 w 9842"/>
                <a:gd name="connsiteY17" fmla="*/ 7105 h 9802"/>
                <a:gd name="connsiteX18" fmla="*/ 5217 w 9842"/>
                <a:gd name="connsiteY18" fmla="*/ 8158 h 9802"/>
                <a:gd name="connsiteX19" fmla="*/ 4783 w 9842"/>
                <a:gd name="connsiteY19" fmla="*/ 9474 h 9802"/>
                <a:gd name="connsiteX20" fmla="*/ 3913 w 9842"/>
                <a:gd name="connsiteY20" fmla="*/ 9737 h 9802"/>
                <a:gd name="connsiteX21" fmla="*/ 2609 w 9842"/>
                <a:gd name="connsiteY21" fmla="*/ 9474 h 9802"/>
                <a:gd name="connsiteX22" fmla="*/ 1522 w 9842"/>
                <a:gd name="connsiteY22" fmla="*/ 7632 h 9802"/>
                <a:gd name="connsiteX23" fmla="*/ 217 w 9842"/>
                <a:gd name="connsiteY23" fmla="*/ 7632 h 9802"/>
                <a:gd name="connsiteX24" fmla="*/ 0 w 9842"/>
                <a:gd name="connsiteY24" fmla="*/ 5000 h 9802"/>
                <a:gd name="connsiteX25" fmla="*/ 870 w 9842"/>
                <a:gd name="connsiteY25" fmla="*/ 3684 h 9802"/>
                <a:gd name="connsiteX26" fmla="*/ 870 w 9842"/>
                <a:gd name="connsiteY26" fmla="*/ 2368 h 9802"/>
                <a:gd name="connsiteX0" fmla="*/ 884 w 10000"/>
                <a:gd name="connsiteY0" fmla="*/ 2416 h 10000"/>
                <a:gd name="connsiteX1" fmla="*/ 1325 w 10000"/>
                <a:gd name="connsiteY1" fmla="*/ 537 h 10000"/>
                <a:gd name="connsiteX2" fmla="*/ 2429 w 10000"/>
                <a:gd name="connsiteY2" fmla="*/ 0 h 10000"/>
                <a:gd name="connsiteX3" fmla="*/ 3534 w 10000"/>
                <a:gd name="connsiteY3" fmla="*/ 805 h 10000"/>
                <a:gd name="connsiteX4" fmla="*/ 4418 w 10000"/>
                <a:gd name="connsiteY4" fmla="*/ 537 h 10000"/>
                <a:gd name="connsiteX5" fmla="*/ 5964 w 10000"/>
                <a:gd name="connsiteY5" fmla="*/ 1343 h 10000"/>
                <a:gd name="connsiteX6" fmla="*/ 6847 w 10000"/>
                <a:gd name="connsiteY6" fmla="*/ 537 h 10000"/>
                <a:gd name="connsiteX7" fmla="*/ 7952 w 10000"/>
                <a:gd name="connsiteY7" fmla="*/ 805 h 10000"/>
                <a:gd name="connsiteX8" fmla="*/ 9277 w 10000"/>
                <a:gd name="connsiteY8" fmla="*/ 0 h 10000"/>
                <a:gd name="connsiteX9" fmla="*/ 9498 w 10000"/>
                <a:gd name="connsiteY9" fmla="*/ 805 h 10000"/>
                <a:gd name="connsiteX10" fmla="*/ 9719 w 10000"/>
                <a:gd name="connsiteY10" fmla="*/ 1611 h 10000"/>
                <a:gd name="connsiteX11" fmla="*/ 9940 w 10000"/>
                <a:gd name="connsiteY11" fmla="*/ 2148 h 10000"/>
                <a:gd name="connsiteX12" fmla="*/ 9498 w 10000"/>
                <a:gd name="connsiteY12" fmla="*/ 2685 h 10000"/>
                <a:gd name="connsiteX13" fmla="*/ 9097 w 10000"/>
                <a:gd name="connsiteY13" fmla="*/ 4401 h 10000"/>
                <a:gd name="connsiteX14" fmla="*/ 8172 w 10000"/>
                <a:gd name="connsiteY14" fmla="*/ 6326 h 10000"/>
                <a:gd name="connsiteX15" fmla="*/ 7289 w 10000"/>
                <a:gd name="connsiteY15" fmla="*/ 7786 h 10000"/>
                <a:gd name="connsiteX16" fmla="*/ 6847 w 10000"/>
                <a:gd name="connsiteY16" fmla="*/ 7249 h 10000"/>
                <a:gd name="connsiteX17" fmla="*/ 6405 w 10000"/>
                <a:gd name="connsiteY17" fmla="*/ 7249 h 10000"/>
                <a:gd name="connsiteX18" fmla="*/ 5301 w 10000"/>
                <a:gd name="connsiteY18" fmla="*/ 8323 h 10000"/>
                <a:gd name="connsiteX19" fmla="*/ 4860 w 10000"/>
                <a:gd name="connsiteY19" fmla="*/ 9665 h 10000"/>
                <a:gd name="connsiteX20" fmla="*/ 3976 w 10000"/>
                <a:gd name="connsiteY20" fmla="*/ 9934 h 10000"/>
                <a:gd name="connsiteX21" fmla="*/ 2651 w 10000"/>
                <a:gd name="connsiteY21" fmla="*/ 9665 h 10000"/>
                <a:gd name="connsiteX22" fmla="*/ 1546 w 10000"/>
                <a:gd name="connsiteY22" fmla="*/ 7786 h 10000"/>
                <a:gd name="connsiteX23" fmla="*/ 220 w 10000"/>
                <a:gd name="connsiteY23" fmla="*/ 7786 h 10000"/>
                <a:gd name="connsiteX24" fmla="*/ 0 w 10000"/>
                <a:gd name="connsiteY24" fmla="*/ 5101 h 10000"/>
                <a:gd name="connsiteX25" fmla="*/ 884 w 10000"/>
                <a:gd name="connsiteY25" fmla="*/ 3758 h 10000"/>
                <a:gd name="connsiteX26" fmla="*/ 884 w 10000"/>
                <a:gd name="connsiteY26" fmla="*/ 2416 h 10000"/>
                <a:gd name="connsiteX0" fmla="*/ 884 w 10000"/>
                <a:gd name="connsiteY0" fmla="*/ 2417 h 10001"/>
                <a:gd name="connsiteX1" fmla="*/ 1325 w 10000"/>
                <a:gd name="connsiteY1" fmla="*/ 538 h 10001"/>
                <a:gd name="connsiteX2" fmla="*/ 2429 w 10000"/>
                <a:gd name="connsiteY2" fmla="*/ 1 h 10001"/>
                <a:gd name="connsiteX3" fmla="*/ 3621 w 10000"/>
                <a:gd name="connsiteY3" fmla="*/ 386 h 10001"/>
                <a:gd name="connsiteX4" fmla="*/ 4418 w 10000"/>
                <a:gd name="connsiteY4" fmla="*/ 538 h 10001"/>
                <a:gd name="connsiteX5" fmla="*/ 5964 w 10000"/>
                <a:gd name="connsiteY5" fmla="*/ 1344 h 10001"/>
                <a:gd name="connsiteX6" fmla="*/ 6847 w 10000"/>
                <a:gd name="connsiteY6" fmla="*/ 538 h 10001"/>
                <a:gd name="connsiteX7" fmla="*/ 7952 w 10000"/>
                <a:gd name="connsiteY7" fmla="*/ 806 h 10001"/>
                <a:gd name="connsiteX8" fmla="*/ 9277 w 10000"/>
                <a:gd name="connsiteY8" fmla="*/ 1 h 10001"/>
                <a:gd name="connsiteX9" fmla="*/ 9498 w 10000"/>
                <a:gd name="connsiteY9" fmla="*/ 806 h 10001"/>
                <a:gd name="connsiteX10" fmla="*/ 9719 w 10000"/>
                <a:gd name="connsiteY10" fmla="*/ 1612 h 10001"/>
                <a:gd name="connsiteX11" fmla="*/ 9940 w 10000"/>
                <a:gd name="connsiteY11" fmla="*/ 2149 h 10001"/>
                <a:gd name="connsiteX12" fmla="*/ 9498 w 10000"/>
                <a:gd name="connsiteY12" fmla="*/ 2686 h 10001"/>
                <a:gd name="connsiteX13" fmla="*/ 9097 w 10000"/>
                <a:gd name="connsiteY13" fmla="*/ 4402 h 10001"/>
                <a:gd name="connsiteX14" fmla="*/ 8172 w 10000"/>
                <a:gd name="connsiteY14" fmla="*/ 6327 h 10001"/>
                <a:gd name="connsiteX15" fmla="*/ 7289 w 10000"/>
                <a:gd name="connsiteY15" fmla="*/ 7787 h 10001"/>
                <a:gd name="connsiteX16" fmla="*/ 6847 w 10000"/>
                <a:gd name="connsiteY16" fmla="*/ 7250 h 10001"/>
                <a:gd name="connsiteX17" fmla="*/ 6405 w 10000"/>
                <a:gd name="connsiteY17" fmla="*/ 7250 h 10001"/>
                <a:gd name="connsiteX18" fmla="*/ 5301 w 10000"/>
                <a:gd name="connsiteY18" fmla="*/ 8324 h 10001"/>
                <a:gd name="connsiteX19" fmla="*/ 4860 w 10000"/>
                <a:gd name="connsiteY19" fmla="*/ 9666 h 10001"/>
                <a:gd name="connsiteX20" fmla="*/ 3976 w 10000"/>
                <a:gd name="connsiteY20" fmla="*/ 9935 h 10001"/>
                <a:gd name="connsiteX21" fmla="*/ 2651 w 10000"/>
                <a:gd name="connsiteY21" fmla="*/ 9666 h 10001"/>
                <a:gd name="connsiteX22" fmla="*/ 1546 w 10000"/>
                <a:gd name="connsiteY22" fmla="*/ 7787 h 10001"/>
                <a:gd name="connsiteX23" fmla="*/ 220 w 10000"/>
                <a:gd name="connsiteY23" fmla="*/ 7787 h 10001"/>
                <a:gd name="connsiteX24" fmla="*/ 0 w 10000"/>
                <a:gd name="connsiteY24" fmla="*/ 5102 h 10001"/>
                <a:gd name="connsiteX25" fmla="*/ 884 w 10000"/>
                <a:gd name="connsiteY25" fmla="*/ 3759 h 10001"/>
                <a:gd name="connsiteX26" fmla="*/ 884 w 10000"/>
                <a:gd name="connsiteY26" fmla="*/ 2417 h 10001"/>
                <a:gd name="connsiteX0" fmla="*/ 884 w 10000"/>
                <a:gd name="connsiteY0" fmla="*/ 2417 h 10001"/>
                <a:gd name="connsiteX1" fmla="*/ 1325 w 10000"/>
                <a:gd name="connsiteY1" fmla="*/ 538 h 10001"/>
                <a:gd name="connsiteX2" fmla="*/ 2429 w 10000"/>
                <a:gd name="connsiteY2" fmla="*/ 1 h 10001"/>
                <a:gd name="connsiteX3" fmla="*/ 3621 w 10000"/>
                <a:gd name="connsiteY3" fmla="*/ 386 h 10001"/>
                <a:gd name="connsiteX4" fmla="*/ 4418 w 10000"/>
                <a:gd name="connsiteY4" fmla="*/ 538 h 10001"/>
                <a:gd name="connsiteX5" fmla="*/ 5964 w 10000"/>
                <a:gd name="connsiteY5" fmla="*/ 1344 h 10001"/>
                <a:gd name="connsiteX6" fmla="*/ 6847 w 10000"/>
                <a:gd name="connsiteY6" fmla="*/ 538 h 10001"/>
                <a:gd name="connsiteX7" fmla="*/ 7952 w 10000"/>
                <a:gd name="connsiteY7" fmla="*/ 806 h 10001"/>
                <a:gd name="connsiteX8" fmla="*/ 9277 w 10000"/>
                <a:gd name="connsiteY8" fmla="*/ 1 h 10001"/>
                <a:gd name="connsiteX9" fmla="*/ 9498 w 10000"/>
                <a:gd name="connsiteY9" fmla="*/ 806 h 10001"/>
                <a:gd name="connsiteX10" fmla="*/ 9719 w 10000"/>
                <a:gd name="connsiteY10" fmla="*/ 1612 h 10001"/>
                <a:gd name="connsiteX11" fmla="*/ 9940 w 10000"/>
                <a:gd name="connsiteY11" fmla="*/ 2149 h 10001"/>
                <a:gd name="connsiteX12" fmla="*/ 9498 w 10000"/>
                <a:gd name="connsiteY12" fmla="*/ 2686 h 10001"/>
                <a:gd name="connsiteX13" fmla="*/ 9097 w 10000"/>
                <a:gd name="connsiteY13" fmla="*/ 4402 h 10001"/>
                <a:gd name="connsiteX14" fmla="*/ 8520 w 10000"/>
                <a:gd name="connsiteY14" fmla="*/ 6327 h 10001"/>
                <a:gd name="connsiteX15" fmla="*/ 7289 w 10000"/>
                <a:gd name="connsiteY15" fmla="*/ 7787 h 10001"/>
                <a:gd name="connsiteX16" fmla="*/ 6847 w 10000"/>
                <a:gd name="connsiteY16" fmla="*/ 7250 h 10001"/>
                <a:gd name="connsiteX17" fmla="*/ 6405 w 10000"/>
                <a:gd name="connsiteY17" fmla="*/ 7250 h 10001"/>
                <a:gd name="connsiteX18" fmla="*/ 5301 w 10000"/>
                <a:gd name="connsiteY18" fmla="*/ 8324 h 10001"/>
                <a:gd name="connsiteX19" fmla="*/ 4860 w 10000"/>
                <a:gd name="connsiteY19" fmla="*/ 9666 h 10001"/>
                <a:gd name="connsiteX20" fmla="*/ 3976 w 10000"/>
                <a:gd name="connsiteY20" fmla="*/ 9935 h 10001"/>
                <a:gd name="connsiteX21" fmla="*/ 2651 w 10000"/>
                <a:gd name="connsiteY21" fmla="*/ 9666 h 10001"/>
                <a:gd name="connsiteX22" fmla="*/ 1546 w 10000"/>
                <a:gd name="connsiteY22" fmla="*/ 7787 h 10001"/>
                <a:gd name="connsiteX23" fmla="*/ 220 w 10000"/>
                <a:gd name="connsiteY23" fmla="*/ 7787 h 10001"/>
                <a:gd name="connsiteX24" fmla="*/ 0 w 10000"/>
                <a:gd name="connsiteY24" fmla="*/ 5102 h 10001"/>
                <a:gd name="connsiteX25" fmla="*/ 884 w 10000"/>
                <a:gd name="connsiteY25" fmla="*/ 3759 h 10001"/>
                <a:gd name="connsiteX26" fmla="*/ 884 w 10000"/>
                <a:gd name="connsiteY26" fmla="*/ 2417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0000" h="10001">
                  <a:moveTo>
                    <a:pt x="884" y="2417"/>
                  </a:moveTo>
                  <a:cubicBezTo>
                    <a:pt x="884" y="1880"/>
                    <a:pt x="884" y="806"/>
                    <a:pt x="1325" y="538"/>
                  </a:cubicBezTo>
                  <a:cubicBezTo>
                    <a:pt x="1325" y="1"/>
                    <a:pt x="2046" y="26"/>
                    <a:pt x="2429" y="1"/>
                  </a:cubicBezTo>
                  <a:cubicBezTo>
                    <a:pt x="2812" y="-24"/>
                    <a:pt x="3621" y="386"/>
                    <a:pt x="3621" y="386"/>
                  </a:cubicBezTo>
                  <a:cubicBezTo>
                    <a:pt x="3621" y="655"/>
                    <a:pt x="4027" y="378"/>
                    <a:pt x="4418" y="538"/>
                  </a:cubicBezTo>
                  <a:cubicBezTo>
                    <a:pt x="4809" y="698"/>
                    <a:pt x="5743" y="1344"/>
                    <a:pt x="5964" y="1344"/>
                  </a:cubicBezTo>
                  <a:cubicBezTo>
                    <a:pt x="6185" y="1075"/>
                    <a:pt x="6627" y="538"/>
                    <a:pt x="6847" y="538"/>
                  </a:cubicBezTo>
                  <a:cubicBezTo>
                    <a:pt x="7069" y="538"/>
                    <a:pt x="7731" y="806"/>
                    <a:pt x="7952" y="806"/>
                  </a:cubicBezTo>
                  <a:cubicBezTo>
                    <a:pt x="8394" y="806"/>
                    <a:pt x="9056" y="269"/>
                    <a:pt x="9277" y="1"/>
                  </a:cubicBezTo>
                  <a:cubicBezTo>
                    <a:pt x="9351" y="269"/>
                    <a:pt x="9424" y="538"/>
                    <a:pt x="9498" y="806"/>
                  </a:cubicBezTo>
                  <a:cubicBezTo>
                    <a:pt x="9572" y="1075"/>
                    <a:pt x="9645" y="1343"/>
                    <a:pt x="9719" y="1612"/>
                  </a:cubicBezTo>
                  <a:cubicBezTo>
                    <a:pt x="9719" y="1612"/>
                    <a:pt x="9940" y="1612"/>
                    <a:pt x="9940" y="2149"/>
                  </a:cubicBezTo>
                  <a:cubicBezTo>
                    <a:pt x="10161" y="2417"/>
                    <a:pt x="9719" y="2686"/>
                    <a:pt x="9498" y="2686"/>
                  </a:cubicBezTo>
                  <a:cubicBezTo>
                    <a:pt x="9277" y="2954"/>
                    <a:pt x="9260" y="3795"/>
                    <a:pt x="9097" y="4402"/>
                  </a:cubicBezTo>
                  <a:cubicBezTo>
                    <a:pt x="8934" y="5009"/>
                    <a:pt x="8742" y="5790"/>
                    <a:pt x="8520" y="6327"/>
                  </a:cubicBezTo>
                  <a:cubicBezTo>
                    <a:pt x="8079" y="6865"/>
                    <a:pt x="7510" y="7518"/>
                    <a:pt x="7289" y="7787"/>
                  </a:cubicBezTo>
                  <a:cubicBezTo>
                    <a:pt x="7069" y="7787"/>
                    <a:pt x="7069" y="7250"/>
                    <a:pt x="6847" y="7250"/>
                  </a:cubicBezTo>
                  <a:lnTo>
                    <a:pt x="6405" y="7250"/>
                  </a:lnTo>
                  <a:cubicBezTo>
                    <a:pt x="6185" y="7250"/>
                    <a:pt x="5301" y="8055"/>
                    <a:pt x="5301" y="8324"/>
                  </a:cubicBezTo>
                  <a:cubicBezTo>
                    <a:pt x="5080" y="8860"/>
                    <a:pt x="4860" y="9666"/>
                    <a:pt x="4860" y="9666"/>
                  </a:cubicBezTo>
                  <a:cubicBezTo>
                    <a:pt x="4638" y="9666"/>
                    <a:pt x="4196" y="9935"/>
                    <a:pt x="3976" y="9935"/>
                  </a:cubicBezTo>
                  <a:cubicBezTo>
                    <a:pt x="3755" y="9935"/>
                    <a:pt x="2871" y="10203"/>
                    <a:pt x="2651" y="9666"/>
                  </a:cubicBezTo>
                  <a:cubicBezTo>
                    <a:pt x="2429" y="9398"/>
                    <a:pt x="2209" y="8055"/>
                    <a:pt x="1546" y="7787"/>
                  </a:cubicBezTo>
                  <a:lnTo>
                    <a:pt x="220" y="7787"/>
                  </a:lnTo>
                  <a:cubicBezTo>
                    <a:pt x="147" y="6892"/>
                    <a:pt x="73" y="5997"/>
                    <a:pt x="0" y="5102"/>
                  </a:cubicBezTo>
                  <a:cubicBezTo>
                    <a:pt x="0" y="5102"/>
                    <a:pt x="662" y="4297"/>
                    <a:pt x="884" y="3759"/>
                  </a:cubicBezTo>
                  <a:cubicBezTo>
                    <a:pt x="1104" y="3491"/>
                    <a:pt x="884" y="2954"/>
                    <a:pt x="884" y="241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2" name="Freeform 644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347509" y="3751588"/>
              <a:ext cx="78121" cy="154039"/>
            </a:xfrm>
            <a:custGeom>
              <a:avLst/>
              <a:gdLst>
                <a:gd name="T0" fmla="*/ 2 w 13"/>
                <a:gd name="T1" fmla="*/ 9 h 24"/>
                <a:gd name="T2" fmla="*/ 0 w 13"/>
                <a:gd name="T3" fmla="*/ 7 h 24"/>
                <a:gd name="T4" fmla="*/ 0 w 13"/>
                <a:gd name="T5" fmla="*/ 6 h 24"/>
                <a:gd name="T6" fmla="*/ 2 w 13"/>
                <a:gd name="T7" fmla="*/ 4 h 24"/>
                <a:gd name="T8" fmla="*/ 6 w 13"/>
                <a:gd name="T9" fmla="*/ 2 h 24"/>
                <a:gd name="T10" fmla="*/ 6 w 13"/>
                <a:gd name="T11" fmla="*/ 1 h 24"/>
                <a:gd name="T12" fmla="*/ 8 w 13"/>
                <a:gd name="T13" fmla="*/ 0 h 24"/>
                <a:gd name="T14" fmla="*/ 11 w 13"/>
                <a:gd name="T15" fmla="*/ 3 h 24"/>
                <a:gd name="T16" fmla="*/ 12 w 13"/>
                <a:gd name="T17" fmla="*/ 9 h 24"/>
                <a:gd name="T18" fmla="*/ 8 w 13"/>
                <a:gd name="T19" fmla="*/ 14 h 24"/>
                <a:gd name="T20" fmla="*/ 9 w 13"/>
                <a:gd name="T21" fmla="*/ 23 h 24"/>
                <a:gd name="T22" fmla="*/ 4 w 13"/>
                <a:gd name="T23" fmla="*/ 24 h 24"/>
                <a:gd name="T24" fmla="*/ 3 w 13"/>
                <a:gd name="T25" fmla="*/ 21 h 24"/>
                <a:gd name="T26" fmla="*/ 3 w 13"/>
                <a:gd name="T27" fmla="*/ 13 h 24"/>
                <a:gd name="T28" fmla="*/ 2 w 13"/>
                <a:gd name="T29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24">
                  <a:moveTo>
                    <a:pt x="2" y="9"/>
                  </a:moveTo>
                  <a:cubicBezTo>
                    <a:pt x="2" y="9"/>
                    <a:pt x="0" y="9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3" y="4"/>
                    <a:pt x="6" y="4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5"/>
                    <a:pt x="13" y="7"/>
                    <a:pt x="12" y="9"/>
                  </a:cubicBezTo>
                  <a:cubicBezTo>
                    <a:pt x="11" y="11"/>
                    <a:pt x="8" y="14"/>
                    <a:pt x="8" y="1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7" y="24"/>
                    <a:pt x="5" y="24"/>
                    <a:pt x="4" y="24"/>
                  </a:cubicBezTo>
                  <a:cubicBezTo>
                    <a:pt x="4" y="23"/>
                    <a:pt x="3" y="23"/>
                    <a:pt x="3" y="21"/>
                  </a:cubicBezTo>
                  <a:cubicBezTo>
                    <a:pt x="3" y="20"/>
                    <a:pt x="4" y="14"/>
                    <a:pt x="3" y="13"/>
                  </a:cubicBezTo>
                  <a:cubicBezTo>
                    <a:pt x="3" y="12"/>
                    <a:pt x="2" y="9"/>
                    <a:pt x="2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3" name="Freeform 644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322510" y="3788423"/>
              <a:ext cx="49998" cy="123901"/>
            </a:xfrm>
            <a:custGeom>
              <a:avLst/>
              <a:gdLst>
                <a:gd name="T0" fmla="*/ 1 w 8"/>
                <a:gd name="T1" fmla="*/ 5 h 19"/>
                <a:gd name="T2" fmla="*/ 0 w 8"/>
                <a:gd name="T3" fmla="*/ 1 h 19"/>
                <a:gd name="T4" fmla="*/ 0 w 8"/>
                <a:gd name="T5" fmla="*/ 0 h 19"/>
                <a:gd name="T6" fmla="*/ 1 w 8"/>
                <a:gd name="T7" fmla="*/ 0 h 19"/>
                <a:gd name="T8" fmla="*/ 4 w 8"/>
                <a:gd name="T9" fmla="*/ 0 h 19"/>
                <a:gd name="T10" fmla="*/ 4 w 8"/>
                <a:gd name="T11" fmla="*/ 1 h 19"/>
                <a:gd name="T12" fmla="*/ 6 w 8"/>
                <a:gd name="T13" fmla="*/ 3 h 19"/>
                <a:gd name="T14" fmla="*/ 7 w 8"/>
                <a:gd name="T15" fmla="*/ 7 h 19"/>
                <a:gd name="T16" fmla="*/ 7 w 8"/>
                <a:gd name="T17" fmla="*/ 15 h 19"/>
                <a:gd name="T18" fmla="*/ 8 w 8"/>
                <a:gd name="T19" fmla="*/ 18 h 19"/>
                <a:gd name="T20" fmla="*/ 5 w 8"/>
                <a:gd name="T21" fmla="*/ 19 h 19"/>
                <a:gd name="T22" fmla="*/ 5 w 8"/>
                <a:gd name="T23" fmla="*/ 19 h 19"/>
                <a:gd name="T24" fmla="*/ 3 w 8"/>
                <a:gd name="T25" fmla="*/ 16 h 19"/>
                <a:gd name="T26" fmla="*/ 3 w 8"/>
                <a:gd name="T27" fmla="*/ 10 h 19"/>
                <a:gd name="T28" fmla="*/ 1 w 8"/>
                <a:gd name="T2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9">
                  <a:moveTo>
                    <a:pt x="1" y="5"/>
                  </a:move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3"/>
                    <a:pt x="6" y="3"/>
                    <a:pt x="6" y="3"/>
                  </a:cubicBezTo>
                  <a:cubicBezTo>
                    <a:pt x="6" y="3"/>
                    <a:pt x="7" y="6"/>
                    <a:pt x="7" y="7"/>
                  </a:cubicBezTo>
                  <a:cubicBezTo>
                    <a:pt x="8" y="8"/>
                    <a:pt x="7" y="14"/>
                    <a:pt x="7" y="15"/>
                  </a:cubicBezTo>
                  <a:cubicBezTo>
                    <a:pt x="7" y="17"/>
                    <a:pt x="8" y="17"/>
                    <a:pt x="8" y="18"/>
                  </a:cubicBezTo>
                  <a:cubicBezTo>
                    <a:pt x="6" y="18"/>
                    <a:pt x="6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4" y="17"/>
                    <a:pt x="3" y="16"/>
                  </a:cubicBezTo>
                  <a:cubicBezTo>
                    <a:pt x="3" y="15"/>
                    <a:pt x="3" y="11"/>
                    <a:pt x="3" y="10"/>
                  </a:cubicBezTo>
                  <a:cubicBezTo>
                    <a:pt x="3" y="8"/>
                    <a:pt x="2" y="6"/>
                    <a:pt x="1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4" name="Freeform 644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256888" y="3788423"/>
              <a:ext cx="96870" cy="154039"/>
            </a:xfrm>
            <a:custGeom>
              <a:avLst/>
              <a:gdLst>
                <a:gd name="T0" fmla="*/ 2 w 16"/>
                <a:gd name="T1" fmla="*/ 0 h 24"/>
                <a:gd name="T2" fmla="*/ 10 w 16"/>
                <a:gd name="T3" fmla="*/ 0 h 24"/>
                <a:gd name="T4" fmla="*/ 11 w 16"/>
                <a:gd name="T5" fmla="*/ 0 h 24"/>
                <a:gd name="T6" fmla="*/ 11 w 16"/>
                <a:gd name="T7" fmla="*/ 1 h 24"/>
                <a:gd name="T8" fmla="*/ 12 w 16"/>
                <a:gd name="T9" fmla="*/ 5 h 24"/>
                <a:gd name="T10" fmla="*/ 14 w 16"/>
                <a:gd name="T11" fmla="*/ 10 h 24"/>
                <a:gd name="T12" fmla="*/ 14 w 16"/>
                <a:gd name="T13" fmla="*/ 16 h 24"/>
                <a:gd name="T14" fmla="*/ 16 w 16"/>
                <a:gd name="T15" fmla="*/ 20 h 24"/>
                <a:gd name="T16" fmla="*/ 16 w 16"/>
                <a:gd name="T17" fmla="*/ 20 h 24"/>
                <a:gd name="T18" fmla="*/ 15 w 16"/>
                <a:gd name="T19" fmla="*/ 20 h 24"/>
                <a:gd name="T20" fmla="*/ 5 w 16"/>
                <a:gd name="T21" fmla="*/ 24 h 24"/>
                <a:gd name="T22" fmla="*/ 1 w 16"/>
                <a:gd name="T23" fmla="*/ 24 h 24"/>
                <a:gd name="T24" fmla="*/ 2 w 16"/>
                <a:gd name="T25" fmla="*/ 20 h 24"/>
                <a:gd name="T26" fmla="*/ 0 w 16"/>
                <a:gd name="T27" fmla="*/ 17 h 24"/>
                <a:gd name="T28" fmla="*/ 3 w 16"/>
                <a:gd name="T29" fmla="*/ 10 h 24"/>
                <a:gd name="T30" fmla="*/ 1 w 16"/>
                <a:gd name="T31" fmla="*/ 6 h 24"/>
                <a:gd name="T32" fmla="*/ 1 w 16"/>
                <a:gd name="T33" fmla="*/ 6 h 24"/>
                <a:gd name="T34" fmla="*/ 2 w 16"/>
                <a:gd name="T3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4">
                  <a:moveTo>
                    <a:pt x="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2"/>
                    <a:pt x="11" y="4"/>
                    <a:pt x="12" y="5"/>
                  </a:cubicBezTo>
                  <a:cubicBezTo>
                    <a:pt x="13" y="6"/>
                    <a:pt x="14" y="9"/>
                    <a:pt x="14" y="10"/>
                  </a:cubicBezTo>
                  <a:cubicBezTo>
                    <a:pt x="14" y="12"/>
                    <a:pt x="14" y="15"/>
                    <a:pt x="14" y="16"/>
                  </a:cubicBezTo>
                  <a:cubicBezTo>
                    <a:pt x="15" y="18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4" y="21"/>
                    <a:pt x="6" y="24"/>
                    <a:pt x="5" y="24"/>
                  </a:cubicBezTo>
                  <a:cubicBezTo>
                    <a:pt x="4" y="24"/>
                    <a:pt x="3" y="24"/>
                    <a:pt x="1" y="24"/>
                  </a:cubicBezTo>
                  <a:cubicBezTo>
                    <a:pt x="1" y="23"/>
                    <a:pt x="2" y="21"/>
                    <a:pt x="2" y="20"/>
                  </a:cubicBezTo>
                  <a:cubicBezTo>
                    <a:pt x="2" y="19"/>
                    <a:pt x="1" y="18"/>
                    <a:pt x="0" y="17"/>
                  </a:cubicBezTo>
                  <a:cubicBezTo>
                    <a:pt x="0" y="15"/>
                    <a:pt x="2" y="11"/>
                    <a:pt x="3" y="10"/>
                  </a:cubicBezTo>
                  <a:cubicBezTo>
                    <a:pt x="3" y="9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5" name="Freeform 644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531875" y="2921115"/>
              <a:ext cx="28124" cy="36835"/>
            </a:xfrm>
            <a:custGeom>
              <a:avLst/>
              <a:gdLst>
                <a:gd name="T0" fmla="*/ 2 w 4"/>
                <a:gd name="T1" fmla="*/ 6 h 6"/>
                <a:gd name="T2" fmla="*/ 0 w 4"/>
                <a:gd name="T3" fmla="*/ 2 h 6"/>
                <a:gd name="T4" fmla="*/ 3 w 4"/>
                <a:gd name="T5" fmla="*/ 0 h 6"/>
                <a:gd name="T6" fmla="*/ 4 w 4"/>
                <a:gd name="T7" fmla="*/ 2 h 6"/>
                <a:gd name="T8" fmla="*/ 2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1" y="6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3" y="3"/>
                    <a:pt x="3" y="6"/>
                    <a:pt x="2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6" name="Freeform 644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216668" y="2663267"/>
              <a:ext cx="305833" cy="271243"/>
            </a:xfrm>
            <a:custGeom>
              <a:avLst/>
              <a:gdLst>
                <a:gd name="T0" fmla="*/ 1 w 51"/>
                <a:gd name="T1" fmla="*/ 13 h 42"/>
                <a:gd name="T2" fmla="*/ 7 w 51"/>
                <a:gd name="T3" fmla="*/ 12 h 42"/>
                <a:gd name="T4" fmla="*/ 9 w 51"/>
                <a:gd name="T5" fmla="*/ 13 h 42"/>
                <a:gd name="T6" fmla="*/ 14 w 51"/>
                <a:gd name="T7" fmla="*/ 13 h 42"/>
                <a:gd name="T8" fmla="*/ 12 w 51"/>
                <a:gd name="T9" fmla="*/ 7 h 42"/>
                <a:gd name="T10" fmla="*/ 15 w 51"/>
                <a:gd name="T11" fmla="*/ 7 h 42"/>
                <a:gd name="T12" fmla="*/ 17 w 51"/>
                <a:gd name="T13" fmla="*/ 9 h 42"/>
                <a:gd name="T14" fmla="*/ 21 w 51"/>
                <a:gd name="T15" fmla="*/ 9 h 42"/>
                <a:gd name="T16" fmla="*/ 22 w 51"/>
                <a:gd name="T17" fmla="*/ 7 h 42"/>
                <a:gd name="T18" fmla="*/ 26 w 51"/>
                <a:gd name="T19" fmla="*/ 5 h 42"/>
                <a:gd name="T20" fmla="*/ 27 w 51"/>
                <a:gd name="T21" fmla="*/ 1 h 42"/>
                <a:gd name="T22" fmla="*/ 30 w 51"/>
                <a:gd name="T23" fmla="*/ 0 h 42"/>
                <a:gd name="T24" fmla="*/ 35 w 51"/>
                <a:gd name="T25" fmla="*/ 5 h 42"/>
                <a:gd name="T26" fmla="*/ 38 w 51"/>
                <a:gd name="T27" fmla="*/ 5 h 42"/>
                <a:gd name="T28" fmla="*/ 39 w 51"/>
                <a:gd name="T29" fmla="*/ 7 h 42"/>
                <a:gd name="T30" fmla="*/ 42 w 51"/>
                <a:gd name="T31" fmla="*/ 8 h 42"/>
                <a:gd name="T32" fmla="*/ 44 w 51"/>
                <a:gd name="T33" fmla="*/ 8 h 42"/>
                <a:gd name="T34" fmla="*/ 45 w 51"/>
                <a:gd name="T35" fmla="*/ 10 h 42"/>
                <a:gd name="T36" fmla="*/ 51 w 51"/>
                <a:gd name="T37" fmla="*/ 12 h 42"/>
                <a:gd name="T38" fmla="*/ 49 w 51"/>
                <a:gd name="T39" fmla="*/ 17 h 42"/>
                <a:gd name="T40" fmla="*/ 49 w 51"/>
                <a:gd name="T41" fmla="*/ 18 h 42"/>
                <a:gd name="T42" fmla="*/ 45 w 51"/>
                <a:gd name="T43" fmla="*/ 20 h 42"/>
                <a:gd name="T44" fmla="*/ 43 w 51"/>
                <a:gd name="T45" fmla="*/ 23 h 42"/>
                <a:gd name="T46" fmla="*/ 46 w 51"/>
                <a:gd name="T47" fmla="*/ 24 h 42"/>
                <a:gd name="T48" fmla="*/ 47 w 51"/>
                <a:gd name="T49" fmla="*/ 26 h 42"/>
                <a:gd name="T50" fmla="*/ 47 w 51"/>
                <a:gd name="T51" fmla="*/ 27 h 42"/>
                <a:gd name="T52" fmla="*/ 46 w 51"/>
                <a:gd name="T53" fmla="*/ 30 h 42"/>
                <a:gd name="T54" fmla="*/ 46 w 51"/>
                <a:gd name="T55" fmla="*/ 33 h 42"/>
                <a:gd name="T56" fmla="*/ 50 w 51"/>
                <a:gd name="T57" fmla="*/ 33 h 42"/>
                <a:gd name="T58" fmla="*/ 50 w 51"/>
                <a:gd name="T59" fmla="*/ 35 h 42"/>
                <a:gd name="T60" fmla="*/ 46 w 51"/>
                <a:gd name="T61" fmla="*/ 38 h 42"/>
                <a:gd name="T62" fmla="*/ 43 w 51"/>
                <a:gd name="T63" fmla="*/ 39 h 42"/>
                <a:gd name="T64" fmla="*/ 35 w 51"/>
                <a:gd name="T65" fmla="*/ 37 h 42"/>
                <a:gd name="T66" fmla="*/ 32 w 51"/>
                <a:gd name="T67" fmla="*/ 41 h 42"/>
                <a:gd name="T68" fmla="*/ 30 w 51"/>
                <a:gd name="T69" fmla="*/ 42 h 42"/>
                <a:gd name="T70" fmla="*/ 24 w 51"/>
                <a:gd name="T71" fmla="*/ 40 h 42"/>
                <a:gd name="T72" fmla="*/ 20 w 51"/>
                <a:gd name="T73" fmla="*/ 40 h 42"/>
                <a:gd name="T74" fmla="*/ 14 w 51"/>
                <a:gd name="T75" fmla="*/ 37 h 42"/>
                <a:gd name="T76" fmla="*/ 14 w 51"/>
                <a:gd name="T77" fmla="*/ 36 h 42"/>
                <a:gd name="T78" fmla="*/ 15 w 51"/>
                <a:gd name="T79" fmla="*/ 26 h 42"/>
                <a:gd name="T80" fmla="*/ 12 w 51"/>
                <a:gd name="T81" fmla="*/ 21 h 42"/>
                <a:gd name="T82" fmla="*/ 8 w 51"/>
                <a:gd name="T83" fmla="*/ 18 h 42"/>
                <a:gd name="T84" fmla="*/ 2 w 51"/>
                <a:gd name="T85" fmla="*/ 16 h 42"/>
                <a:gd name="T86" fmla="*/ 1 w 51"/>
                <a:gd name="T87" fmla="*/ 13 h 42"/>
                <a:gd name="connsiteX0" fmla="*/ 82 w 9886"/>
                <a:gd name="connsiteY0" fmla="*/ 3095 h 10000"/>
                <a:gd name="connsiteX1" fmla="*/ 1259 w 9886"/>
                <a:gd name="connsiteY1" fmla="*/ 2857 h 10000"/>
                <a:gd name="connsiteX2" fmla="*/ 1651 w 9886"/>
                <a:gd name="connsiteY2" fmla="*/ 3095 h 10000"/>
                <a:gd name="connsiteX3" fmla="*/ 2631 w 9886"/>
                <a:gd name="connsiteY3" fmla="*/ 3095 h 10000"/>
                <a:gd name="connsiteX4" fmla="*/ 2239 w 9886"/>
                <a:gd name="connsiteY4" fmla="*/ 1667 h 10000"/>
                <a:gd name="connsiteX5" fmla="*/ 2827 w 9886"/>
                <a:gd name="connsiteY5" fmla="*/ 1667 h 10000"/>
                <a:gd name="connsiteX6" fmla="*/ 3219 w 9886"/>
                <a:gd name="connsiteY6" fmla="*/ 2143 h 10000"/>
                <a:gd name="connsiteX7" fmla="*/ 4004 w 9886"/>
                <a:gd name="connsiteY7" fmla="*/ 2143 h 10000"/>
                <a:gd name="connsiteX8" fmla="*/ 4200 w 9886"/>
                <a:gd name="connsiteY8" fmla="*/ 1667 h 10000"/>
                <a:gd name="connsiteX9" fmla="*/ 4984 w 9886"/>
                <a:gd name="connsiteY9" fmla="*/ 1190 h 10000"/>
                <a:gd name="connsiteX10" fmla="*/ 5180 w 9886"/>
                <a:gd name="connsiteY10" fmla="*/ 238 h 10000"/>
                <a:gd name="connsiteX11" fmla="*/ 5768 w 9886"/>
                <a:gd name="connsiteY11" fmla="*/ 0 h 10000"/>
                <a:gd name="connsiteX12" fmla="*/ 6749 w 9886"/>
                <a:gd name="connsiteY12" fmla="*/ 1190 h 10000"/>
                <a:gd name="connsiteX13" fmla="*/ 7337 w 9886"/>
                <a:gd name="connsiteY13" fmla="*/ 1190 h 10000"/>
                <a:gd name="connsiteX14" fmla="*/ 7533 w 9886"/>
                <a:gd name="connsiteY14" fmla="*/ 1667 h 10000"/>
                <a:gd name="connsiteX15" fmla="*/ 8121 w 9886"/>
                <a:gd name="connsiteY15" fmla="*/ 1905 h 10000"/>
                <a:gd name="connsiteX16" fmla="*/ 8513 w 9886"/>
                <a:gd name="connsiteY16" fmla="*/ 1905 h 10000"/>
                <a:gd name="connsiteX17" fmla="*/ 8710 w 9886"/>
                <a:gd name="connsiteY17" fmla="*/ 2381 h 10000"/>
                <a:gd name="connsiteX18" fmla="*/ 9886 w 9886"/>
                <a:gd name="connsiteY18" fmla="*/ 2857 h 10000"/>
                <a:gd name="connsiteX19" fmla="*/ 9494 w 9886"/>
                <a:gd name="connsiteY19" fmla="*/ 4048 h 10000"/>
                <a:gd name="connsiteX20" fmla="*/ 9494 w 9886"/>
                <a:gd name="connsiteY20" fmla="*/ 4286 h 10000"/>
                <a:gd name="connsiteX21" fmla="*/ 8710 w 9886"/>
                <a:gd name="connsiteY21" fmla="*/ 4762 h 10000"/>
                <a:gd name="connsiteX22" fmla="*/ 8317 w 9886"/>
                <a:gd name="connsiteY22" fmla="*/ 5476 h 10000"/>
                <a:gd name="connsiteX23" fmla="*/ 8906 w 9886"/>
                <a:gd name="connsiteY23" fmla="*/ 5714 h 10000"/>
                <a:gd name="connsiteX24" fmla="*/ 9102 w 9886"/>
                <a:gd name="connsiteY24" fmla="*/ 6190 h 10000"/>
                <a:gd name="connsiteX25" fmla="*/ 9102 w 9886"/>
                <a:gd name="connsiteY25" fmla="*/ 6429 h 10000"/>
                <a:gd name="connsiteX26" fmla="*/ 8906 w 9886"/>
                <a:gd name="connsiteY26" fmla="*/ 7143 h 10000"/>
                <a:gd name="connsiteX27" fmla="*/ 9137 w 9886"/>
                <a:gd name="connsiteY27" fmla="*/ 7669 h 10000"/>
                <a:gd name="connsiteX28" fmla="*/ 9690 w 9886"/>
                <a:gd name="connsiteY28" fmla="*/ 7857 h 10000"/>
                <a:gd name="connsiteX29" fmla="*/ 9690 w 9886"/>
                <a:gd name="connsiteY29" fmla="*/ 8333 h 10000"/>
                <a:gd name="connsiteX30" fmla="*/ 8906 w 9886"/>
                <a:gd name="connsiteY30" fmla="*/ 9048 h 10000"/>
                <a:gd name="connsiteX31" fmla="*/ 8317 w 9886"/>
                <a:gd name="connsiteY31" fmla="*/ 9286 h 10000"/>
                <a:gd name="connsiteX32" fmla="*/ 6749 w 9886"/>
                <a:gd name="connsiteY32" fmla="*/ 8810 h 10000"/>
                <a:gd name="connsiteX33" fmla="*/ 6161 w 9886"/>
                <a:gd name="connsiteY33" fmla="*/ 9762 h 10000"/>
                <a:gd name="connsiteX34" fmla="*/ 5768 w 9886"/>
                <a:gd name="connsiteY34" fmla="*/ 10000 h 10000"/>
                <a:gd name="connsiteX35" fmla="*/ 4592 w 9886"/>
                <a:gd name="connsiteY35" fmla="*/ 9524 h 10000"/>
                <a:gd name="connsiteX36" fmla="*/ 3808 w 9886"/>
                <a:gd name="connsiteY36" fmla="*/ 9524 h 10000"/>
                <a:gd name="connsiteX37" fmla="*/ 2631 w 9886"/>
                <a:gd name="connsiteY37" fmla="*/ 8810 h 10000"/>
                <a:gd name="connsiteX38" fmla="*/ 2631 w 9886"/>
                <a:gd name="connsiteY38" fmla="*/ 8571 h 10000"/>
                <a:gd name="connsiteX39" fmla="*/ 2827 w 9886"/>
                <a:gd name="connsiteY39" fmla="*/ 6190 h 10000"/>
                <a:gd name="connsiteX40" fmla="*/ 2239 w 9886"/>
                <a:gd name="connsiteY40" fmla="*/ 5000 h 10000"/>
                <a:gd name="connsiteX41" fmla="*/ 1455 w 9886"/>
                <a:gd name="connsiteY41" fmla="*/ 4286 h 10000"/>
                <a:gd name="connsiteX42" fmla="*/ 278 w 9886"/>
                <a:gd name="connsiteY42" fmla="*/ 3810 h 10000"/>
                <a:gd name="connsiteX43" fmla="*/ 82 w 9886"/>
                <a:gd name="connsiteY43" fmla="*/ 309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9886" h="10000">
                  <a:moveTo>
                    <a:pt x="82" y="3095"/>
                  </a:moveTo>
                  <a:cubicBezTo>
                    <a:pt x="278" y="2857"/>
                    <a:pt x="1062" y="2857"/>
                    <a:pt x="1259" y="2857"/>
                  </a:cubicBezTo>
                  <a:cubicBezTo>
                    <a:pt x="1651" y="2857"/>
                    <a:pt x="1651" y="3095"/>
                    <a:pt x="1651" y="3095"/>
                  </a:cubicBezTo>
                  <a:lnTo>
                    <a:pt x="2631" y="3095"/>
                  </a:lnTo>
                  <a:cubicBezTo>
                    <a:pt x="2827" y="2857"/>
                    <a:pt x="2239" y="1905"/>
                    <a:pt x="2239" y="1667"/>
                  </a:cubicBezTo>
                  <a:lnTo>
                    <a:pt x="2827" y="1667"/>
                  </a:lnTo>
                  <a:cubicBezTo>
                    <a:pt x="2827" y="1667"/>
                    <a:pt x="2827" y="2143"/>
                    <a:pt x="3219" y="2143"/>
                  </a:cubicBezTo>
                  <a:cubicBezTo>
                    <a:pt x="3415" y="2143"/>
                    <a:pt x="3808" y="2381"/>
                    <a:pt x="4004" y="2143"/>
                  </a:cubicBezTo>
                  <a:cubicBezTo>
                    <a:pt x="4004" y="1905"/>
                    <a:pt x="4004" y="1667"/>
                    <a:pt x="4200" y="1667"/>
                  </a:cubicBezTo>
                  <a:cubicBezTo>
                    <a:pt x="4396" y="1667"/>
                    <a:pt x="4984" y="1429"/>
                    <a:pt x="4984" y="1190"/>
                  </a:cubicBezTo>
                  <a:cubicBezTo>
                    <a:pt x="5180" y="952"/>
                    <a:pt x="4984" y="238"/>
                    <a:pt x="5180" y="238"/>
                  </a:cubicBezTo>
                  <a:cubicBezTo>
                    <a:pt x="5180" y="238"/>
                    <a:pt x="5572" y="238"/>
                    <a:pt x="5768" y="0"/>
                  </a:cubicBezTo>
                  <a:cubicBezTo>
                    <a:pt x="5768" y="238"/>
                    <a:pt x="6553" y="952"/>
                    <a:pt x="6749" y="1190"/>
                  </a:cubicBezTo>
                  <a:cubicBezTo>
                    <a:pt x="6945" y="1429"/>
                    <a:pt x="7337" y="952"/>
                    <a:pt x="7337" y="1190"/>
                  </a:cubicBezTo>
                  <a:cubicBezTo>
                    <a:pt x="7533" y="1190"/>
                    <a:pt x="7533" y="1429"/>
                    <a:pt x="7533" y="1667"/>
                  </a:cubicBezTo>
                  <a:cubicBezTo>
                    <a:pt x="7533" y="1667"/>
                    <a:pt x="7729" y="1905"/>
                    <a:pt x="8121" y="1905"/>
                  </a:cubicBezTo>
                  <a:lnTo>
                    <a:pt x="8513" y="1905"/>
                  </a:lnTo>
                  <a:cubicBezTo>
                    <a:pt x="8513" y="2143"/>
                    <a:pt x="8710" y="2143"/>
                    <a:pt x="8710" y="2381"/>
                  </a:cubicBezTo>
                  <a:cubicBezTo>
                    <a:pt x="8906" y="2381"/>
                    <a:pt x="9886" y="2619"/>
                    <a:pt x="9886" y="2857"/>
                  </a:cubicBezTo>
                  <a:cubicBezTo>
                    <a:pt x="9690" y="2857"/>
                    <a:pt x="9690" y="3810"/>
                    <a:pt x="9494" y="4048"/>
                  </a:cubicBezTo>
                  <a:lnTo>
                    <a:pt x="9494" y="4286"/>
                  </a:lnTo>
                  <a:cubicBezTo>
                    <a:pt x="9298" y="4286"/>
                    <a:pt x="8906" y="4524"/>
                    <a:pt x="8710" y="4762"/>
                  </a:cubicBezTo>
                  <a:cubicBezTo>
                    <a:pt x="8513" y="4762"/>
                    <a:pt x="8317" y="5476"/>
                    <a:pt x="8317" y="5476"/>
                  </a:cubicBezTo>
                  <a:cubicBezTo>
                    <a:pt x="8317" y="5714"/>
                    <a:pt x="8710" y="5714"/>
                    <a:pt x="8906" y="5714"/>
                  </a:cubicBezTo>
                  <a:cubicBezTo>
                    <a:pt x="9102" y="5714"/>
                    <a:pt x="9102" y="5952"/>
                    <a:pt x="9102" y="6190"/>
                  </a:cubicBezTo>
                  <a:lnTo>
                    <a:pt x="9102" y="6429"/>
                  </a:lnTo>
                  <a:cubicBezTo>
                    <a:pt x="9102" y="6667"/>
                    <a:pt x="9102" y="6905"/>
                    <a:pt x="8906" y="7143"/>
                  </a:cubicBezTo>
                  <a:cubicBezTo>
                    <a:pt x="8710" y="7143"/>
                    <a:pt x="9137" y="7431"/>
                    <a:pt x="9137" y="7669"/>
                  </a:cubicBezTo>
                  <a:cubicBezTo>
                    <a:pt x="9137" y="7907"/>
                    <a:pt x="9298" y="7857"/>
                    <a:pt x="9690" y="7857"/>
                  </a:cubicBezTo>
                  <a:lnTo>
                    <a:pt x="9690" y="8333"/>
                  </a:lnTo>
                  <a:cubicBezTo>
                    <a:pt x="9298" y="8571"/>
                    <a:pt x="9102" y="8810"/>
                    <a:pt x="8906" y="9048"/>
                  </a:cubicBezTo>
                  <a:cubicBezTo>
                    <a:pt x="8513" y="9286"/>
                    <a:pt x="8710" y="9286"/>
                    <a:pt x="8317" y="9286"/>
                  </a:cubicBezTo>
                  <a:cubicBezTo>
                    <a:pt x="7729" y="9286"/>
                    <a:pt x="6945" y="8810"/>
                    <a:pt x="6749" y="8810"/>
                  </a:cubicBezTo>
                  <a:cubicBezTo>
                    <a:pt x="6357" y="9048"/>
                    <a:pt x="5964" y="9524"/>
                    <a:pt x="6161" y="9762"/>
                  </a:cubicBezTo>
                  <a:cubicBezTo>
                    <a:pt x="6161" y="9762"/>
                    <a:pt x="5964" y="10000"/>
                    <a:pt x="5768" y="10000"/>
                  </a:cubicBezTo>
                  <a:cubicBezTo>
                    <a:pt x="5572" y="10000"/>
                    <a:pt x="4984" y="9762"/>
                    <a:pt x="4592" y="9524"/>
                  </a:cubicBezTo>
                  <a:cubicBezTo>
                    <a:pt x="4200" y="9524"/>
                    <a:pt x="4004" y="9762"/>
                    <a:pt x="3808" y="9524"/>
                  </a:cubicBezTo>
                  <a:cubicBezTo>
                    <a:pt x="3415" y="9524"/>
                    <a:pt x="2631" y="8810"/>
                    <a:pt x="2631" y="8810"/>
                  </a:cubicBezTo>
                  <a:lnTo>
                    <a:pt x="2631" y="8571"/>
                  </a:lnTo>
                  <a:cubicBezTo>
                    <a:pt x="2631" y="8333"/>
                    <a:pt x="2827" y="6429"/>
                    <a:pt x="2827" y="6190"/>
                  </a:cubicBezTo>
                  <a:cubicBezTo>
                    <a:pt x="2827" y="5952"/>
                    <a:pt x="2239" y="5238"/>
                    <a:pt x="2239" y="5000"/>
                  </a:cubicBezTo>
                  <a:cubicBezTo>
                    <a:pt x="2043" y="5000"/>
                    <a:pt x="1651" y="4286"/>
                    <a:pt x="1455" y="4286"/>
                  </a:cubicBezTo>
                  <a:cubicBezTo>
                    <a:pt x="1062" y="4048"/>
                    <a:pt x="474" y="4048"/>
                    <a:pt x="278" y="3810"/>
                  </a:cubicBezTo>
                  <a:cubicBezTo>
                    <a:pt x="82" y="3571"/>
                    <a:pt x="-114" y="3095"/>
                    <a:pt x="82" y="309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7" name="Freeform 644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531875" y="2921115"/>
              <a:ext cx="28124" cy="36835"/>
            </a:xfrm>
            <a:custGeom>
              <a:avLst/>
              <a:gdLst>
                <a:gd name="T0" fmla="*/ 2 w 4"/>
                <a:gd name="T1" fmla="*/ 6 h 6"/>
                <a:gd name="T2" fmla="*/ 0 w 4"/>
                <a:gd name="T3" fmla="*/ 2 h 6"/>
                <a:gd name="T4" fmla="*/ 3 w 4"/>
                <a:gd name="T5" fmla="*/ 0 h 6"/>
                <a:gd name="T6" fmla="*/ 4 w 4"/>
                <a:gd name="T7" fmla="*/ 2 h 6"/>
                <a:gd name="T8" fmla="*/ 2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1" y="6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3" y="3"/>
                    <a:pt x="3" y="6"/>
                    <a:pt x="2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8" name="Freeform 644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194391" y="3684614"/>
              <a:ext cx="187491" cy="137296"/>
            </a:xfrm>
            <a:custGeom>
              <a:avLst/>
              <a:gdLst>
                <a:gd name="T0" fmla="*/ 0 w 31"/>
                <a:gd name="T1" fmla="*/ 18 h 21"/>
                <a:gd name="T2" fmla="*/ 2 w 31"/>
                <a:gd name="T3" fmla="*/ 13 h 21"/>
                <a:gd name="T4" fmla="*/ 5 w 31"/>
                <a:gd name="T5" fmla="*/ 10 h 21"/>
                <a:gd name="T6" fmla="*/ 4 w 31"/>
                <a:gd name="T7" fmla="*/ 8 h 21"/>
                <a:gd name="T8" fmla="*/ 8 w 31"/>
                <a:gd name="T9" fmla="*/ 6 h 21"/>
                <a:gd name="T10" fmla="*/ 10 w 31"/>
                <a:gd name="T11" fmla="*/ 7 h 21"/>
                <a:gd name="T12" fmla="*/ 13 w 31"/>
                <a:gd name="T13" fmla="*/ 3 h 21"/>
                <a:gd name="T14" fmla="*/ 20 w 31"/>
                <a:gd name="T15" fmla="*/ 0 h 21"/>
                <a:gd name="T16" fmla="*/ 24 w 31"/>
                <a:gd name="T17" fmla="*/ 0 h 21"/>
                <a:gd name="T18" fmla="*/ 23 w 31"/>
                <a:gd name="T19" fmla="*/ 3 h 21"/>
                <a:gd name="T20" fmla="*/ 25 w 31"/>
                <a:gd name="T21" fmla="*/ 6 h 21"/>
                <a:gd name="T22" fmla="*/ 29 w 31"/>
                <a:gd name="T23" fmla="*/ 9 h 21"/>
                <a:gd name="T24" fmla="*/ 31 w 31"/>
                <a:gd name="T25" fmla="*/ 11 h 21"/>
                <a:gd name="T26" fmla="*/ 31 w 31"/>
                <a:gd name="T27" fmla="*/ 12 h 21"/>
                <a:gd name="T28" fmla="*/ 27 w 31"/>
                <a:gd name="T29" fmla="*/ 14 h 21"/>
                <a:gd name="T30" fmla="*/ 25 w 31"/>
                <a:gd name="T31" fmla="*/ 16 h 21"/>
                <a:gd name="T32" fmla="*/ 22 w 31"/>
                <a:gd name="T33" fmla="*/ 16 h 21"/>
                <a:gd name="T34" fmla="*/ 21 w 31"/>
                <a:gd name="T35" fmla="*/ 16 h 21"/>
                <a:gd name="T36" fmla="*/ 20 w 31"/>
                <a:gd name="T37" fmla="*/ 16 h 21"/>
                <a:gd name="T38" fmla="*/ 12 w 31"/>
                <a:gd name="T39" fmla="*/ 16 h 21"/>
                <a:gd name="T40" fmla="*/ 11 w 31"/>
                <a:gd name="T41" fmla="*/ 21 h 21"/>
                <a:gd name="T42" fmla="*/ 11 w 31"/>
                <a:gd name="T43" fmla="*/ 21 h 21"/>
                <a:gd name="T44" fmla="*/ 10 w 31"/>
                <a:gd name="T45" fmla="*/ 21 h 21"/>
                <a:gd name="T46" fmla="*/ 5 w 31"/>
                <a:gd name="T47" fmla="*/ 21 h 21"/>
                <a:gd name="T48" fmla="*/ 0 w 31"/>
                <a:gd name="T4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" h="21">
                  <a:moveTo>
                    <a:pt x="0" y="18"/>
                  </a:moveTo>
                  <a:cubicBezTo>
                    <a:pt x="0" y="18"/>
                    <a:pt x="1" y="14"/>
                    <a:pt x="2" y="13"/>
                  </a:cubicBezTo>
                  <a:cubicBezTo>
                    <a:pt x="3" y="12"/>
                    <a:pt x="4" y="11"/>
                    <a:pt x="5" y="10"/>
                  </a:cubicBezTo>
                  <a:cubicBezTo>
                    <a:pt x="6" y="10"/>
                    <a:pt x="4" y="8"/>
                    <a:pt x="4" y="8"/>
                  </a:cubicBezTo>
                  <a:cubicBezTo>
                    <a:pt x="5" y="7"/>
                    <a:pt x="8" y="6"/>
                    <a:pt x="8" y="6"/>
                  </a:cubicBezTo>
                  <a:cubicBezTo>
                    <a:pt x="8" y="6"/>
                    <a:pt x="9" y="8"/>
                    <a:pt x="10" y="7"/>
                  </a:cubicBezTo>
                  <a:cubicBezTo>
                    <a:pt x="10" y="7"/>
                    <a:pt x="12" y="4"/>
                    <a:pt x="13" y="3"/>
                  </a:cubicBezTo>
                  <a:cubicBezTo>
                    <a:pt x="14" y="2"/>
                    <a:pt x="19" y="0"/>
                    <a:pt x="20" y="0"/>
                  </a:cubicBezTo>
                  <a:cubicBezTo>
                    <a:pt x="21" y="0"/>
                    <a:pt x="22" y="0"/>
                    <a:pt x="24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4"/>
                    <a:pt x="24" y="5"/>
                    <a:pt x="25" y="6"/>
                  </a:cubicBezTo>
                  <a:cubicBezTo>
                    <a:pt x="26" y="7"/>
                    <a:pt x="28" y="8"/>
                    <a:pt x="29" y="9"/>
                  </a:cubicBezTo>
                  <a:cubicBezTo>
                    <a:pt x="30" y="10"/>
                    <a:pt x="30" y="11"/>
                    <a:pt x="31" y="11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4"/>
                    <a:pt x="28" y="14"/>
                    <a:pt x="27" y="14"/>
                  </a:cubicBezTo>
                  <a:cubicBezTo>
                    <a:pt x="27" y="15"/>
                    <a:pt x="26" y="15"/>
                    <a:pt x="25" y="16"/>
                  </a:cubicBezTo>
                  <a:cubicBezTo>
                    <a:pt x="25" y="16"/>
                    <a:pt x="23" y="16"/>
                    <a:pt x="22" y="16"/>
                  </a:cubicBezTo>
                  <a:cubicBezTo>
                    <a:pt x="22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0" y="21"/>
                    <a:pt x="10" y="21"/>
                  </a:cubicBezTo>
                  <a:cubicBezTo>
                    <a:pt x="8" y="20"/>
                    <a:pt x="6" y="21"/>
                    <a:pt x="5" y="21"/>
                  </a:cubicBezTo>
                  <a:cubicBezTo>
                    <a:pt x="4" y="21"/>
                    <a:pt x="1" y="18"/>
                    <a:pt x="0" y="1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89" name="Freeform 6452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381883" y="3004832"/>
              <a:ext cx="31249" cy="20092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2 h 3"/>
                <a:gd name="T4" fmla="*/ 1 w 5"/>
                <a:gd name="T5" fmla="*/ 1 h 3"/>
                <a:gd name="T6" fmla="*/ 3 w 5"/>
                <a:gd name="T7" fmla="*/ 0 h 3"/>
                <a:gd name="T8" fmla="*/ 5 w 5"/>
                <a:gd name="T9" fmla="*/ 1 h 3"/>
                <a:gd name="T10" fmla="*/ 3 w 5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0" name="Freeform 6453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110021" y="2894326"/>
              <a:ext cx="303110" cy="221013"/>
            </a:xfrm>
            <a:custGeom>
              <a:avLst/>
              <a:gdLst>
                <a:gd name="T0" fmla="*/ 2 w 50"/>
                <a:gd name="T1" fmla="*/ 8 h 34"/>
                <a:gd name="T2" fmla="*/ 2 w 50"/>
                <a:gd name="T3" fmla="*/ 6 h 34"/>
                <a:gd name="T4" fmla="*/ 0 w 50"/>
                <a:gd name="T5" fmla="*/ 3 h 34"/>
                <a:gd name="T6" fmla="*/ 4 w 50"/>
                <a:gd name="T7" fmla="*/ 2 h 34"/>
                <a:gd name="T8" fmla="*/ 6 w 50"/>
                <a:gd name="T9" fmla="*/ 0 h 34"/>
                <a:gd name="T10" fmla="*/ 10 w 50"/>
                <a:gd name="T11" fmla="*/ 1 h 34"/>
                <a:gd name="T12" fmla="*/ 15 w 50"/>
                <a:gd name="T13" fmla="*/ 1 h 34"/>
                <a:gd name="T14" fmla="*/ 23 w 50"/>
                <a:gd name="T15" fmla="*/ 1 h 34"/>
                <a:gd name="T16" fmla="*/ 29 w 50"/>
                <a:gd name="T17" fmla="*/ 2 h 34"/>
                <a:gd name="T18" fmla="*/ 30 w 50"/>
                <a:gd name="T19" fmla="*/ 1 h 34"/>
                <a:gd name="T20" fmla="*/ 36 w 50"/>
                <a:gd name="T21" fmla="*/ 4 h 34"/>
                <a:gd name="T22" fmla="*/ 40 w 50"/>
                <a:gd name="T23" fmla="*/ 4 h 34"/>
                <a:gd name="T24" fmla="*/ 46 w 50"/>
                <a:gd name="T25" fmla="*/ 6 h 34"/>
                <a:gd name="T26" fmla="*/ 48 w 50"/>
                <a:gd name="T27" fmla="*/ 5 h 34"/>
                <a:gd name="T28" fmla="*/ 49 w 50"/>
                <a:gd name="T29" fmla="*/ 8 h 34"/>
                <a:gd name="T30" fmla="*/ 44 w 50"/>
                <a:gd name="T31" fmla="*/ 11 h 34"/>
                <a:gd name="T32" fmla="*/ 39 w 50"/>
                <a:gd name="T33" fmla="*/ 13 h 34"/>
                <a:gd name="T34" fmla="*/ 35 w 50"/>
                <a:gd name="T35" fmla="*/ 20 h 34"/>
                <a:gd name="T36" fmla="*/ 37 w 50"/>
                <a:gd name="T37" fmla="*/ 23 h 34"/>
                <a:gd name="T38" fmla="*/ 34 w 50"/>
                <a:gd name="T39" fmla="*/ 27 h 34"/>
                <a:gd name="T40" fmla="*/ 30 w 50"/>
                <a:gd name="T41" fmla="*/ 29 h 34"/>
                <a:gd name="T42" fmla="*/ 28 w 50"/>
                <a:gd name="T43" fmla="*/ 32 h 34"/>
                <a:gd name="T44" fmla="*/ 20 w 50"/>
                <a:gd name="T45" fmla="*/ 32 h 34"/>
                <a:gd name="T46" fmla="*/ 16 w 50"/>
                <a:gd name="T47" fmla="*/ 32 h 34"/>
                <a:gd name="T48" fmla="*/ 15 w 50"/>
                <a:gd name="T49" fmla="*/ 34 h 34"/>
                <a:gd name="T50" fmla="*/ 14 w 50"/>
                <a:gd name="T51" fmla="*/ 34 h 34"/>
                <a:gd name="T52" fmla="*/ 12 w 50"/>
                <a:gd name="T53" fmla="*/ 31 h 34"/>
                <a:gd name="T54" fmla="*/ 10 w 50"/>
                <a:gd name="T55" fmla="*/ 29 h 34"/>
                <a:gd name="T56" fmla="*/ 7 w 50"/>
                <a:gd name="T57" fmla="*/ 30 h 34"/>
                <a:gd name="T58" fmla="*/ 8 w 50"/>
                <a:gd name="T59" fmla="*/ 27 h 34"/>
                <a:gd name="T60" fmla="*/ 9 w 50"/>
                <a:gd name="T61" fmla="*/ 24 h 34"/>
                <a:gd name="T62" fmla="*/ 8 w 50"/>
                <a:gd name="T63" fmla="*/ 20 h 34"/>
                <a:gd name="T64" fmla="*/ 10 w 50"/>
                <a:gd name="T65" fmla="*/ 17 h 34"/>
                <a:gd name="T66" fmla="*/ 13 w 50"/>
                <a:gd name="T67" fmla="*/ 10 h 34"/>
                <a:gd name="T68" fmla="*/ 10 w 50"/>
                <a:gd name="T69" fmla="*/ 8 h 34"/>
                <a:gd name="T70" fmla="*/ 2 w 50"/>
                <a:gd name="T71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0" h="34">
                  <a:moveTo>
                    <a:pt x="2" y="8"/>
                  </a:moveTo>
                  <a:cubicBezTo>
                    <a:pt x="2" y="7"/>
                    <a:pt x="2" y="7"/>
                    <a:pt x="2" y="6"/>
                  </a:cubicBezTo>
                  <a:cubicBezTo>
                    <a:pt x="2" y="5"/>
                    <a:pt x="0" y="4"/>
                    <a:pt x="0" y="3"/>
                  </a:cubicBezTo>
                  <a:cubicBezTo>
                    <a:pt x="1" y="2"/>
                    <a:pt x="3" y="2"/>
                    <a:pt x="4" y="2"/>
                  </a:cubicBezTo>
                  <a:cubicBezTo>
                    <a:pt x="4" y="2"/>
                    <a:pt x="4" y="0"/>
                    <a:pt x="6" y="0"/>
                  </a:cubicBezTo>
                  <a:cubicBezTo>
                    <a:pt x="7" y="0"/>
                    <a:pt x="9" y="1"/>
                    <a:pt x="10" y="1"/>
                  </a:cubicBezTo>
                  <a:cubicBezTo>
                    <a:pt x="10" y="1"/>
                    <a:pt x="13" y="1"/>
                    <a:pt x="15" y="1"/>
                  </a:cubicBezTo>
                  <a:cubicBezTo>
                    <a:pt x="17" y="1"/>
                    <a:pt x="21" y="1"/>
                    <a:pt x="23" y="1"/>
                  </a:cubicBezTo>
                  <a:cubicBezTo>
                    <a:pt x="25" y="1"/>
                    <a:pt x="28" y="2"/>
                    <a:pt x="29" y="2"/>
                  </a:cubicBezTo>
                  <a:cubicBezTo>
                    <a:pt x="30" y="2"/>
                    <a:pt x="30" y="1"/>
                    <a:pt x="30" y="1"/>
                  </a:cubicBezTo>
                  <a:cubicBezTo>
                    <a:pt x="30" y="1"/>
                    <a:pt x="35" y="4"/>
                    <a:pt x="36" y="4"/>
                  </a:cubicBezTo>
                  <a:cubicBezTo>
                    <a:pt x="38" y="5"/>
                    <a:pt x="38" y="4"/>
                    <a:pt x="40" y="4"/>
                  </a:cubicBezTo>
                  <a:cubicBezTo>
                    <a:pt x="42" y="5"/>
                    <a:pt x="45" y="6"/>
                    <a:pt x="46" y="6"/>
                  </a:cubicBezTo>
                  <a:cubicBezTo>
                    <a:pt x="47" y="6"/>
                    <a:pt x="48" y="5"/>
                    <a:pt x="48" y="5"/>
                  </a:cubicBezTo>
                  <a:cubicBezTo>
                    <a:pt x="48" y="7"/>
                    <a:pt x="50" y="8"/>
                    <a:pt x="49" y="8"/>
                  </a:cubicBezTo>
                  <a:cubicBezTo>
                    <a:pt x="48" y="9"/>
                    <a:pt x="45" y="11"/>
                    <a:pt x="44" y="11"/>
                  </a:cubicBezTo>
                  <a:cubicBezTo>
                    <a:pt x="43" y="11"/>
                    <a:pt x="40" y="12"/>
                    <a:pt x="39" y="13"/>
                  </a:cubicBezTo>
                  <a:cubicBezTo>
                    <a:pt x="39" y="14"/>
                    <a:pt x="35" y="19"/>
                    <a:pt x="35" y="20"/>
                  </a:cubicBezTo>
                  <a:cubicBezTo>
                    <a:pt x="35" y="21"/>
                    <a:pt x="37" y="22"/>
                    <a:pt x="37" y="23"/>
                  </a:cubicBezTo>
                  <a:cubicBezTo>
                    <a:pt x="37" y="24"/>
                    <a:pt x="34" y="26"/>
                    <a:pt x="34" y="27"/>
                  </a:cubicBezTo>
                  <a:cubicBezTo>
                    <a:pt x="34" y="28"/>
                    <a:pt x="32" y="29"/>
                    <a:pt x="30" y="29"/>
                  </a:cubicBezTo>
                  <a:cubicBezTo>
                    <a:pt x="29" y="30"/>
                    <a:pt x="29" y="32"/>
                    <a:pt x="28" y="32"/>
                  </a:cubicBezTo>
                  <a:cubicBezTo>
                    <a:pt x="26" y="32"/>
                    <a:pt x="21" y="31"/>
                    <a:pt x="20" y="32"/>
                  </a:cubicBezTo>
                  <a:cubicBezTo>
                    <a:pt x="19" y="32"/>
                    <a:pt x="17" y="32"/>
                    <a:pt x="16" y="32"/>
                  </a:cubicBezTo>
                  <a:cubicBezTo>
                    <a:pt x="16" y="33"/>
                    <a:pt x="16" y="34"/>
                    <a:pt x="15" y="34"/>
                  </a:cubicBezTo>
                  <a:cubicBezTo>
                    <a:pt x="15" y="34"/>
                    <a:pt x="15" y="34"/>
                    <a:pt x="14" y="34"/>
                  </a:cubicBezTo>
                  <a:cubicBezTo>
                    <a:pt x="13" y="34"/>
                    <a:pt x="13" y="33"/>
                    <a:pt x="12" y="31"/>
                  </a:cubicBezTo>
                  <a:cubicBezTo>
                    <a:pt x="11" y="30"/>
                    <a:pt x="12" y="29"/>
                    <a:pt x="10" y="29"/>
                  </a:cubicBezTo>
                  <a:cubicBezTo>
                    <a:pt x="9" y="29"/>
                    <a:pt x="8" y="29"/>
                    <a:pt x="7" y="30"/>
                  </a:cubicBezTo>
                  <a:cubicBezTo>
                    <a:pt x="7" y="29"/>
                    <a:pt x="6" y="28"/>
                    <a:pt x="8" y="27"/>
                  </a:cubicBezTo>
                  <a:cubicBezTo>
                    <a:pt x="9" y="26"/>
                    <a:pt x="9" y="25"/>
                    <a:pt x="9" y="24"/>
                  </a:cubicBezTo>
                  <a:cubicBezTo>
                    <a:pt x="9" y="23"/>
                    <a:pt x="10" y="21"/>
                    <a:pt x="8" y="20"/>
                  </a:cubicBezTo>
                  <a:cubicBezTo>
                    <a:pt x="7" y="19"/>
                    <a:pt x="9" y="18"/>
                    <a:pt x="10" y="17"/>
                  </a:cubicBezTo>
                  <a:cubicBezTo>
                    <a:pt x="10" y="17"/>
                    <a:pt x="12" y="11"/>
                    <a:pt x="13" y="10"/>
                  </a:cubicBezTo>
                  <a:cubicBezTo>
                    <a:pt x="13" y="9"/>
                    <a:pt x="11" y="8"/>
                    <a:pt x="10" y="8"/>
                  </a:cubicBezTo>
                  <a:cubicBezTo>
                    <a:pt x="8" y="8"/>
                    <a:pt x="2" y="8"/>
                    <a:pt x="2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1" name="Freeform 6454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381883" y="3004832"/>
              <a:ext cx="31249" cy="20092"/>
            </a:xfrm>
            <a:custGeom>
              <a:avLst/>
              <a:gdLst>
                <a:gd name="T0" fmla="*/ 3 w 5"/>
                <a:gd name="T1" fmla="*/ 3 h 3"/>
                <a:gd name="T2" fmla="*/ 0 w 5"/>
                <a:gd name="T3" fmla="*/ 2 h 3"/>
                <a:gd name="T4" fmla="*/ 1 w 5"/>
                <a:gd name="T5" fmla="*/ 1 h 3"/>
                <a:gd name="T6" fmla="*/ 3 w 5"/>
                <a:gd name="T7" fmla="*/ 0 h 3"/>
                <a:gd name="T8" fmla="*/ 5 w 5"/>
                <a:gd name="T9" fmla="*/ 1 h 3"/>
                <a:gd name="T10" fmla="*/ 3 w 5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2" name="Freeform 6455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063148" y="3852192"/>
              <a:ext cx="96870" cy="103664"/>
            </a:xfrm>
            <a:custGeom>
              <a:avLst/>
              <a:gdLst>
                <a:gd name="T0" fmla="*/ 3 w 16"/>
                <a:gd name="T1" fmla="*/ 4 h 17"/>
                <a:gd name="T2" fmla="*/ 4 w 16"/>
                <a:gd name="T3" fmla="*/ 1 h 17"/>
                <a:gd name="T4" fmla="*/ 7 w 16"/>
                <a:gd name="T5" fmla="*/ 1 h 17"/>
                <a:gd name="T6" fmla="*/ 7 w 16"/>
                <a:gd name="T7" fmla="*/ 5 h 17"/>
                <a:gd name="T8" fmla="*/ 11 w 16"/>
                <a:gd name="T9" fmla="*/ 5 h 17"/>
                <a:gd name="T10" fmla="*/ 12 w 16"/>
                <a:gd name="T11" fmla="*/ 9 h 17"/>
                <a:gd name="T12" fmla="*/ 16 w 16"/>
                <a:gd name="T13" fmla="*/ 12 h 17"/>
                <a:gd name="T14" fmla="*/ 14 w 16"/>
                <a:gd name="T15" fmla="*/ 17 h 17"/>
                <a:gd name="T16" fmla="*/ 5 w 16"/>
                <a:gd name="T17" fmla="*/ 11 h 17"/>
                <a:gd name="T18" fmla="*/ 0 w 16"/>
                <a:gd name="T19" fmla="*/ 7 h 17"/>
                <a:gd name="T20" fmla="*/ 3 w 16"/>
                <a:gd name="T21" fmla="*/ 4 h 17"/>
                <a:gd name="connsiteX0" fmla="*/ 1875 w 10000"/>
                <a:gd name="connsiteY0" fmla="*/ 2027 h 9674"/>
                <a:gd name="connsiteX1" fmla="*/ 2500 w 10000"/>
                <a:gd name="connsiteY1" fmla="*/ 262 h 9674"/>
                <a:gd name="connsiteX2" fmla="*/ 4375 w 10000"/>
                <a:gd name="connsiteY2" fmla="*/ 262 h 9674"/>
                <a:gd name="connsiteX3" fmla="*/ 4375 w 10000"/>
                <a:gd name="connsiteY3" fmla="*/ 2615 h 9674"/>
                <a:gd name="connsiteX4" fmla="*/ 6875 w 10000"/>
                <a:gd name="connsiteY4" fmla="*/ 2615 h 9674"/>
                <a:gd name="connsiteX5" fmla="*/ 7992 w 10000"/>
                <a:gd name="connsiteY5" fmla="*/ 4730 h 9674"/>
                <a:gd name="connsiteX6" fmla="*/ 10000 w 10000"/>
                <a:gd name="connsiteY6" fmla="*/ 6733 h 9674"/>
                <a:gd name="connsiteX7" fmla="*/ 8750 w 10000"/>
                <a:gd name="connsiteY7" fmla="*/ 9674 h 9674"/>
                <a:gd name="connsiteX8" fmla="*/ 3125 w 10000"/>
                <a:gd name="connsiteY8" fmla="*/ 6145 h 9674"/>
                <a:gd name="connsiteX9" fmla="*/ 0 w 10000"/>
                <a:gd name="connsiteY9" fmla="*/ 3792 h 9674"/>
                <a:gd name="connsiteX10" fmla="*/ 1875 w 10000"/>
                <a:gd name="connsiteY10" fmla="*/ 2027 h 9674"/>
                <a:gd name="connsiteX0" fmla="*/ 1875 w 10000"/>
                <a:gd name="connsiteY0" fmla="*/ 2095 h 10000"/>
                <a:gd name="connsiteX1" fmla="*/ 2500 w 10000"/>
                <a:gd name="connsiteY1" fmla="*/ 271 h 10000"/>
                <a:gd name="connsiteX2" fmla="*/ 4375 w 10000"/>
                <a:gd name="connsiteY2" fmla="*/ 271 h 10000"/>
                <a:gd name="connsiteX3" fmla="*/ 4375 w 10000"/>
                <a:gd name="connsiteY3" fmla="*/ 2703 h 10000"/>
                <a:gd name="connsiteX4" fmla="*/ 7121 w 10000"/>
                <a:gd name="connsiteY4" fmla="*/ 1964 h 10000"/>
                <a:gd name="connsiteX5" fmla="*/ 7992 w 10000"/>
                <a:gd name="connsiteY5" fmla="*/ 4889 h 10000"/>
                <a:gd name="connsiteX6" fmla="*/ 10000 w 10000"/>
                <a:gd name="connsiteY6" fmla="*/ 6960 h 10000"/>
                <a:gd name="connsiteX7" fmla="*/ 8750 w 10000"/>
                <a:gd name="connsiteY7" fmla="*/ 10000 h 10000"/>
                <a:gd name="connsiteX8" fmla="*/ 3125 w 10000"/>
                <a:gd name="connsiteY8" fmla="*/ 6352 h 10000"/>
                <a:gd name="connsiteX9" fmla="*/ 0 w 10000"/>
                <a:gd name="connsiteY9" fmla="*/ 3920 h 10000"/>
                <a:gd name="connsiteX10" fmla="*/ 1875 w 10000"/>
                <a:gd name="connsiteY10" fmla="*/ 209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00" h="10000">
                  <a:moveTo>
                    <a:pt x="1875" y="2095"/>
                  </a:moveTo>
                  <a:lnTo>
                    <a:pt x="2500" y="271"/>
                  </a:lnTo>
                  <a:cubicBezTo>
                    <a:pt x="2500" y="271"/>
                    <a:pt x="4375" y="-337"/>
                    <a:pt x="4375" y="271"/>
                  </a:cubicBezTo>
                  <a:cubicBezTo>
                    <a:pt x="4375" y="1082"/>
                    <a:pt x="3917" y="2421"/>
                    <a:pt x="4375" y="2703"/>
                  </a:cubicBezTo>
                  <a:cubicBezTo>
                    <a:pt x="4833" y="2985"/>
                    <a:pt x="6518" y="1600"/>
                    <a:pt x="7121" y="1964"/>
                  </a:cubicBezTo>
                  <a:cubicBezTo>
                    <a:pt x="7724" y="2329"/>
                    <a:pt x="7367" y="4282"/>
                    <a:pt x="7992" y="4889"/>
                  </a:cubicBezTo>
                  <a:cubicBezTo>
                    <a:pt x="8617" y="4889"/>
                    <a:pt x="10000" y="6352"/>
                    <a:pt x="10000" y="6960"/>
                  </a:cubicBezTo>
                  <a:cubicBezTo>
                    <a:pt x="9375" y="7568"/>
                    <a:pt x="8750" y="10000"/>
                    <a:pt x="8750" y="10000"/>
                  </a:cubicBezTo>
                  <a:cubicBezTo>
                    <a:pt x="7500" y="9392"/>
                    <a:pt x="4375" y="7568"/>
                    <a:pt x="3125" y="6352"/>
                  </a:cubicBezTo>
                  <a:cubicBezTo>
                    <a:pt x="2500" y="5135"/>
                    <a:pt x="1250" y="4528"/>
                    <a:pt x="0" y="3920"/>
                  </a:cubicBezTo>
                  <a:lnTo>
                    <a:pt x="1875" y="2095"/>
                  </a:ln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3" name="Freeform 6456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044399" y="3433463"/>
              <a:ext cx="387481" cy="375052"/>
            </a:xfrm>
            <a:custGeom>
              <a:avLst/>
              <a:gdLst>
                <a:gd name="T0" fmla="*/ 6 w 64"/>
                <a:gd name="T1" fmla="*/ 39 h 58"/>
                <a:gd name="T2" fmla="*/ 26 w 64"/>
                <a:gd name="T3" fmla="*/ 38 h 58"/>
                <a:gd name="T4" fmla="*/ 27 w 64"/>
                <a:gd name="T5" fmla="*/ 34 h 58"/>
                <a:gd name="T6" fmla="*/ 22 w 64"/>
                <a:gd name="T7" fmla="*/ 0 h 58"/>
                <a:gd name="T8" fmla="*/ 29 w 64"/>
                <a:gd name="T9" fmla="*/ 0 h 58"/>
                <a:gd name="T10" fmla="*/ 29 w 64"/>
                <a:gd name="T11" fmla="*/ 0 h 58"/>
                <a:gd name="T12" fmla="*/ 51 w 64"/>
                <a:gd name="T13" fmla="*/ 15 h 58"/>
                <a:gd name="T14" fmla="*/ 52 w 64"/>
                <a:gd name="T15" fmla="*/ 17 h 58"/>
                <a:gd name="T16" fmla="*/ 58 w 64"/>
                <a:gd name="T17" fmla="*/ 20 h 58"/>
                <a:gd name="T18" fmla="*/ 60 w 64"/>
                <a:gd name="T19" fmla="*/ 23 h 58"/>
                <a:gd name="T20" fmla="*/ 64 w 64"/>
                <a:gd name="T21" fmla="*/ 23 h 58"/>
                <a:gd name="T22" fmla="*/ 63 w 64"/>
                <a:gd name="T23" fmla="*/ 32 h 58"/>
                <a:gd name="T24" fmla="*/ 61 w 64"/>
                <a:gd name="T25" fmla="*/ 38 h 58"/>
                <a:gd name="T26" fmla="*/ 52 w 64"/>
                <a:gd name="T27" fmla="*/ 39 h 58"/>
                <a:gd name="T28" fmla="*/ 49 w 64"/>
                <a:gd name="T29" fmla="*/ 39 h 58"/>
                <a:gd name="T30" fmla="*/ 45 w 64"/>
                <a:gd name="T31" fmla="*/ 39 h 58"/>
                <a:gd name="T32" fmla="*/ 38 w 64"/>
                <a:gd name="T33" fmla="*/ 42 h 58"/>
                <a:gd name="T34" fmla="*/ 35 w 64"/>
                <a:gd name="T35" fmla="*/ 46 h 58"/>
                <a:gd name="T36" fmla="*/ 33 w 64"/>
                <a:gd name="T37" fmla="*/ 45 h 58"/>
                <a:gd name="T38" fmla="*/ 30 w 64"/>
                <a:gd name="T39" fmla="*/ 47 h 58"/>
                <a:gd name="T40" fmla="*/ 30 w 64"/>
                <a:gd name="T41" fmla="*/ 49 h 58"/>
                <a:gd name="T42" fmla="*/ 27 w 64"/>
                <a:gd name="T43" fmla="*/ 52 h 58"/>
                <a:gd name="T44" fmla="*/ 26 w 64"/>
                <a:gd name="T45" fmla="*/ 57 h 58"/>
                <a:gd name="T46" fmla="*/ 21 w 64"/>
                <a:gd name="T47" fmla="*/ 58 h 58"/>
                <a:gd name="T48" fmla="*/ 16 w 64"/>
                <a:gd name="T49" fmla="*/ 58 h 58"/>
                <a:gd name="T50" fmla="*/ 14 w 64"/>
                <a:gd name="T51" fmla="*/ 53 h 58"/>
                <a:gd name="T52" fmla="*/ 12 w 64"/>
                <a:gd name="T53" fmla="*/ 49 h 58"/>
                <a:gd name="T54" fmla="*/ 7 w 64"/>
                <a:gd name="T55" fmla="*/ 51 h 58"/>
                <a:gd name="T56" fmla="*/ 3 w 64"/>
                <a:gd name="T57" fmla="*/ 49 h 58"/>
                <a:gd name="T58" fmla="*/ 2 w 64"/>
                <a:gd name="T59" fmla="*/ 45 h 58"/>
                <a:gd name="T60" fmla="*/ 0 w 64"/>
                <a:gd name="T61" fmla="*/ 41 h 58"/>
                <a:gd name="T62" fmla="*/ 3 w 64"/>
                <a:gd name="T63" fmla="*/ 37 h 58"/>
                <a:gd name="T64" fmla="*/ 6 w 64"/>
                <a:gd name="T65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4" h="58">
                  <a:moveTo>
                    <a:pt x="6" y="39"/>
                  </a:moveTo>
                  <a:cubicBezTo>
                    <a:pt x="6" y="39"/>
                    <a:pt x="26" y="38"/>
                    <a:pt x="26" y="38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2" y="16"/>
                    <a:pt x="52" y="17"/>
                  </a:cubicBezTo>
                  <a:cubicBezTo>
                    <a:pt x="53" y="18"/>
                    <a:pt x="57" y="19"/>
                    <a:pt x="58" y="20"/>
                  </a:cubicBezTo>
                  <a:cubicBezTo>
                    <a:pt x="60" y="20"/>
                    <a:pt x="60" y="23"/>
                    <a:pt x="60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2" y="38"/>
                    <a:pt x="61" y="38"/>
                  </a:cubicBezTo>
                  <a:cubicBezTo>
                    <a:pt x="60" y="38"/>
                    <a:pt x="52" y="39"/>
                    <a:pt x="52" y="39"/>
                  </a:cubicBezTo>
                  <a:cubicBezTo>
                    <a:pt x="51" y="39"/>
                    <a:pt x="50" y="39"/>
                    <a:pt x="49" y="39"/>
                  </a:cubicBezTo>
                  <a:cubicBezTo>
                    <a:pt x="47" y="39"/>
                    <a:pt x="46" y="39"/>
                    <a:pt x="45" y="39"/>
                  </a:cubicBezTo>
                  <a:cubicBezTo>
                    <a:pt x="44" y="39"/>
                    <a:pt x="39" y="41"/>
                    <a:pt x="38" y="42"/>
                  </a:cubicBezTo>
                  <a:cubicBezTo>
                    <a:pt x="37" y="43"/>
                    <a:pt x="35" y="46"/>
                    <a:pt x="35" y="46"/>
                  </a:cubicBezTo>
                  <a:cubicBezTo>
                    <a:pt x="34" y="47"/>
                    <a:pt x="33" y="45"/>
                    <a:pt x="33" y="45"/>
                  </a:cubicBezTo>
                  <a:cubicBezTo>
                    <a:pt x="33" y="45"/>
                    <a:pt x="30" y="46"/>
                    <a:pt x="30" y="47"/>
                  </a:cubicBezTo>
                  <a:cubicBezTo>
                    <a:pt x="29" y="47"/>
                    <a:pt x="31" y="49"/>
                    <a:pt x="30" y="49"/>
                  </a:cubicBezTo>
                  <a:cubicBezTo>
                    <a:pt x="30" y="50"/>
                    <a:pt x="28" y="51"/>
                    <a:pt x="27" y="52"/>
                  </a:cubicBezTo>
                  <a:cubicBezTo>
                    <a:pt x="26" y="53"/>
                    <a:pt x="26" y="57"/>
                    <a:pt x="26" y="57"/>
                  </a:cubicBezTo>
                  <a:cubicBezTo>
                    <a:pt x="25" y="57"/>
                    <a:pt x="22" y="58"/>
                    <a:pt x="21" y="58"/>
                  </a:cubicBezTo>
                  <a:cubicBezTo>
                    <a:pt x="21" y="58"/>
                    <a:pt x="18" y="58"/>
                    <a:pt x="16" y="58"/>
                  </a:cubicBezTo>
                  <a:cubicBezTo>
                    <a:pt x="17" y="57"/>
                    <a:pt x="14" y="54"/>
                    <a:pt x="14" y="53"/>
                  </a:cubicBezTo>
                  <a:cubicBezTo>
                    <a:pt x="13" y="52"/>
                    <a:pt x="12" y="49"/>
                    <a:pt x="12" y="49"/>
                  </a:cubicBezTo>
                  <a:cubicBezTo>
                    <a:pt x="11" y="49"/>
                    <a:pt x="8" y="51"/>
                    <a:pt x="7" y="51"/>
                  </a:cubicBezTo>
                  <a:cubicBezTo>
                    <a:pt x="5" y="52"/>
                    <a:pt x="4" y="50"/>
                    <a:pt x="3" y="49"/>
                  </a:cubicBezTo>
                  <a:cubicBezTo>
                    <a:pt x="3" y="49"/>
                    <a:pt x="3" y="46"/>
                    <a:pt x="2" y="45"/>
                  </a:cubicBezTo>
                  <a:cubicBezTo>
                    <a:pt x="1" y="44"/>
                    <a:pt x="0" y="41"/>
                    <a:pt x="0" y="41"/>
                  </a:cubicBezTo>
                  <a:cubicBezTo>
                    <a:pt x="2" y="40"/>
                    <a:pt x="2" y="37"/>
                    <a:pt x="3" y="37"/>
                  </a:cubicBezTo>
                  <a:cubicBezTo>
                    <a:pt x="4" y="37"/>
                    <a:pt x="5" y="39"/>
                    <a:pt x="6" y="3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4" name="Freeform 6457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022525" y="3128733"/>
              <a:ext cx="281237" cy="234408"/>
            </a:xfrm>
            <a:custGeom>
              <a:avLst/>
              <a:gdLst>
                <a:gd name="T0" fmla="*/ 1 w 47"/>
                <a:gd name="T1" fmla="*/ 34 h 36"/>
                <a:gd name="T2" fmla="*/ 5 w 47"/>
                <a:gd name="T3" fmla="*/ 33 h 36"/>
                <a:gd name="T4" fmla="*/ 13 w 47"/>
                <a:gd name="T5" fmla="*/ 27 h 36"/>
                <a:gd name="T6" fmla="*/ 15 w 47"/>
                <a:gd name="T7" fmla="*/ 23 h 36"/>
                <a:gd name="T8" fmla="*/ 13 w 47"/>
                <a:gd name="T9" fmla="*/ 22 h 36"/>
                <a:gd name="T10" fmla="*/ 13 w 47"/>
                <a:gd name="T11" fmla="*/ 19 h 36"/>
                <a:gd name="T12" fmla="*/ 18 w 47"/>
                <a:gd name="T13" fmla="*/ 12 h 36"/>
                <a:gd name="T14" fmla="*/ 26 w 47"/>
                <a:gd name="T15" fmla="*/ 7 h 36"/>
                <a:gd name="T16" fmla="*/ 29 w 47"/>
                <a:gd name="T17" fmla="*/ 1 h 36"/>
                <a:gd name="T18" fmla="*/ 30 w 47"/>
                <a:gd name="T19" fmla="*/ 0 h 36"/>
                <a:gd name="T20" fmla="*/ 31 w 47"/>
                <a:gd name="T21" fmla="*/ 0 h 36"/>
                <a:gd name="T22" fmla="*/ 33 w 47"/>
                <a:gd name="T23" fmla="*/ 2 h 36"/>
                <a:gd name="T24" fmla="*/ 37 w 47"/>
                <a:gd name="T25" fmla="*/ 2 h 36"/>
                <a:gd name="T26" fmla="*/ 40 w 47"/>
                <a:gd name="T27" fmla="*/ 1 h 36"/>
                <a:gd name="T28" fmla="*/ 42 w 47"/>
                <a:gd name="T29" fmla="*/ 4 h 36"/>
                <a:gd name="T30" fmla="*/ 44 w 47"/>
                <a:gd name="T31" fmla="*/ 3 h 36"/>
                <a:gd name="T32" fmla="*/ 44 w 47"/>
                <a:gd name="T33" fmla="*/ 3 h 36"/>
                <a:gd name="T34" fmla="*/ 45 w 47"/>
                <a:gd name="T35" fmla="*/ 9 h 36"/>
                <a:gd name="T36" fmla="*/ 47 w 47"/>
                <a:gd name="T37" fmla="*/ 13 h 36"/>
                <a:gd name="T38" fmla="*/ 47 w 47"/>
                <a:gd name="T39" fmla="*/ 16 h 36"/>
                <a:gd name="T40" fmla="*/ 38 w 47"/>
                <a:gd name="T41" fmla="*/ 17 h 36"/>
                <a:gd name="T42" fmla="*/ 37 w 47"/>
                <a:gd name="T43" fmla="*/ 21 h 36"/>
                <a:gd name="T44" fmla="*/ 33 w 47"/>
                <a:gd name="T45" fmla="*/ 22 h 36"/>
                <a:gd name="T46" fmla="*/ 31 w 47"/>
                <a:gd name="T47" fmla="*/ 25 h 36"/>
                <a:gd name="T48" fmla="*/ 25 w 47"/>
                <a:gd name="T49" fmla="*/ 26 h 36"/>
                <a:gd name="T50" fmla="*/ 18 w 47"/>
                <a:gd name="T51" fmla="*/ 30 h 36"/>
                <a:gd name="T52" fmla="*/ 18 w 47"/>
                <a:gd name="T53" fmla="*/ 35 h 36"/>
                <a:gd name="T54" fmla="*/ 0 w 47"/>
                <a:gd name="T55" fmla="*/ 36 h 36"/>
                <a:gd name="T56" fmla="*/ 1 w 47"/>
                <a:gd name="T57" fmla="*/ 3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7" h="36">
                  <a:moveTo>
                    <a:pt x="1" y="34"/>
                  </a:moveTo>
                  <a:cubicBezTo>
                    <a:pt x="2" y="33"/>
                    <a:pt x="4" y="33"/>
                    <a:pt x="5" y="33"/>
                  </a:cubicBezTo>
                  <a:cubicBezTo>
                    <a:pt x="6" y="32"/>
                    <a:pt x="12" y="29"/>
                    <a:pt x="13" y="27"/>
                  </a:cubicBezTo>
                  <a:cubicBezTo>
                    <a:pt x="14" y="25"/>
                    <a:pt x="15" y="23"/>
                    <a:pt x="15" y="23"/>
                  </a:cubicBezTo>
                  <a:cubicBezTo>
                    <a:pt x="15" y="22"/>
                    <a:pt x="13" y="23"/>
                    <a:pt x="13" y="22"/>
                  </a:cubicBezTo>
                  <a:cubicBezTo>
                    <a:pt x="13" y="21"/>
                    <a:pt x="13" y="21"/>
                    <a:pt x="13" y="19"/>
                  </a:cubicBezTo>
                  <a:cubicBezTo>
                    <a:pt x="15" y="17"/>
                    <a:pt x="17" y="13"/>
                    <a:pt x="18" y="12"/>
                  </a:cubicBezTo>
                  <a:cubicBezTo>
                    <a:pt x="21" y="10"/>
                    <a:pt x="25" y="8"/>
                    <a:pt x="26" y="7"/>
                  </a:cubicBezTo>
                  <a:cubicBezTo>
                    <a:pt x="28" y="5"/>
                    <a:pt x="29" y="2"/>
                    <a:pt x="29" y="1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1" y="1"/>
                    <a:pt x="33" y="2"/>
                  </a:cubicBezTo>
                  <a:cubicBezTo>
                    <a:pt x="34" y="2"/>
                    <a:pt x="36" y="2"/>
                    <a:pt x="37" y="2"/>
                  </a:cubicBezTo>
                  <a:cubicBezTo>
                    <a:pt x="38" y="2"/>
                    <a:pt x="39" y="1"/>
                    <a:pt x="40" y="1"/>
                  </a:cubicBezTo>
                  <a:cubicBezTo>
                    <a:pt x="40" y="1"/>
                    <a:pt x="41" y="4"/>
                    <a:pt x="42" y="4"/>
                  </a:cubicBezTo>
                  <a:cubicBezTo>
                    <a:pt x="42" y="4"/>
                    <a:pt x="43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5" y="7"/>
                    <a:pt x="45" y="9"/>
                  </a:cubicBezTo>
                  <a:cubicBezTo>
                    <a:pt x="45" y="11"/>
                    <a:pt x="47" y="12"/>
                    <a:pt x="47" y="13"/>
                  </a:cubicBezTo>
                  <a:cubicBezTo>
                    <a:pt x="47" y="14"/>
                    <a:pt x="47" y="16"/>
                    <a:pt x="47" y="16"/>
                  </a:cubicBezTo>
                  <a:cubicBezTo>
                    <a:pt x="47" y="16"/>
                    <a:pt x="39" y="17"/>
                    <a:pt x="38" y="17"/>
                  </a:cubicBezTo>
                  <a:cubicBezTo>
                    <a:pt x="37" y="18"/>
                    <a:pt x="38" y="21"/>
                    <a:pt x="37" y="21"/>
                  </a:cubicBezTo>
                  <a:cubicBezTo>
                    <a:pt x="36" y="21"/>
                    <a:pt x="34" y="22"/>
                    <a:pt x="33" y="22"/>
                  </a:cubicBezTo>
                  <a:cubicBezTo>
                    <a:pt x="32" y="22"/>
                    <a:pt x="32" y="25"/>
                    <a:pt x="31" y="25"/>
                  </a:cubicBezTo>
                  <a:cubicBezTo>
                    <a:pt x="31" y="26"/>
                    <a:pt x="26" y="26"/>
                    <a:pt x="25" y="26"/>
                  </a:cubicBezTo>
                  <a:cubicBezTo>
                    <a:pt x="23" y="27"/>
                    <a:pt x="18" y="30"/>
                    <a:pt x="18" y="30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5"/>
                    <a:pt x="1" y="34"/>
                    <a:pt x="1" y="3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5" name="Freeform 6458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022525" y="3815213"/>
              <a:ext cx="65622" cy="80368"/>
            </a:xfrm>
            <a:custGeom>
              <a:avLst/>
              <a:gdLst>
                <a:gd name="T0" fmla="*/ 2 w 11"/>
                <a:gd name="T1" fmla="*/ 9 h 12"/>
                <a:gd name="T2" fmla="*/ 1 w 11"/>
                <a:gd name="T3" fmla="*/ 6 h 12"/>
                <a:gd name="T4" fmla="*/ 0 w 11"/>
                <a:gd name="T5" fmla="*/ 3 h 12"/>
                <a:gd name="T6" fmla="*/ 3 w 11"/>
                <a:gd name="T7" fmla="*/ 2 h 12"/>
                <a:gd name="T8" fmla="*/ 6 w 11"/>
                <a:gd name="T9" fmla="*/ 0 h 12"/>
                <a:gd name="T10" fmla="*/ 9 w 11"/>
                <a:gd name="T11" fmla="*/ 1 h 12"/>
                <a:gd name="T12" fmla="*/ 11 w 11"/>
                <a:gd name="T13" fmla="*/ 6 h 12"/>
                <a:gd name="T14" fmla="*/ 10 w 11"/>
                <a:gd name="T15" fmla="*/ 9 h 12"/>
                <a:gd name="T16" fmla="*/ 7 w 11"/>
                <a:gd name="T17" fmla="*/ 12 h 12"/>
                <a:gd name="T18" fmla="*/ 5 w 11"/>
                <a:gd name="T19" fmla="*/ 11 h 12"/>
                <a:gd name="T20" fmla="*/ 2 w 11"/>
                <a:gd name="T2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2">
                  <a:moveTo>
                    <a:pt x="2" y="9"/>
                  </a:moveTo>
                  <a:cubicBezTo>
                    <a:pt x="2" y="8"/>
                    <a:pt x="1" y="7"/>
                    <a:pt x="1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2" y="3"/>
                    <a:pt x="3" y="2"/>
                  </a:cubicBezTo>
                  <a:cubicBezTo>
                    <a:pt x="3" y="1"/>
                    <a:pt x="3" y="0"/>
                    <a:pt x="6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10" y="5"/>
                    <a:pt x="11" y="6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3" y="10"/>
                    <a:pt x="3" y="10"/>
                    <a:pt x="2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6" name="Freeform 6459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985027" y="3741541"/>
              <a:ext cx="162492" cy="130598"/>
            </a:xfrm>
            <a:custGeom>
              <a:avLst/>
              <a:gdLst>
                <a:gd name="T0" fmla="*/ 4 w 27"/>
                <a:gd name="T1" fmla="*/ 12 h 20"/>
                <a:gd name="T2" fmla="*/ 0 w 27"/>
                <a:gd name="T3" fmla="*/ 7 h 20"/>
                <a:gd name="T4" fmla="*/ 2 w 27"/>
                <a:gd name="T5" fmla="*/ 5 h 20"/>
                <a:gd name="T6" fmla="*/ 5 w 27"/>
                <a:gd name="T7" fmla="*/ 4 h 20"/>
                <a:gd name="T8" fmla="*/ 6 w 27"/>
                <a:gd name="T9" fmla="*/ 1 h 20"/>
                <a:gd name="T10" fmla="*/ 13 w 27"/>
                <a:gd name="T11" fmla="*/ 1 h 20"/>
                <a:gd name="T12" fmla="*/ 17 w 27"/>
                <a:gd name="T13" fmla="*/ 3 h 20"/>
                <a:gd name="T14" fmla="*/ 22 w 27"/>
                <a:gd name="T15" fmla="*/ 1 h 20"/>
                <a:gd name="T16" fmla="*/ 24 w 27"/>
                <a:gd name="T17" fmla="*/ 5 h 20"/>
                <a:gd name="T18" fmla="*/ 26 w 27"/>
                <a:gd name="T19" fmla="*/ 10 h 20"/>
                <a:gd name="T20" fmla="*/ 27 w 27"/>
                <a:gd name="T21" fmla="*/ 15 h 20"/>
                <a:gd name="T22" fmla="*/ 26 w 27"/>
                <a:gd name="T23" fmla="*/ 18 h 20"/>
                <a:gd name="T24" fmla="*/ 24 w 27"/>
                <a:gd name="T25" fmla="*/ 20 h 20"/>
                <a:gd name="T26" fmla="*/ 20 w 27"/>
                <a:gd name="T27" fmla="*/ 20 h 20"/>
                <a:gd name="T28" fmla="*/ 20 w 27"/>
                <a:gd name="T29" fmla="*/ 17 h 20"/>
                <a:gd name="T30" fmla="*/ 17 w 27"/>
                <a:gd name="T31" fmla="*/ 17 h 20"/>
                <a:gd name="T32" fmla="*/ 15 w 27"/>
                <a:gd name="T33" fmla="*/ 12 h 20"/>
                <a:gd name="T34" fmla="*/ 12 w 27"/>
                <a:gd name="T35" fmla="*/ 11 h 20"/>
                <a:gd name="T36" fmla="*/ 9 w 27"/>
                <a:gd name="T37" fmla="*/ 13 h 20"/>
                <a:gd name="T38" fmla="*/ 6 w 27"/>
                <a:gd name="T39" fmla="*/ 14 h 20"/>
                <a:gd name="T40" fmla="*/ 4 w 27"/>
                <a:gd name="T4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20">
                  <a:moveTo>
                    <a:pt x="4" y="12"/>
                  </a:moveTo>
                  <a:cubicBezTo>
                    <a:pt x="3" y="11"/>
                    <a:pt x="1" y="8"/>
                    <a:pt x="0" y="7"/>
                  </a:cubicBezTo>
                  <a:cubicBezTo>
                    <a:pt x="0" y="7"/>
                    <a:pt x="1" y="5"/>
                    <a:pt x="2" y="5"/>
                  </a:cubicBezTo>
                  <a:cubicBezTo>
                    <a:pt x="3" y="4"/>
                    <a:pt x="4" y="5"/>
                    <a:pt x="5" y="4"/>
                  </a:cubicBezTo>
                  <a:cubicBezTo>
                    <a:pt x="5" y="4"/>
                    <a:pt x="4" y="1"/>
                    <a:pt x="6" y="1"/>
                  </a:cubicBezTo>
                  <a:cubicBezTo>
                    <a:pt x="7" y="0"/>
                    <a:pt x="13" y="1"/>
                    <a:pt x="13" y="1"/>
                  </a:cubicBezTo>
                  <a:cubicBezTo>
                    <a:pt x="14" y="2"/>
                    <a:pt x="15" y="4"/>
                    <a:pt x="17" y="3"/>
                  </a:cubicBezTo>
                  <a:cubicBezTo>
                    <a:pt x="18" y="3"/>
                    <a:pt x="21" y="1"/>
                    <a:pt x="22" y="1"/>
                  </a:cubicBezTo>
                  <a:cubicBezTo>
                    <a:pt x="22" y="1"/>
                    <a:pt x="23" y="4"/>
                    <a:pt x="24" y="5"/>
                  </a:cubicBezTo>
                  <a:cubicBezTo>
                    <a:pt x="24" y="6"/>
                    <a:pt x="26" y="9"/>
                    <a:pt x="26" y="10"/>
                  </a:cubicBezTo>
                  <a:cubicBezTo>
                    <a:pt x="26" y="11"/>
                    <a:pt x="26" y="14"/>
                    <a:pt x="27" y="15"/>
                  </a:cubicBezTo>
                  <a:cubicBezTo>
                    <a:pt x="27" y="16"/>
                    <a:pt x="26" y="18"/>
                    <a:pt x="26" y="18"/>
                  </a:cubicBezTo>
                  <a:cubicBezTo>
                    <a:pt x="25" y="18"/>
                    <a:pt x="24" y="20"/>
                    <a:pt x="24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18"/>
                    <a:pt x="20" y="17"/>
                  </a:cubicBezTo>
                  <a:cubicBezTo>
                    <a:pt x="20" y="16"/>
                    <a:pt x="17" y="17"/>
                    <a:pt x="17" y="17"/>
                  </a:cubicBezTo>
                  <a:cubicBezTo>
                    <a:pt x="16" y="16"/>
                    <a:pt x="15" y="13"/>
                    <a:pt x="15" y="12"/>
                  </a:cubicBezTo>
                  <a:cubicBezTo>
                    <a:pt x="15" y="11"/>
                    <a:pt x="15" y="11"/>
                    <a:pt x="12" y="11"/>
                  </a:cubicBezTo>
                  <a:cubicBezTo>
                    <a:pt x="9" y="11"/>
                    <a:pt x="9" y="12"/>
                    <a:pt x="9" y="13"/>
                  </a:cubicBezTo>
                  <a:cubicBezTo>
                    <a:pt x="8" y="14"/>
                    <a:pt x="6" y="14"/>
                    <a:pt x="6" y="14"/>
                  </a:cubicBezTo>
                  <a:cubicBezTo>
                    <a:pt x="5" y="13"/>
                    <a:pt x="4" y="12"/>
                    <a:pt x="4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7" name="Freeform 6460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928779" y="3353094"/>
              <a:ext cx="199990" cy="170782"/>
            </a:xfrm>
            <a:custGeom>
              <a:avLst/>
              <a:gdLst>
                <a:gd name="T0" fmla="*/ 8 w 33"/>
                <a:gd name="T1" fmla="*/ 12 h 26"/>
                <a:gd name="T2" fmla="*/ 10 w 33"/>
                <a:gd name="T3" fmla="*/ 6 h 26"/>
                <a:gd name="T4" fmla="*/ 14 w 33"/>
                <a:gd name="T5" fmla="*/ 4 h 26"/>
                <a:gd name="T6" fmla="*/ 15 w 33"/>
                <a:gd name="T7" fmla="*/ 1 h 26"/>
                <a:gd name="T8" fmla="*/ 33 w 33"/>
                <a:gd name="T9" fmla="*/ 0 h 26"/>
                <a:gd name="T10" fmla="*/ 33 w 33"/>
                <a:gd name="T11" fmla="*/ 2 h 26"/>
                <a:gd name="T12" fmla="*/ 33 w 33"/>
                <a:gd name="T13" fmla="*/ 7 h 26"/>
                <a:gd name="T14" fmla="*/ 20 w 33"/>
                <a:gd name="T15" fmla="*/ 7 h 26"/>
                <a:gd name="T16" fmla="*/ 20 w 33"/>
                <a:gd name="T17" fmla="*/ 17 h 26"/>
                <a:gd name="T18" fmla="*/ 16 w 33"/>
                <a:gd name="T19" fmla="*/ 18 h 26"/>
                <a:gd name="T20" fmla="*/ 16 w 33"/>
                <a:gd name="T21" fmla="*/ 26 h 26"/>
                <a:gd name="T22" fmla="*/ 0 w 33"/>
                <a:gd name="T23" fmla="*/ 25 h 26"/>
                <a:gd name="T24" fmla="*/ 4 w 33"/>
                <a:gd name="T25" fmla="*/ 18 h 26"/>
                <a:gd name="T26" fmla="*/ 8 w 33"/>
                <a:gd name="T27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6">
                  <a:moveTo>
                    <a:pt x="8" y="12"/>
                  </a:moveTo>
                  <a:cubicBezTo>
                    <a:pt x="9" y="12"/>
                    <a:pt x="9" y="7"/>
                    <a:pt x="10" y="6"/>
                  </a:cubicBezTo>
                  <a:cubicBezTo>
                    <a:pt x="11" y="5"/>
                    <a:pt x="12" y="5"/>
                    <a:pt x="14" y="4"/>
                  </a:cubicBezTo>
                  <a:cubicBezTo>
                    <a:pt x="14" y="4"/>
                    <a:pt x="14" y="2"/>
                    <a:pt x="15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18" y="17"/>
                    <a:pt x="16" y="18"/>
                  </a:cubicBezTo>
                  <a:cubicBezTo>
                    <a:pt x="14" y="19"/>
                    <a:pt x="16" y="26"/>
                    <a:pt x="16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3"/>
                    <a:pt x="3" y="19"/>
                    <a:pt x="4" y="18"/>
                  </a:cubicBezTo>
                  <a:cubicBezTo>
                    <a:pt x="4" y="17"/>
                    <a:pt x="7" y="13"/>
                    <a:pt x="8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8" name="Freeform 6461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941279" y="3741541"/>
              <a:ext cx="81246" cy="46882"/>
            </a:xfrm>
            <a:custGeom>
              <a:avLst/>
              <a:gdLst>
                <a:gd name="T0" fmla="*/ 2 w 13"/>
                <a:gd name="T1" fmla="*/ 4 h 7"/>
                <a:gd name="T2" fmla="*/ 0 w 13"/>
                <a:gd name="T3" fmla="*/ 2 h 7"/>
                <a:gd name="T4" fmla="*/ 6 w 13"/>
                <a:gd name="T5" fmla="*/ 0 h 7"/>
                <a:gd name="T6" fmla="*/ 13 w 13"/>
                <a:gd name="T7" fmla="*/ 1 h 7"/>
                <a:gd name="T8" fmla="*/ 12 w 13"/>
                <a:gd name="T9" fmla="*/ 4 h 7"/>
                <a:gd name="T10" fmla="*/ 9 w 13"/>
                <a:gd name="T11" fmla="*/ 5 h 7"/>
                <a:gd name="T12" fmla="*/ 7 w 13"/>
                <a:gd name="T13" fmla="*/ 7 h 7"/>
                <a:gd name="T14" fmla="*/ 6 w 13"/>
                <a:gd name="T15" fmla="*/ 7 h 7"/>
                <a:gd name="T16" fmla="*/ 5 w 13"/>
                <a:gd name="T17" fmla="*/ 4 h 7"/>
                <a:gd name="T18" fmla="*/ 2 w 13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7">
                  <a:moveTo>
                    <a:pt x="2" y="4"/>
                  </a:moveTo>
                  <a:cubicBezTo>
                    <a:pt x="1" y="4"/>
                    <a:pt x="0" y="3"/>
                    <a:pt x="0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1" y="1"/>
                    <a:pt x="12" y="4"/>
                    <a:pt x="12" y="4"/>
                  </a:cubicBezTo>
                  <a:cubicBezTo>
                    <a:pt x="11" y="5"/>
                    <a:pt x="10" y="4"/>
                    <a:pt x="9" y="5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4" y="5"/>
                    <a:pt x="5" y="4"/>
                  </a:cubicBezTo>
                  <a:cubicBezTo>
                    <a:pt x="5" y="3"/>
                    <a:pt x="3" y="4"/>
                    <a:pt x="2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99" name="Freeform 6462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922530" y="3637733"/>
              <a:ext cx="140618" cy="120553"/>
            </a:xfrm>
            <a:custGeom>
              <a:avLst/>
              <a:gdLst>
                <a:gd name="T0" fmla="*/ 7 w 23"/>
                <a:gd name="T1" fmla="*/ 14 h 18"/>
                <a:gd name="T2" fmla="*/ 3 w 23"/>
                <a:gd name="T3" fmla="*/ 12 h 18"/>
                <a:gd name="T4" fmla="*/ 1 w 23"/>
                <a:gd name="T5" fmla="*/ 9 h 18"/>
                <a:gd name="T6" fmla="*/ 0 w 23"/>
                <a:gd name="T7" fmla="*/ 8 h 18"/>
                <a:gd name="T8" fmla="*/ 3 w 23"/>
                <a:gd name="T9" fmla="*/ 3 h 18"/>
                <a:gd name="T10" fmla="*/ 4 w 23"/>
                <a:gd name="T11" fmla="*/ 0 h 18"/>
                <a:gd name="T12" fmla="*/ 7 w 23"/>
                <a:gd name="T13" fmla="*/ 1 h 18"/>
                <a:gd name="T14" fmla="*/ 12 w 23"/>
                <a:gd name="T15" fmla="*/ 1 h 18"/>
                <a:gd name="T16" fmla="*/ 20 w 23"/>
                <a:gd name="T17" fmla="*/ 9 h 18"/>
                <a:gd name="T18" fmla="*/ 22 w 23"/>
                <a:gd name="T19" fmla="*/ 13 h 18"/>
                <a:gd name="T20" fmla="*/ 23 w 23"/>
                <a:gd name="T21" fmla="*/ 17 h 18"/>
                <a:gd name="T22" fmla="*/ 16 w 23"/>
                <a:gd name="T23" fmla="*/ 17 h 18"/>
                <a:gd name="T24" fmla="*/ 9 w 23"/>
                <a:gd name="T25" fmla="*/ 16 h 18"/>
                <a:gd name="T26" fmla="*/ 3 w 23"/>
                <a:gd name="T27" fmla="*/ 18 h 18"/>
                <a:gd name="T28" fmla="*/ 2 w 23"/>
                <a:gd name="T29" fmla="*/ 16 h 18"/>
                <a:gd name="T30" fmla="*/ 7 w 23"/>
                <a:gd name="T3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18">
                  <a:moveTo>
                    <a:pt x="7" y="14"/>
                  </a:moveTo>
                  <a:cubicBezTo>
                    <a:pt x="7" y="11"/>
                    <a:pt x="4" y="13"/>
                    <a:pt x="3" y="12"/>
                  </a:cubicBezTo>
                  <a:cubicBezTo>
                    <a:pt x="1" y="11"/>
                    <a:pt x="1" y="9"/>
                    <a:pt x="1" y="9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7"/>
                    <a:pt x="3" y="5"/>
                    <a:pt x="3" y="3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3" y="1"/>
                    <a:pt x="19" y="9"/>
                    <a:pt x="20" y="9"/>
                  </a:cubicBezTo>
                  <a:cubicBezTo>
                    <a:pt x="20" y="9"/>
                    <a:pt x="21" y="12"/>
                    <a:pt x="22" y="13"/>
                  </a:cubicBezTo>
                  <a:cubicBezTo>
                    <a:pt x="23" y="14"/>
                    <a:pt x="23" y="17"/>
                    <a:pt x="23" y="17"/>
                  </a:cubicBezTo>
                  <a:cubicBezTo>
                    <a:pt x="23" y="17"/>
                    <a:pt x="17" y="16"/>
                    <a:pt x="16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14"/>
                    <a:pt x="7" y="14"/>
                    <a:pt x="7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0" name="Freeform 6463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928779" y="3366490"/>
              <a:ext cx="290611" cy="331519"/>
            </a:xfrm>
            <a:custGeom>
              <a:avLst/>
              <a:gdLst>
                <a:gd name="T0" fmla="*/ 2 w 48"/>
                <a:gd name="T1" fmla="*/ 26 h 51"/>
                <a:gd name="T2" fmla="*/ 0 w 48"/>
                <a:gd name="T3" fmla="*/ 27 h 51"/>
                <a:gd name="T4" fmla="*/ 0 w 48"/>
                <a:gd name="T5" fmla="*/ 25 h 51"/>
                <a:gd name="T6" fmla="*/ 0 w 48"/>
                <a:gd name="T7" fmla="*/ 23 h 51"/>
                <a:gd name="T8" fmla="*/ 16 w 48"/>
                <a:gd name="T9" fmla="*/ 24 h 51"/>
                <a:gd name="T10" fmla="*/ 16 w 48"/>
                <a:gd name="T11" fmla="*/ 16 h 51"/>
                <a:gd name="T12" fmla="*/ 20 w 48"/>
                <a:gd name="T13" fmla="*/ 15 h 51"/>
                <a:gd name="T14" fmla="*/ 20 w 48"/>
                <a:gd name="T15" fmla="*/ 5 h 51"/>
                <a:gd name="T16" fmla="*/ 33 w 48"/>
                <a:gd name="T17" fmla="*/ 5 h 51"/>
                <a:gd name="T18" fmla="*/ 33 w 48"/>
                <a:gd name="T19" fmla="*/ 0 h 51"/>
                <a:gd name="T20" fmla="*/ 48 w 48"/>
                <a:gd name="T21" fmla="*/ 10 h 51"/>
                <a:gd name="T22" fmla="*/ 41 w 48"/>
                <a:gd name="T23" fmla="*/ 10 h 51"/>
                <a:gd name="T24" fmla="*/ 46 w 48"/>
                <a:gd name="T25" fmla="*/ 44 h 51"/>
                <a:gd name="T26" fmla="*/ 45 w 48"/>
                <a:gd name="T27" fmla="*/ 48 h 51"/>
                <a:gd name="T28" fmla="*/ 25 w 48"/>
                <a:gd name="T29" fmla="*/ 49 h 51"/>
                <a:gd name="T30" fmla="*/ 22 w 48"/>
                <a:gd name="T31" fmla="*/ 47 h 51"/>
                <a:gd name="T32" fmla="*/ 19 w 48"/>
                <a:gd name="T33" fmla="*/ 51 h 51"/>
                <a:gd name="T34" fmla="*/ 11 w 48"/>
                <a:gd name="T35" fmla="*/ 43 h 51"/>
                <a:gd name="T36" fmla="*/ 6 w 48"/>
                <a:gd name="T37" fmla="*/ 43 h 51"/>
                <a:gd name="T38" fmla="*/ 3 w 48"/>
                <a:gd name="T39" fmla="*/ 43 h 51"/>
                <a:gd name="T40" fmla="*/ 4 w 48"/>
                <a:gd name="T41" fmla="*/ 40 h 51"/>
                <a:gd name="T42" fmla="*/ 2 w 48"/>
                <a:gd name="T43" fmla="*/ 33 h 51"/>
                <a:gd name="T44" fmla="*/ 3 w 48"/>
                <a:gd name="T45" fmla="*/ 30 h 51"/>
                <a:gd name="T46" fmla="*/ 2 w 48"/>
                <a:gd name="T47" fmla="*/ 2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" h="51">
                  <a:moveTo>
                    <a:pt x="2" y="26"/>
                  </a:moveTo>
                  <a:cubicBezTo>
                    <a:pt x="2" y="25"/>
                    <a:pt x="0" y="27"/>
                    <a:pt x="0" y="27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5" y="17"/>
                    <a:pt x="16" y="16"/>
                  </a:cubicBezTo>
                  <a:cubicBezTo>
                    <a:pt x="18" y="15"/>
                    <a:pt x="20" y="15"/>
                    <a:pt x="20" y="1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25" y="49"/>
                    <a:pt x="25" y="49"/>
                  </a:cubicBezTo>
                  <a:cubicBezTo>
                    <a:pt x="24" y="49"/>
                    <a:pt x="23" y="47"/>
                    <a:pt x="22" y="47"/>
                  </a:cubicBezTo>
                  <a:cubicBezTo>
                    <a:pt x="21" y="47"/>
                    <a:pt x="21" y="50"/>
                    <a:pt x="19" y="51"/>
                  </a:cubicBezTo>
                  <a:cubicBezTo>
                    <a:pt x="18" y="51"/>
                    <a:pt x="12" y="44"/>
                    <a:pt x="11" y="43"/>
                  </a:cubicBezTo>
                  <a:cubicBezTo>
                    <a:pt x="9" y="43"/>
                    <a:pt x="7" y="43"/>
                    <a:pt x="6" y="43"/>
                  </a:cubicBezTo>
                  <a:cubicBezTo>
                    <a:pt x="5" y="44"/>
                    <a:pt x="3" y="43"/>
                    <a:pt x="3" y="43"/>
                  </a:cubicBezTo>
                  <a:cubicBezTo>
                    <a:pt x="3" y="42"/>
                    <a:pt x="3" y="41"/>
                    <a:pt x="4" y="40"/>
                  </a:cubicBezTo>
                  <a:cubicBezTo>
                    <a:pt x="5" y="38"/>
                    <a:pt x="2" y="34"/>
                    <a:pt x="2" y="33"/>
                  </a:cubicBezTo>
                  <a:cubicBezTo>
                    <a:pt x="2" y="31"/>
                    <a:pt x="1" y="31"/>
                    <a:pt x="3" y="30"/>
                  </a:cubicBezTo>
                  <a:cubicBezTo>
                    <a:pt x="4" y="29"/>
                    <a:pt x="2" y="27"/>
                    <a:pt x="2" y="2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1" name="Freeform 6464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894406" y="1668710"/>
              <a:ext cx="34373" cy="33487"/>
            </a:xfrm>
            <a:custGeom>
              <a:avLst/>
              <a:gdLst>
                <a:gd name="T0" fmla="*/ 0 w 6"/>
                <a:gd name="T1" fmla="*/ 4 h 5"/>
                <a:gd name="T2" fmla="*/ 0 w 6"/>
                <a:gd name="T3" fmla="*/ 1 h 5"/>
                <a:gd name="T4" fmla="*/ 3 w 6"/>
                <a:gd name="T5" fmla="*/ 0 h 5"/>
                <a:gd name="T6" fmla="*/ 5 w 6"/>
                <a:gd name="T7" fmla="*/ 3 h 5"/>
                <a:gd name="T8" fmla="*/ 4 w 6"/>
                <a:gd name="T9" fmla="*/ 5 h 5"/>
                <a:gd name="T10" fmla="*/ 0 w 6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4"/>
                  </a:moveTo>
                  <a:cubicBezTo>
                    <a:pt x="0" y="3"/>
                    <a:pt x="0" y="1"/>
                    <a:pt x="0" y="1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2"/>
                    <a:pt x="5" y="3"/>
                  </a:cubicBezTo>
                  <a:cubicBezTo>
                    <a:pt x="6" y="3"/>
                    <a:pt x="5" y="5"/>
                    <a:pt x="4" y="5"/>
                  </a:cubicBezTo>
                  <a:cubicBezTo>
                    <a:pt x="3" y="4"/>
                    <a:pt x="0" y="4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2" name="Freeform 6465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869407" y="1481183"/>
              <a:ext cx="53122" cy="63625"/>
            </a:xfrm>
            <a:custGeom>
              <a:avLst/>
              <a:gdLst>
                <a:gd name="T0" fmla="*/ 1 w 9"/>
                <a:gd name="T1" fmla="*/ 9 h 10"/>
                <a:gd name="T2" fmla="*/ 2 w 9"/>
                <a:gd name="T3" fmla="*/ 6 h 10"/>
                <a:gd name="T4" fmla="*/ 3 w 9"/>
                <a:gd name="T5" fmla="*/ 6 h 10"/>
                <a:gd name="T6" fmla="*/ 5 w 9"/>
                <a:gd name="T7" fmla="*/ 3 h 10"/>
                <a:gd name="T8" fmla="*/ 9 w 9"/>
                <a:gd name="T9" fmla="*/ 0 h 10"/>
                <a:gd name="T10" fmla="*/ 6 w 9"/>
                <a:gd name="T11" fmla="*/ 5 h 10"/>
                <a:gd name="T12" fmla="*/ 4 w 9"/>
                <a:gd name="T13" fmla="*/ 9 h 10"/>
                <a:gd name="T14" fmla="*/ 1 w 9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0">
                  <a:moveTo>
                    <a:pt x="1" y="9"/>
                  </a:moveTo>
                  <a:cubicBezTo>
                    <a:pt x="0" y="9"/>
                    <a:pt x="1" y="7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4" y="4"/>
                    <a:pt x="5" y="3"/>
                  </a:cubicBezTo>
                  <a:cubicBezTo>
                    <a:pt x="5" y="2"/>
                    <a:pt x="8" y="0"/>
                    <a:pt x="9" y="0"/>
                  </a:cubicBezTo>
                  <a:cubicBezTo>
                    <a:pt x="9" y="1"/>
                    <a:pt x="7" y="4"/>
                    <a:pt x="6" y="5"/>
                  </a:cubicBezTo>
                  <a:cubicBezTo>
                    <a:pt x="6" y="5"/>
                    <a:pt x="4" y="9"/>
                    <a:pt x="4" y="9"/>
                  </a:cubicBezTo>
                  <a:cubicBezTo>
                    <a:pt x="3" y="10"/>
                    <a:pt x="2" y="9"/>
                    <a:pt x="1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3" name="Freeform 6466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753788" y="2083945"/>
              <a:ext cx="268737" cy="137296"/>
            </a:xfrm>
            <a:custGeom>
              <a:avLst/>
              <a:gdLst>
                <a:gd name="T0" fmla="*/ 3 w 44"/>
                <a:gd name="T1" fmla="*/ 3 h 21"/>
                <a:gd name="T2" fmla="*/ 7 w 44"/>
                <a:gd name="T3" fmla="*/ 4 h 21"/>
                <a:gd name="T4" fmla="*/ 8 w 44"/>
                <a:gd name="T5" fmla="*/ 1 h 21"/>
                <a:gd name="T6" fmla="*/ 13 w 44"/>
                <a:gd name="T7" fmla="*/ 4 h 21"/>
                <a:gd name="T8" fmla="*/ 13 w 44"/>
                <a:gd name="T9" fmla="*/ 7 h 21"/>
                <a:gd name="T10" fmla="*/ 13 w 44"/>
                <a:gd name="T11" fmla="*/ 9 h 21"/>
                <a:gd name="T12" fmla="*/ 15 w 44"/>
                <a:gd name="T13" fmla="*/ 6 h 21"/>
                <a:gd name="T14" fmla="*/ 17 w 44"/>
                <a:gd name="T15" fmla="*/ 6 h 21"/>
                <a:gd name="T16" fmla="*/ 17 w 44"/>
                <a:gd name="T17" fmla="*/ 3 h 21"/>
                <a:gd name="T18" fmla="*/ 21 w 44"/>
                <a:gd name="T19" fmla="*/ 5 h 21"/>
                <a:gd name="T20" fmla="*/ 21 w 44"/>
                <a:gd name="T21" fmla="*/ 3 h 21"/>
                <a:gd name="T22" fmla="*/ 26 w 44"/>
                <a:gd name="T23" fmla="*/ 6 h 21"/>
                <a:gd name="T24" fmla="*/ 27 w 44"/>
                <a:gd name="T25" fmla="*/ 3 h 21"/>
                <a:gd name="T26" fmla="*/ 30 w 44"/>
                <a:gd name="T27" fmla="*/ 3 h 21"/>
                <a:gd name="T28" fmla="*/ 32 w 44"/>
                <a:gd name="T29" fmla="*/ 3 h 21"/>
                <a:gd name="T30" fmla="*/ 32 w 44"/>
                <a:gd name="T31" fmla="*/ 0 h 21"/>
                <a:gd name="T32" fmla="*/ 35 w 44"/>
                <a:gd name="T33" fmla="*/ 1 h 21"/>
                <a:gd name="T34" fmla="*/ 37 w 44"/>
                <a:gd name="T35" fmla="*/ 3 h 21"/>
                <a:gd name="T36" fmla="*/ 39 w 44"/>
                <a:gd name="T37" fmla="*/ 4 h 21"/>
                <a:gd name="T38" fmla="*/ 40 w 44"/>
                <a:gd name="T39" fmla="*/ 6 h 21"/>
                <a:gd name="T40" fmla="*/ 43 w 44"/>
                <a:gd name="T41" fmla="*/ 7 h 21"/>
                <a:gd name="T42" fmla="*/ 43 w 44"/>
                <a:gd name="T43" fmla="*/ 10 h 21"/>
                <a:gd name="T44" fmla="*/ 41 w 44"/>
                <a:gd name="T45" fmla="*/ 13 h 21"/>
                <a:gd name="T46" fmla="*/ 35 w 44"/>
                <a:gd name="T47" fmla="*/ 15 h 21"/>
                <a:gd name="T48" fmla="*/ 31 w 44"/>
                <a:gd name="T49" fmla="*/ 18 h 21"/>
                <a:gd name="T50" fmla="*/ 28 w 44"/>
                <a:gd name="T51" fmla="*/ 18 h 21"/>
                <a:gd name="T52" fmla="*/ 24 w 44"/>
                <a:gd name="T53" fmla="*/ 21 h 21"/>
                <a:gd name="T54" fmla="*/ 17 w 44"/>
                <a:gd name="T55" fmla="*/ 19 h 21"/>
                <a:gd name="T56" fmla="*/ 13 w 44"/>
                <a:gd name="T57" fmla="*/ 18 h 21"/>
                <a:gd name="T58" fmla="*/ 8 w 44"/>
                <a:gd name="T59" fmla="*/ 18 h 21"/>
                <a:gd name="T60" fmla="*/ 7 w 44"/>
                <a:gd name="T61" fmla="*/ 16 h 21"/>
                <a:gd name="T62" fmla="*/ 11 w 44"/>
                <a:gd name="T63" fmla="*/ 15 h 21"/>
                <a:gd name="T64" fmla="*/ 9 w 44"/>
                <a:gd name="T65" fmla="*/ 12 h 21"/>
                <a:gd name="T66" fmla="*/ 3 w 44"/>
                <a:gd name="T67" fmla="*/ 12 h 21"/>
                <a:gd name="T68" fmla="*/ 3 w 44"/>
                <a:gd name="T69" fmla="*/ 11 h 21"/>
                <a:gd name="T70" fmla="*/ 7 w 44"/>
                <a:gd name="T71" fmla="*/ 10 h 21"/>
                <a:gd name="T72" fmla="*/ 10 w 44"/>
                <a:gd name="T73" fmla="*/ 8 h 21"/>
                <a:gd name="T74" fmla="*/ 6 w 44"/>
                <a:gd name="T75" fmla="*/ 7 h 21"/>
                <a:gd name="T76" fmla="*/ 2 w 44"/>
                <a:gd name="T77" fmla="*/ 8 h 21"/>
                <a:gd name="T78" fmla="*/ 0 w 44"/>
                <a:gd name="T79" fmla="*/ 7 h 21"/>
                <a:gd name="T80" fmla="*/ 3 w 44"/>
                <a:gd name="T8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4" h="21">
                  <a:moveTo>
                    <a:pt x="3" y="3"/>
                  </a:moveTo>
                  <a:cubicBezTo>
                    <a:pt x="4" y="3"/>
                    <a:pt x="6" y="4"/>
                    <a:pt x="7" y="4"/>
                  </a:cubicBezTo>
                  <a:cubicBezTo>
                    <a:pt x="7" y="3"/>
                    <a:pt x="4" y="0"/>
                    <a:pt x="8" y="1"/>
                  </a:cubicBezTo>
                  <a:cubicBezTo>
                    <a:pt x="8" y="1"/>
                    <a:pt x="13" y="4"/>
                    <a:pt x="13" y="4"/>
                  </a:cubicBezTo>
                  <a:cubicBezTo>
                    <a:pt x="13" y="5"/>
                    <a:pt x="12" y="6"/>
                    <a:pt x="13" y="7"/>
                  </a:cubicBezTo>
                  <a:cubicBezTo>
                    <a:pt x="13" y="8"/>
                    <a:pt x="13" y="9"/>
                    <a:pt x="13" y="9"/>
                  </a:cubicBezTo>
                  <a:cubicBezTo>
                    <a:pt x="14" y="9"/>
                    <a:pt x="15" y="6"/>
                    <a:pt x="15" y="6"/>
                  </a:cubicBezTo>
                  <a:cubicBezTo>
                    <a:pt x="15" y="6"/>
                    <a:pt x="17" y="6"/>
                    <a:pt x="17" y="6"/>
                  </a:cubicBezTo>
                  <a:cubicBezTo>
                    <a:pt x="17" y="5"/>
                    <a:pt x="16" y="3"/>
                    <a:pt x="17" y="3"/>
                  </a:cubicBezTo>
                  <a:cubicBezTo>
                    <a:pt x="18" y="3"/>
                    <a:pt x="19" y="5"/>
                    <a:pt x="21" y="5"/>
                  </a:cubicBezTo>
                  <a:cubicBezTo>
                    <a:pt x="21" y="5"/>
                    <a:pt x="21" y="3"/>
                    <a:pt x="21" y="3"/>
                  </a:cubicBezTo>
                  <a:cubicBezTo>
                    <a:pt x="23" y="3"/>
                    <a:pt x="24" y="6"/>
                    <a:pt x="26" y="6"/>
                  </a:cubicBezTo>
                  <a:cubicBezTo>
                    <a:pt x="26" y="5"/>
                    <a:pt x="26" y="3"/>
                    <a:pt x="27" y="3"/>
                  </a:cubicBezTo>
                  <a:cubicBezTo>
                    <a:pt x="28" y="3"/>
                    <a:pt x="29" y="3"/>
                    <a:pt x="30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2"/>
                    <a:pt x="32" y="0"/>
                    <a:pt x="32" y="0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35" y="1"/>
                    <a:pt x="36" y="3"/>
                    <a:pt x="37" y="3"/>
                  </a:cubicBezTo>
                  <a:cubicBezTo>
                    <a:pt x="38" y="3"/>
                    <a:pt x="39" y="3"/>
                    <a:pt x="39" y="4"/>
                  </a:cubicBezTo>
                  <a:cubicBezTo>
                    <a:pt x="39" y="4"/>
                    <a:pt x="39" y="5"/>
                    <a:pt x="40" y="6"/>
                  </a:cubicBezTo>
                  <a:cubicBezTo>
                    <a:pt x="40" y="6"/>
                    <a:pt x="43" y="6"/>
                    <a:pt x="43" y="7"/>
                  </a:cubicBezTo>
                  <a:cubicBezTo>
                    <a:pt x="43" y="7"/>
                    <a:pt x="44" y="9"/>
                    <a:pt x="43" y="10"/>
                  </a:cubicBezTo>
                  <a:cubicBezTo>
                    <a:pt x="43" y="10"/>
                    <a:pt x="42" y="12"/>
                    <a:pt x="41" y="13"/>
                  </a:cubicBezTo>
                  <a:cubicBezTo>
                    <a:pt x="39" y="14"/>
                    <a:pt x="36" y="15"/>
                    <a:pt x="35" y="15"/>
                  </a:cubicBezTo>
                  <a:cubicBezTo>
                    <a:pt x="35" y="16"/>
                    <a:pt x="32" y="18"/>
                    <a:pt x="31" y="18"/>
                  </a:cubicBezTo>
                  <a:cubicBezTo>
                    <a:pt x="31" y="18"/>
                    <a:pt x="28" y="17"/>
                    <a:pt x="28" y="18"/>
                  </a:cubicBezTo>
                  <a:cubicBezTo>
                    <a:pt x="27" y="19"/>
                    <a:pt x="26" y="21"/>
                    <a:pt x="24" y="21"/>
                  </a:cubicBezTo>
                  <a:cubicBezTo>
                    <a:pt x="23" y="21"/>
                    <a:pt x="19" y="20"/>
                    <a:pt x="17" y="19"/>
                  </a:cubicBezTo>
                  <a:cubicBezTo>
                    <a:pt x="15" y="19"/>
                    <a:pt x="14" y="18"/>
                    <a:pt x="13" y="18"/>
                  </a:cubicBezTo>
                  <a:cubicBezTo>
                    <a:pt x="12" y="18"/>
                    <a:pt x="8" y="18"/>
                    <a:pt x="8" y="18"/>
                  </a:cubicBezTo>
                  <a:cubicBezTo>
                    <a:pt x="7" y="18"/>
                    <a:pt x="7" y="17"/>
                    <a:pt x="7" y="16"/>
                  </a:cubicBezTo>
                  <a:cubicBezTo>
                    <a:pt x="7" y="15"/>
                    <a:pt x="11" y="15"/>
                    <a:pt x="11" y="15"/>
                  </a:cubicBezTo>
                  <a:cubicBezTo>
                    <a:pt x="11" y="14"/>
                    <a:pt x="10" y="13"/>
                    <a:pt x="9" y="12"/>
                  </a:cubicBezTo>
                  <a:cubicBezTo>
                    <a:pt x="8" y="12"/>
                    <a:pt x="4" y="13"/>
                    <a:pt x="3" y="12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1"/>
                    <a:pt x="7" y="10"/>
                    <a:pt x="7" y="10"/>
                  </a:cubicBezTo>
                  <a:cubicBezTo>
                    <a:pt x="8" y="9"/>
                    <a:pt x="10" y="8"/>
                    <a:pt x="10" y="8"/>
                  </a:cubicBezTo>
                  <a:cubicBezTo>
                    <a:pt x="10" y="7"/>
                    <a:pt x="7" y="7"/>
                    <a:pt x="6" y="7"/>
                  </a:cubicBezTo>
                  <a:cubicBezTo>
                    <a:pt x="5" y="7"/>
                    <a:pt x="3" y="8"/>
                    <a:pt x="2" y="8"/>
                  </a:cubicBezTo>
                  <a:cubicBezTo>
                    <a:pt x="2" y="8"/>
                    <a:pt x="1" y="8"/>
                    <a:pt x="0" y="7"/>
                  </a:cubicBezTo>
                  <a:cubicBezTo>
                    <a:pt x="0" y="7"/>
                    <a:pt x="2" y="4"/>
                    <a:pt x="3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4" name="Freeform 6467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053821" y="3912324"/>
              <a:ext cx="71872" cy="103809"/>
            </a:xfrm>
            <a:custGeom>
              <a:avLst/>
              <a:gdLst>
                <a:gd name="T0" fmla="*/ 2 w 12"/>
                <a:gd name="T1" fmla="*/ 10 h 16"/>
                <a:gd name="T2" fmla="*/ 0 w 12"/>
                <a:gd name="T3" fmla="*/ 7 h 16"/>
                <a:gd name="T4" fmla="*/ 2 w 12"/>
                <a:gd name="T5" fmla="*/ 4 h 16"/>
                <a:gd name="T6" fmla="*/ 2 w 12"/>
                <a:gd name="T7" fmla="*/ 0 h 16"/>
                <a:gd name="T8" fmla="*/ 2 w 12"/>
                <a:gd name="T9" fmla="*/ 0 h 16"/>
                <a:gd name="T10" fmla="*/ 5 w 12"/>
                <a:gd name="T11" fmla="*/ 1 h 16"/>
                <a:gd name="T12" fmla="*/ 12 w 12"/>
                <a:gd name="T13" fmla="*/ 7 h 16"/>
                <a:gd name="T14" fmla="*/ 9 w 12"/>
                <a:gd name="T15" fmla="*/ 11 h 16"/>
                <a:gd name="T16" fmla="*/ 6 w 12"/>
                <a:gd name="T17" fmla="*/ 16 h 16"/>
                <a:gd name="T18" fmla="*/ 0 w 12"/>
                <a:gd name="T19" fmla="*/ 15 h 16"/>
                <a:gd name="T20" fmla="*/ 2 w 12"/>
                <a:gd name="T21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6">
                  <a:moveTo>
                    <a:pt x="2" y="10"/>
                  </a:move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2" y="4"/>
                  </a:cubicBezTo>
                  <a:cubicBezTo>
                    <a:pt x="2" y="3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7" y="3"/>
                    <a:pt x="10" y="5"/>
                    <a:pt x="12" y="7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2"/>
                    <a:pt x="7" y="15"/>
                    <a:pt x="6" y="16"/>
                  </a:cubicBezTo>
                  <a:cubicBezTo>
                    <a:pt x="6" y="16"/>
                    <a:pt x="2" y="15"/>
                    <a:pt x="0" y="15"/>
                  </a:cubicBezTo>
                  <a:cubicBezTo>
                    <a:pt x="0" y="15"/>
                    <a:pt x="2" y="11"/>
                    <a:pt x="2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5" name="Freeform 6468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044447" y="1923209"/>
              <a:ext cx="68747" cy="43533"/>
            </a:xfrm>
            <a:custGeom>
              <a:avLst/>
              <a:gdLst>
                <a:gd name="T0" fmla="*/ 4 w 11"/>
                <a:gd name="T1" fmla="*/ 7 h 7"/>
                <a:gd name="T2" fmla="*/ 0 w 11"/>
                <a:gd name="T3" fmla="*/ 5 h 7"/>
                <a:gd name="T4" fmla="*/ 0 w 11"/>
                <a:gd name="T5" fmla="*/ 3 h 7"/>
                <a:gd name="T6" fmla="*/ 1 w 11"/>
                <a:gd name="T7" fmla="*/ 0 h 7"/>
                <a:gd name="T8" fmla="*/ 3 w 11"/>
                <a:gd name="T9" fmla="*/ 1 h 7"/>
                <a:gd name="T10" fmla="*/ 5 w 11"/>
                <a:gd name="T11" fmla="*/ 2 h 7"/>
                <a:gd name="T12" fmla="*/ 8 w 11"/>
                <a:gd name="T13" fmla="*/ 4 h 7"/>
                <a:gd name="T14" fmla="*/ 11 w 11"/>
                <a:gd name="T15" fmla="*/ 4 h 7"/>
                <a:gd name="T16" fmla="*/ 10 w 11"/>
                <a:gd name="T17" fmla="*/ 6 h 7"/>
                <a:gd name="T18" fmla="*/ 4 w 11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7">
                  <a:moveTo>
                    <a:pt x="4" y="7"/>
                  </a:moveTo>
                  <a:cubicBezTo>
                    <a:pt x="3" y="7"/>
                    <a:pt x="2" y="5"/>
                    <a:pt x="0" y="5"/>
                  </a:cubicBezTo>
                  <a:cubicBezTo>
                    <a:pt x="0" y="5"/>
                    <a:pt x="0" y="5"/>
                    <a:pt x="0" y="3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2"/>
                    <a:pt x="5" y="2"/>
                  </a:cubicBezTo>
                  <a:cubicBezTo>
                    <a:pt x="6" y="3"/>
                    <a:pt x="7" y="3"/>
                    <a:pt x="8" y="4"/>
                  </a:cubicBezTo>
                  <a:cubicBezTo>
                    <a:pt x="9" y="5"/>
                    <a:pt x="11" y="4"/>
                    <a:pt x="11" y="4"/>
                  </a:cubicBezTo>
                  <a:cubicBezTo>
                    <a:pt x="11" y="5"/>
                    <a:pt x="11" y="6"/>
                    <a:pt x="10" y="6"/>
                  </a:cubicBezTo>
                  <a:cubicBezTo>
                    <a:pt x="10" y="6"/>
                    <a:pt x="5" y="7"/>
                    <a:pt x="4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6" name="Freeform 6469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2960076" y="4839908"/>
              <a:ext cx="124994" cy="133947"/>
            </a:xfrm>
            <a:custGeom>
              <a:avLst/>
              <a:gdLst>
                <a:gd name="T0" fmla="*/ 0 w 20"/>
                <a:gd name="T1" fmla="*/ 17 h 21"/>
                <a:gd name="T2" fmla="*/ 2 w 20"/>
                <a:gd name="T3" fmla="*/ 5 h 21"/>
                <a:gd name="T4" fmla="*/ 3 w 20"/>
                <a:gd name="T5" fmla="*/ 1 h 21"/>
                <a:gd name="T6" fmla="*/ 5 w 20"/>
                <a:gd name="T7" fmla="*/ 0 h 21"/>
                <a:gd name="T8" fmla="*/ 7 w 20"/>
                <a:gd name="T9" fmla="*/ 1 h 21"/>
                <a:gd name="T10" fmla="*/ 9 w 20"/>
                <a:gd name="T11" fmla="*/ 5 h 21"/>
                <a:gd name="T12" fmla="*/ 12 w 20"/>
                <a:gd name="T13" fmla="*/ 5 h 21"/>
                <a:gd name="T14" fmla="*/ 20 w 20"/>
                <a:gd name="T15" fmla="*/ 11 h 21"/>
                <a:gd name="T16" fmla="*/ 18 w 20"/>
                <a:gd name="T17" fmla="*/ 15 h 21"/>
                <a:gd name="T18" fmla="*/ 20 w 20"/>
                <a:gd name="T19" fmla="*/ 17 h 21"/>
                <a:gd name="T20" fmla="*/ 19 w 20"/>
                <a:gd name="T21" fmla="*/ 18 h 21"/>
                <a:gd name="T22" fmla="*/ 14 w 20"/>
                <a:gd name="T23" fmla="*/ 21 h 21"/>
                <a:gd name="T24" fmla="*/ 11 w 20"/>
                <a:gd name="T25" fmla="*/ 20 h 21"/>
                <a:gd name="T26" fmla="*/ 8 w 20"/>
                <a:gd name="T27" fmla="*/ 21 h 21"/>
                <a:gd name="T28" fmla="*/ 4 w 20"/>
                <a:gd name="T29" fmla="*/ 18 h 21"/>
                <a:gd name="T30" fmla="*/ 0 w 20"/>
                <a:gd name="T31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21">
                  <a:moveTo>
                    <a:pt x="0" y="17"/>
                  </a:moveTo>
                  <a:cubicBezTo>
                    <a:pt x="0" y="17"/>
                    <a:pt x="2" y="7"/>
                    <a:pt x="2" y="5"/>
                  </a:cubicBezTo>
                  <a:cubicBezTo>
                    <a:pt x="2" y="4"/>
                    <a:pt x="2" y="2"/>
                    <a:pt x="3" y="1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3"/>
                    <a:pt x="8" y="4"/>
                    <a:pt x="9" y="5"/>
                  </a:cubicBezTo>
                  <a:cubicBezTo>
                    <a:pt x="9" y="5"/>
                    <a:pt x="11" y="4"/>
                    <a:pt x="12" y="5"/>
                  </a:cubicBezTo>
                  <a:cubicBezTo>
                    <a:pt x="13" y="6"/>
                    <a:pt x="20" y="10"/>
                    <a:pt x="20" y="11"/>
                  </a:cubicBezTo>
                  <a:cubicBezTo>
                    <a:pt x="19" y="12"/>
                    <a:pt x="18" y="15"/>
                    <a:pt x="18" y="15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7"/>
                    <a:pt x="19" y="18"/>
                    <a:pt x="19" y="18"/>
                  </a:cubicBezTo>
                  <a:cubicBezTo>
                    <a:pt x="18" y="19"/>
                    <a:pt x="15" y="21"/>
                    <a:pt x="14" y="21"/>
                  </a:cubicBezTo>
                  <a:cubicBezTo>
                    <a:pt x="13" y="21"/>
                    <a:pt x="12" y="20"/>
                    <a:pt x="11" y="20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8" y="20"/>
                    <a:pt x="5" y="19"/>
                    <a:pt x="4" y="18"/>
                  </a:cubicBezTo>
                  <a:cubicBezTo>
                    <a:pt x="3" y="18"/>
                    <a:pt x="0" y="17"/>
                    <a:pt x="0" y="1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7" name="Freeform 6470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2969450" y="3912324"/>
              <a:ext cx="96870" cy="103809"/>
            </a:xfrm>
            <a:custGeom>
              <a:avLst/>
              <a:gdLst>
                <a:gd name="T0" fmla="*/ 3 w 16"/>
                <a:gd name="T1" fmla="*/ 11 h 16"/>
                <a:gd name="T2" fmla="*/ 1 w 16"/>
                <a:gd name="T3" fmla="*/ 9 h 16"/>
                <a:gd name="T4" fmla="*/ 1 w 16"/>
                <a:gd name="T5" fmla="*/ 6 h 16"/>
                <a:gd name="T6" fmla="*/ 3 w 16"/>
                <a:gd name="T7" fmla="*/ 4 h 16"/>
                <a:gd name="T8" fmla="*/ 4 w 16"/>
                <a:gd name="T9" fmla="*/ 0 h 16"/>
                <a:gd name="T10" fmla="*/ 10 w 16"/>
                <a:gd name="T11" fmla="*/ 0 h 16"/>
                <a:gd name="T12" fmla="*/ 16 w 16"/>
                <a:gd name="T13" fmla="*/ 0 h 16"/>
                <a:gd name="T14" fmla="*/ 16 w 16"/>
                <a:gd name="T15" fmla="*/ 0 h 16"/>
                <a:gd name="T16" fmla="*/ 16 w 16"/>
                <a:gd name="T17" fmla="*/ 4 h 16"/>
                <a:gd name="T18" fmla="*/ 14 w 16"/>
                <a:gd name="T19" fmla="*/ 7 h 16"/>
                <a:gd name="T20" fmla="*/ 16 w 16"/>
                <a:gd name="T21" fmla="*/ 10 h 16"/>
                <a:gd name="T22" fmla="*/ 14 w 16"/>
                <a:gd name="T23" fmla="*/ 15 h 16"/>
                <a:gd name="T24" fmla="*/ 14 w 16"/>
                <a:gd name="T25" fmla="*/ 15 h 16"/>
                <a:gd name="T26" fmla="*/ 9 w 16"/>
                <a:gd name="T27" fmla="*/ 14 h 16"/>
                <a:gd name="T28" fmla="*/ 9 w 16"/>
                <a:gd name="T29" fmla="*/ 16 h 16"/>
                <a:gd name="T30" fmla="*/ 6 w 16"/>
                <a:gd name="T31" fmla="*/ 16 h 16"/>
                <a:gd name="T32" fmla="*/ 5 w 16"/>
                <a:gd name="T33" fmla="*/ 16 h 16"/>
                <a:gd name="T34" fmla="*/ 5 w 16"/>
                <a:gd name="T35" fmla="*/ 16 h 16"/>
                <a:gd name="T36" fmla="*/ 3 w 16"/>
                <a:gd name="T37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" h="16">
                  <a:moveTo>
                    <a:pt x="3" y="11"/>
                  </a:moveTo>
                  <a:cubicBezTo>
                    <a:pt x="3" y="11"/>
                    <a:pt x="1" y="10"/>
                    <a:pt x="1" y="9"/>
                  </a:cubicBezTo>
                  <a:cubicBezTo>
                    <a:pt x="1" y="9"/>
                    <a:pt x="0" y="7"/>
                    <a:pt x="1" y="6"/>
                  </a:cubicBezTo>
                  <a:cubicBezTo>
                    <a:pt x="1" y="4"/>
                    <a:pt x="3" y="5"/>
                    <a:pt x="3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10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3"/>
                    <a:pt x="16" y="4"/>
                  </a:cubicBezTo>
                  <a:cubicBezTo>
                    <a:pt x="16" y="4"/>
                    <a:pt x="14" y="5"/>
                    <a:pt x="14" y="7"/>
                  </a:cubicBezTo>
                  <a:cubicBezTo>
                    <a:pt x="14" y="8"/>
                    <a:pt x="16" y="9"/>
                    <a:pt x="16" y="10"/>
                  </a:cubicBezTo>
                  <a:cubicBezTo>
                    <a:pt x="16" y="11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4"/>
                    <a:pt x="10" y="14"/>
                    <a:pt x="9" y="14"/>
                  </a:cubicBezTo>
                  <a:cubicBezTo>
                    <a:pt x="8" y="14"/>
                    <a:pt x="9" y="16"/>
                    <a:pt x="9" y="16"/>
                  </a:cubicBezTo>
                  <a:cubicBezTo>
                    <a:pt x="8" y="16"/>
                    <a:pt x="7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3" y="11"/>
                    <a:pt x="3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8" name="Freeform 6471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2860080" y="4555271"/>
              <a:ext cx="199990" cy="221013"/>
            </a:xfrm>
            <a:custGeom>
              <a:avLst/>
              <a:gdLst>
                <a:gd name="T0" fmla="*/ 9 w 33"/>
                <a:gd name="T1" fmla="*/ 20 h 34"/>
                <a:gd name="T2" fmla="*/ 1 w 33"/>
                <a:gd name="T3" fmla="*/ 13 h 34"/>
                <a:gd name="T4" fmla="*/ 0 w 33"/>
                <a:gd name="T5" fmla="*/ 12 h 34"/>
                <a:gd name="T6" fmla="*/ 0 w 33"/>
                <a:gd name="T7" fmla="*/ 12 h 34"/>
                <a:gd name="T8" fmla="*/ 2 w 33"/>
                <a:gd name="T9" fmla="*/ 9 h 34"/>
                <a:gd name="T10" fmla="*/ 4 w 33"/>
                <a:gd name="T11" fmla="*/ 2 h 34"/>
                <a:gd name="T12" fmla="*/ 10 w 33"/>
                <a:gd name="T13" fmla="*/ 0 h 34"/>
                <a:gd name="T14" fmla="*/ 16 w 33"/>
                <a:gd name="T15" fmla="*/ 1 h 34"/>
                <a:gd name="T16" fmla="*/ 19 w 33"/>
                <a:gd name="T17" fmla="*/ 3 h 34"/>
                <a:gd name="T18" fmla="*/ 19 w 33"/>
                <a:gd name="T19" fmla="*/ 11 h 34"/>
                <a:gd name="T20" fmla="*/ 24 w 33"/>
                <a:gd name="T21" fmla="*/ 12 h 34"/>
                <a:gd name="T22" fmla="*/ 27 w 33"/>
                <a:gd name="T23" fmla="*/ 13 h 34"/>
                <a:gd name="T24" fmla="*/ 28 w 33"/>
                <a:gd name="T25" fmla="*/ 19 h 34"/>
                <a:gd name="T26" fmla="*/ 32 w 33"/>
                <a:gd name="T27" fmla="*/ 19 h 34"/>
                <a:gd name="T28" fmla="*/ 32 w 33"/>
                <a:gd name="T29" fmla="*/ 26 h 34"/>
                <a:gd name="T30" fmla="*/ 29 w 33"/>
                <a:gd name="T31" fmla="*/ 31 h 34"/>
                <a:gd name="T32" fmla="*/ 23 w 33"/>
                <a:gd name="T33" fmla="*/ 34 h 34"/>
                <a:gd name="T34" fmla="*/ 16 w 33"/>
                <a:gd name="T35" fmla="*/ 33 h 34"/>
                <a:gd name="T36" fmla="*/ 20 w 33"/>
                <a:gd name="T37" fmla="*/ 26 h 34"/>
                <a:gd name="T38" fmla="*/ 9 w 33"/>
                <a:gd name="T39" fmla="*/ 2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" h="34">
                  <a:moveTo>
                    <a:pt x="9" y="20"/>
                  </a:moveTo>
                  <a:cubicBezTo>
                    <a:pt x="8" y="19"/>
                    <a:pt x="1" y="14"/>
                    <a:pt x="1" y="13"/>
                  </a:cubicBezTo>
                  <a:cubicBezTo>
                    <a:pt x="1" y="13"/>
                    <a:pt x="1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3" y="2"/>
                    <a:pt x="4" y="2"/>
                  </a:cubicBezTo>
                  <a:cubicBezTo>
                    <a:pt x="4" y="1"/>
                    <a:pt x="9" y="0"/>
                    <a:pt x="10" y="0"/>
                  </a:cubicBezTo>
                  <a:cubicBezTo>
                    <a:pt x="12" y="0"/>
                    <a:pt x="16" y="1"/>
                    <a:pt x="16" y="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11"/>
                    <a:pt x="19" y="11"/>
                  </a:cubicBezTo>
                  <a:cubicBezTo>
                    <a:pt x="19" y="12"/>
                    <a:pt x="23" y="12"/>
                    <a:pt x="24" y="12"/>
                  </a:cubicBezTo>
                  <a:cubicBezTo>
                    <a:pt x="25" y="12"/>
                    <a:pt x="27" y="12"/>
                    <a:pt x="27" y="13"/>
                  </a:cubicBezTo>
                  <a:cubicBezTo>
                    <a:pt x="28" y="14"/>
                    <a:pt x="28" y="18"/>
                    <a:pt x="28" y="19"/>
                  </a:cubicBezTo>
                  <a:cubicBezTo>
                    <a:pt x="29" y="20"/>
                    <a:pt x="32" y="18"/>
                    <a:pt x="32" y="19"/>
                  </a:cubicBezTo>
                  <a:cubicBezTo>
                    <a:pt x="33" y="20"/>
                    <a:pt x="32" y="25"/>
                    <a:pt x="32" y="26"/>
                  </a:cubicBezTo>
                  <a:cubicBezTo>
                    <a:pt x="31" y="27"/>
                    <a:pt x="30" y="30"/>
                    <a:pt x="29" y="31"/>
                  </a:cubicBezTo>
                  <a:cubicBezTo>
                    <a:pt x="28" y="31"/>
                    <a:pt x="25" y="34"/>
                    <a:pt x="23" y="34"/>
                  </a:cubicBezTo>
                  <a:cubicBezTo>
                    <a:pt x="21" y="34"/>
                    <a:pt x="17" y="34"/>
                    <a:pt x="16" y="33"/>
                  </a:cubicBezTo>
                  <a:cubicBezTo>
                    <a:pt x="15" y="32"/>
                    <a:pt x="20" y="27"/>
                    <a:pt x="20" y="26"/>
                  </a:cubicBezTo>
                  <a:cubicBezTo>
                    <a:pt x="20" y="25"/>
                    <a:pt x="11" y="21"/>
                    <a:pt x="9" y="2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09" name="Freeform 6472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2888204" y="3852048"/>
              <a:ext cx="112495" cy="184178"/>
            </a:xfrm>
            <a:custGeom>
              <a:avLst/>
              <a:gdLst>
                <a:gd name="T0" fmla="*/ 2 w 18"/>
                <a:gd name="T1" fmla="*/ 13 h 28"/>
                <a:gd name="T2" fmla="*/ 0 w 18"/>
                <a:gd name="T3" fmla="*/ 10 h 28"/>
                <a:gd name="T4" fmla="*/ 3 w 18"/>
                <a:gd name="T5" fmla="*/ 6 h 28"/>
                <a:gd name="T6" fmla="*/ 5 w 18"/>
                <a:gd name="T7" fmla="*/ 2 h 28"/>
                <a:gd name="T8" fmla="*/ 7 w 18"/>
                <a:gd name="T9" fmla="*/ 0 h 28"/>
                <a:gd name="T10" fmla="*/ 12 w 18"/>
                <a:gd name="T11" fmla="*/ 5 h 28"/>
                <a:gd name="T12" fmla="*/ 17 w 18"/>
                <a:gd name="T13" fmla="*/ 9 h 28"/>
                <a:gd name="T14" fmla="*/ 16 w 18"/>
                <a:gd name="T15" fmla="*/ 13 h 28"/>
                <a:gd name="T16" fmla="*/ 14 w 18"/>
                <a:gd name="T17" fmla="*/ 15 h 28"/>
                <a:gd name="T18" fmla="*/ 14 w 18"/>
                <a:gd name="T19" fmla="*/ 18 h 28"/>
                <a:gd name="T20" fmla="*/ 16 w 18"/>
                <a:gd name="T21" fmla="*/ 20 h 28"/>
                <a:gd name="T22" fmla="*/ 18 w 18"/>
                <a:gd name="T23" fmla="*/ 25 h 28"/>
                <a:gd name="T24" fmla="*/ 18 w 18"/>
                <a:gd name="T25" fmla="*/ 25 h 28"/>
                <a:gd name="T26" fmla="*/ 14 w 18"/>
                <a:gd name="T27" fmla="*/ 26 h 28"/>
                <a:gd name="T28" fmla="*/ 10 w 18"/>
                <a:gd name="T29" fmla="*/ 28 h 28"/>
                <a:gd name="T30" fmla="*/ 6 w 18"/>
                <a:gd name="T31" fmla="*/ 22 h 28"/>
                <a:gd name="T32" fmla="*/ 8 w 18"/>
                <a:gd name="T33" fmla="*/ 18 h 28"/>
                <a:gd name="T34" fmla="*/ 6 w 18"/>
                <a:gd name="T35" fmla="*/ 13 h 28"/>
                <a:gd name="T36" fmla="*/ 5 w 18"/>
                <a:gd name="T37" fmla="*/ 12 h 28"/>
                <a:gd name="T38" fmla="*/ 2 w 18"/>
                <a:gd name="T3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2" y="13"/>
                  </a:moveTo>
                  <a:cubicBezTo>
                    <a:pt x="2" y="12"/>
                    <a:pt x="1" y="11"/>
                    <a:pt x="0" y="10"/>
                  </a:cubicBezTo>
                  <a:cubicBezTo>
                    <a:pt x="0" y="9"/>
                    <a:pt x="2" y="6"/>
                    <a:pt x="3" y="6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10" y="2"/>
                    <a:pt x="12" y="5"/>
                  </a:cubicBezTo>
                  <a:cubicBezTo>
                    <a:pt x="14" y="7"/>
                    <a:pt x="16" y="9"/>
                    <a:pt x="17" y="9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4" y="13"/>
                    <a:pt x="14" y="15"/>
                  </a:cubicBezTo>
                  <a:cubicBezTo>
                    <a:pt x="13" y="16"/>
                    <a:pt x="14" y="18"/>
                    <a:pt x="14" y="18"/>
                  </a:cubicBezTo>
                  <a:cubicBezTo>
                    <a:pt x="14" y="19"/>
                    <a:pt x="16" y="20"/>
                    <a:pt x="16" y="20"/>
                  </a:cubicBezTo>
                  <a:cubicBezTo>
                    <a:pt x="16" y="20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5"/>
                    <a:pt x="14" y="26"/>
                    <a:pt x="14" y="26"/>
                  </a:cubicBezTo>
                  <a:cubicBezTo>
                    <a:pt x="13" y="27"/>
                    <a:pt x="11" y="28"/>
                    <a:pt x="10" y="28"/>
                  </a:cubicBezTo>
                  <a:cubicBezTo>
                    <a:pt x="9" y="28"/>
                    <a:pt x="6" y="23"/>
                    <a:pt x="6" y="22"/>
                  </a:cubicBezTo>
                  <a:cubicBezTo>
                    <a:pt x="6" y="22"/>
                    <a:pt x="7" y="18"/>
                    <a:pt x="8" y="18"/>
                  </a:cubicBezTo>
                  <a:cubicBezTo>
                    <a:pt x="8" y="17"/>
                    <a:pt x="7" y="14"/>
                    <a:pt x="6" y="13"/>
                  </a:cubicBezTo>
                  <a:cubicBezTo>
                    <a:pt x="6" y="12"/>
                    <a:pt x="6" y="11"/>
                    <a:pt x="5" y="12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0" name="Freeform 6473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2938202" y="5472807"/>
              <a:ext cx="49998" cy="46882"/>
            </a:xfrm>
            <a:custGeom>
              <a:avLst/>
              <a:gdLst>
                <a:gd name="T0" fmla="*/ 1 w 8"/>
                <a:gd name="T1" fmla="*/ 5 h 7"/>
                <a:gd name="T2" fmla="*/ 5 w 8"/>
                <a:gd name="T3" fmla="*/ 1 h 7"/>
                <a:gd name="T4" fmla="*/ 7 w 8"/>
                <a:gd name="T5" fmla="*/ 1 h 7"/>
                <a:gd name="T6" fmla="*/ 7 w 8"/>
                <a:gd name="T7" fmla="*/ 4 h 7"/>
                <a:gd name="T8" fmla="*/ 2 w 8"/>
                <a:gd name="T9" fmla="*/ 7 h 7"/>
                <a:gd name="T10" fmla="*/ 1 w 8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7">
                  <a:moveTo>
                    <a:pt x="1" y="5"/>
                  </a:moveTo>
                  <a:cubicBezTo>
                    <a:pt x="2" y="4"/>
                    <a:pt x="4" y="0"/>
                    <a:pt x="5" y="1"/>
                  </a:cubicBezTo>
                  <a:cubicBezTo>
                    <a:pt x="5" y="1"/>
                    <a:pt x="7" y="1"/>
                    <a:pt x="7" y="1"/>
                  </a:cubicBezTo>
                  <a:cubicBezTo>
                    <a:pt x="8" y="2"/>
                    <a:pt x="7" y="3"/>
                    <a:pt x="7" y="4"/>
                  </a:cubicBezTo>
                  <a:cubicBezTo>
                    <a:pt x="6" y="4"/>
                    <a:pt x="3" y="7"/>
                    <a:pt x="2" y="7"/>
                  </a:cubicBezTo>
                  <a:cubicBezTo>
                    <a:pt x="1" y="7"/>
                    <a:pt x="0" y="5"/>
                    <a:pt x="1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1" name="Freeform 6474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2903828" y="5472807"/>
              <a:ext cx="46873" cy="40184"/>
            </a:xfrm>
            <a:custGeom>
              <a:avLst/>
              <a:gdLst>
                <a:gd name="T0" fmla="*/ 3 w 8"/>
                <a:gd name="T1" fmla="*/ 4 h 6"/>
                <a:gd name="T2" fmla="*/ 1 w 8"/>
                <a:gd name="T3" fmla="*/ 5 h 6"/>
                <a:gd name="T4" fmla="*/ 0 w 8"/>
                <a:gd name="T5" fmla="*/ 3 h 6"/>
                <a:gd name="T6" fmla="*/ 2 w 8"/>
                <a:gd name="T7" fmla="*/ 2 h 6"/>
                <a:gd name="T8" fmla="*/ 2 w 8"/>
                <a:gd name="T9" fmla="*/ 0 h 6"/>
                <a:gd name="T10" fmla="*/ 7 w 8"/>
                <a:gd name="T11" fmla="*/ 1 h 6"/>
                <a:gd name="T12" fmla="*/ 3 w 8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3" y="4"/>
                  </a:moveTo>
                  <a:cubicBezTo>
                    <a:pt x="3" y="5"/>
                    <a:pt x="1" y="6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2" y="2"/>
                    <a:pt x="1" y="0"/>
                    <a:pt x="2" y="0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4" y="4"/>
                    <a:pt x="3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2" name="Freeform 6475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2703838" y="4300771"/>
              <a:ext cx="284361" cy="351611"/>
            </a:xfrm>
            <a:custGeom>
              <a:avLst/>
              <a:gdLst>
                <a:gd name="T0" fmla="*/ 1 w 47"/>
                <a:gd name="T1" fmla="*/ 7 h 54"/>
                <a:gd name="T2" fmla="*/ 4 w 47"/>
                <a:gd name="T3" fmla="*/ 6 h 54"/>
                <a:gd name="T4" fmla="*/ 13 w 47"/>
                <a:gd name="T5" fmla="*/ 1 h 54"/>
                <a:gd name="T6" fmla="*/ 16 w 47"/>
                <a:gd name="T7" fmla="*/ 1 h 54"/>
                <a:gd name="T8" fmla="*/ 16 w 47"/>
                <a:gd name="T9" fmla="*/ 6 h 54"/>
                <a:gd name="T10" fmla="*/ 19 w 47"/>
                <a:gd name="T11" fmla="*/ 11 h 54"/>
                <a:gd name="T12" fmla="*/ 25 w 47"/>
                <a:gd name="T13" fmla="*/ 13 h 54"/>
                <a:gd name="T14" fmla="*/ 30 w 47"/>
                <a:gd name="T15" fmla="*/ 17 h 54"/>
                <a:gd name="T16" fmla="*/ 34 w 47"/>
                <a:gd name="T17" fmla="*/ 16 h 54"/>
                <a:gd name="T18" fmla="*/ 36 w 47"/>
                <a:gd name="T19" fmla="*/ 19 h 54"/>
                <a:gd name="T20" fmla="*/ 36 w 47"/>
                <a:gd name="T21" fmla="*/ 27 h 54"/>
                <a:gd name="T22" fmla="*/ 43 w 47"/>
                <a:gd name="T23" fmla="*/ 28 h 54"/>
                <a:gd name="T24" fmla="*/ 43 w 47"/>
                <a:gd name="T25" fmla="*/ 31 h 54"/>
                <a:gd name="T26" fmla="*/ 46 w 47"/>
                <a:gd name="T27" fmla="*/ 35 h 54"/>
                <a:gd name="T28" fmla="*/ 45 w 47"/>
                <a:gd name="T29" fmla="*/ 42 h 54"/>
                <a:gd name="T30" fmla="*/ 42 w 47"/>
                <a:gd name="T31" fmla="*/ 40 h 54"/>
                <a:gd name="T32" fmla="*/ 36 w 47"/>
                <a:gd name="T33" fmla="*/ 39 h 54"/>
                <a:gd name="T34" fmla="*/ 30 w 47"/>
                <a:gd name="T35" fmla="*/ 41 h 54"/>
                <a:gd name="T36" fmla="*/ 28 w 47"/>
                <a:gd name="T37" fmla="*/ 47 h 54"/>
                <a:gd name="T38" fmla="*/ 27 w 47"/>
                <a:gd name="T39" fmla="*/ 51 h 54"/>
                <a:gd name="T40" fmla="*/ 27 w 47"/>
                <a:gd name="T41" fmla="*/ 51 h 54"/>
                <a:gd name="T42" fmla="*/ 24 w 47"/>
                <a:gd name="T43" fmla="*/ 50 h 54"/>
                <a:gd name="T44" fmla="*/ 20 w 47"/>
                <a:gd name="T45" fmla="*/ 53 h 54"/>
                <a:gd name="T46" fmla="*/ 17 w 47"/>
                <a:gd name="T47" fmla="*/ 50 h 54"/>
                <a:gd name="T48" fmla="*/ 13 w 47"/>
                <a:gd name="T49" fmla="*/ 50 h 54"/>
                <a:gd name="T50" fmla="*/ 10 w 47"/>
                <a:gd name="T51" fmla="*/ 53 h 54"/>
                <a:gd name="T52" fmla="*/ 9 w 47"/>
                <a:gd name="T53" fmla="*/ 53 h 54"/>
                <a:gd name="T54" fmla="*/ 6 w 47"/>
                <a:gd name="T55" fmla="*/ 53 h 54"/>
                <a:gd name="T56" fmla="*/ 4 w 47"/>
                <a:gd name="T57" fmla="*/ 44 h 54"/>
                <a:gd name="T58" fmla="*/ 5 w 47"/>
                <a:gd name="T59" fmla="*/ 40 h 54"/>
                <a:gd name="T60" fmla="*/ 3 w 47"/>
                <a:gd name="T61" fmla="*/ 37 h 54"/>
                <a:gd name="T62" fmla="*/ 0 w 47"/>
                <a:gd name="T63" fmla="*/ 33 h 54"/>
                <a:gd name="T64" fmla="*/ 3 w 47"/>
                <a:gd name="T65" fmla="*/ 28 h 54"/>
                <a:gd name="T66" fmla="*/ 1 w 47"/>
                <a:gd name="T67" fmla="*/ 25 h 54"/>
                <a:gd name="T68" fmla="*/ 3 w 47"/>
                <a:gd name="T69" fmla="*/ 20 h 54"/>
                <a:gd name="T70" fmla="*/ 2 w 47"/>
                <a:gd name="T71" fmla="*/ 15 h 54"/>
                <a:gd name="T72" fmla="*/ 4 w 47"/>
                <a:gd name="T73" fmla="*/ 13 h 54"/>
                <a:gd name="T74" fmla="*/ 1 w 47"/>
                <a:gd name="T75" fmla="*/ 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" h="54">
                  <a:moveTo>
                    <a:pt x="1" y="7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12" y="1"/>
                    <a:pt x="13" y="1"/>
                  </a:cubicBezTo>
                  <a:cubicBezTo>
                    <a:pt x="15" y="1"/>
                    <a:pt x="16" y="0"/>
                    <a:pt x="16" y="1"/>
                  </a:cubicBezTo>
                  <a:cubicBezTo>
                    <a:pt x="17" y="2"/>
                    <a:pt x="16" y="5"/>
                    <a:pt x="16" y="6"/>
                  </a:cubicBezTo>
                  <a:cubicBezTo>
                    <a:pt x="16" y="7"/>
                    <a:pt x="17" y="10"/>
                    <a:pt x="19" y="11"/>
                  </a:cubicBezTo>
                  <a:cubicBezTo>
                    <a:pt x="20" y="12"/>
                    <a:pt x="24" y="13"/>
                    <a:pt x="25" y="13"/>
                  </a:cubicBezTo>
                  <a:cubicBezTo>
                    <a:pt x="26" y="14"/>
                    <a:pt x="29" y="16"/>
                    <a:pt x="30" y="17"/>
                  </a:cubicBezTo>
                  <a:cubicBezTo>
                    <a:pt x="30" y="17"/>
                    <a:pt x="33" y="16"/>
                    <a:pt x="34" y="16"/>
                  </a:cubicBezTo>
                  <a:cubicBezTo>
                    <a:pt x="35" y="17"/>
                    <a:pt x="36" y="18"/>
                    <a:pt x="36" y="19"/>
                  </a:cubicBezTo>
                  <a:cubicBezTo>
                    <a:pt x="36" y="20"/>
                    <a:pt x="36" y="26"/>
                    <a:pt x="36" y="27"/>
                  </a:cubicBezTo>
                  <a:cubicBezTo>
                    <a:pt x="36" y="27"/>
                    <a:pt x="43" y="28"/>
                    <a:pt x="43" y="28"/>
                  </a:cubicBezTo>
                  <a:cubicBezTo>
                    <a:pt x="44" y="28"/>
                    <a:pt x="43" y="31"/>
                    <a:pt x="43" y="31"/>
                  </a:cubicBezTo>
                  <a:cubicBezTo>
                    <a:pt x="44" y="32"/>
                    <a:pt x="47" y="34"/>
                    <a:pt x="46" y="35"/>
                  </a:cubicBezTo>
                  <a:cubicBezTo>
                    <a:pt x="46" y="36"/>
                    <a:pt x="45" y="40"/>
                    <a:pt x="45" y="42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38" y="39"/>
                    <a:pt x="36" y="39"/>
                  </a:cubicBezTo>
                  <a:cubicBezTo>
                    <a:pt x="35" y="39"/>
                    <a:pt x="30" y="40"/>
                    <a:pt x="30" y="41"/>
                  </a:cubicBezTo>
                  <a:cubicBezTo>
                    <a:pt x="29" y="41"/>
                    <a:pt x="28" y="46"/>
                    <a:pt x="28" y="47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6" y="50"/>
                    <a:pt x="25" y="50"/>
                    <a:pt x="24" y="50"/>
                  </a:cubicBezTo>
                  <a:cubicBezTo>
                    <a:pt x="23" y="50"/>
                    <a:pt x="21" y="53"/>
                    <a:pt x="20" y="53"/>
                  </a:cubicBezTo>
                  <a:cubicBezTo>
                    <a:pt x="19" y="53"/>
                    <a:pt x="19" y="50"/>
                    <a:pt x="17" y="50"/>
                  </a:cubicBezTo>
                  <a:cubicBezTo>
                    <a:pt x="16" y="50"/>
                    <a:pt x="13" y="49"/>
                    <a:pt x="13" y="50"/>
                  </a:cubicBezTo>
                  <a:cubicBezTo>
                    <a:pt x="12" y="51"/>
                    <a:pt x="11" y="52"/>
                    <a:pt x="10" y="53"/>
                  </a:cubicBezTo>
                  <a:cubicBezTo>
                    <a:pt x="10" y="53"/>
                    <a:pt x="9" y="53"/>
                    <a:pt x="9" y="53"/>
                  </a:cubicBezTo>
                  <a:cubicBezTo>
                    <a:pt x="9" y="53"/>
                    <a:pt x="6" y="54"/>
                    <a:pt x="6" y="53"/>
                  </a:cubicBezTo>
                  <a:cubicBezTo>
                    <a:pt x="6" y="52"/>
                    <a:pt x="5" y="46"/>
                    <a:pt x="4" y="44"/>
                  </a:cubicBezTo>
                  <a:cubicBezTo>
                    <a:pt x="4" y="43"/>
                    <a:pt x="5" y="41"/>
                    <a:pt x="5" y="40"/>
                  </a:cubicBezTo>
                  <a:cubicBezTo>
                    <a:pt x="4" y="39"/>
                    <a:pt x="3" y="38"/>
                    <a:pt x="3" y="3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1"/>
                    <a:pt x="2" y="29"/>
                    <a:pt x="3" y="28"/>
                  </a:cubicBezTo>
                  <a:cubicBezTo>
                    <a:pt x="3" y="27"/>
                    <a:pt x="0" y="26"/>
                    <a:pt x="1" y="25"/>
                  </a:cubicBezTo>
                  <a:cubicBezTo>
                    <a:pt x="1" y="23"/>
                    <a:pt x="2" y="21"/>
                    <a:pt x="3" y="20"/>
                  </a:cubicBezTo>
                  <a:cubicBezTo>
                    <a:pt x="3" y="19"/>
                    <a:pt x="2" y="16"/>
                    <a:pt x="2" y="15"/>
                  </a:cubicBezTo>
                  <a:cubicBezTo>
                    <a:pt x="3" y="14"/>
                    <a:pt x="4" y="13"/>
                    <a:pt x="4" y="13"/>
                  </a:cubicBezTo>
                  <a:cubicBezTo>
                    <a:pt x="3" y="12"/>
                    <a:pt x="2" y="9"/>
                    <a:pt x="1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3" name="Freeform 6476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2622592" y="1216638"/>
              <a:ext cx="1440556" cy="1141899"/>
            </a:xfrm>
            <a:custGeom>
              <a:avLst/>
              <a:gdLst>
                <a:gd name="T0" fmla="*/ 19 w 238"/>
                <a:gd name="T1" fmla="*/ 55 h 176"/>
                <a:gd name="T2" fmla="*/ 11 w 238"/>
                <a:gd name="T3" fmla="*/ 45 h 176"/>
                <a:gd name="T4" fmla="*/ 23 w 238"/>
                <a:gd name="T5" fmla="*/ 33 h 176"/>
                <a:gd name="T6" fmla="*/ 44 w 238"/>
                <a:gd name="T7" fmla="*/ 24 h 176"/>
                <a:gd name="T8" fmla="*/ 50 w 238"/>
                <a:gd name="T9" fmla="*/ 16 h 176"/>
                <a:gd name="T10" fmla="*/ 55 w 238"/>
                <a:gd name="T11" fmla="*/ 15 h 176"/>
                <a:gd name="T12" fmla="*/ 74 w 238"/>
                <a:gd name="T13" fmla="*/ 20 h 176"/>
                <a:gd name="T14" fmla="*/ 76 w 238"/>
                <a:gd name="T15" fmla="*/ 12 h 176"/>
                <a:gd name="T16" fmla="*/ 91 w 238"/>
                <a:gd name="T17" fmla="*/ 16 h 176"/>
                <a:gd name="T18" fmla="*/ 108 w 238"/>
                <a:gd name="T19" fmla="*/ 18 h 176"/>
                <a:gd name="T20" fmla="*/ 98 w 238"/>
                <a:gd name="T21" fmla="*/ 9 h 176"/>
                <a:gd name="T22" fmla="*/ 108 w 238"/>
                <a:gd name="T23" fmla="*/ 8 h 176"/>
                <a:gd name="T24" fmla="*/ 120 w 238"/>
                <a:gd name="T25" fmla="*/ 6 h 176"/>
                <a:gd name="T26" fmla="*/ 139 w 238"/>
                <a:gd name="T27" fmla="*/ 0 h 176"/>
                <a:gd name="T28" fmla="*/ 182 w 238"/>
                <a:gd name="T29" fmla="*/ 2 h 176"/>
                <a:gd name="T30" fmla="*/ 197 w 238"/>
                <a:gd name="T31" fmla="*/ 12 h 176"/>
                <a:gd name="T32" fmla="*/ 155 w 238"/>
                <a:gd name="T33" fmla="*/ 16 h 176"/>
                <a:gd name="T34" fmla="*/ 170 w 238"/>
                <a:gd name="T35" fmla="*/ 18 h 176"/>
                <a:gd name="T36" fmla="*/ 179 w 238"/>
                <a:gd name="T37" fmla="*/ 20 h 176"/>
                <a:gd name="T38" fmla="*/ 200 w 238"/>
                <a:gd name="T39" fmla="*/ 15 h 176"/>
                <a:gd name="T40" fmla="*/ 195 w 238"/>
                <a:gd name="T41" fmla="*/ 26 h 176"/>
                <a:gd name="T42" fmla="*/ 220 w 238"/>
                <a:gd name="T43" fmla="*/ 17 h 176"/>
                <a:gd name="T44" fmla="*/ 231 w 238"/>
                <a:gd name="T45" fmla="*/ 24 h 176"/>
                <a:gd name="T46" fmla="*/ 208 w 238"/>
                <a:gd name="T47" fmla="*/ 28 h 176"/>
                <a:gd name="T48" fmla="*/ 205 w 238"/>
                <a:gd name="T49" fmla="*/ 33 h 176"/>
                <a:gd name="T50" fmla="*/ 207 w 238"/>
                <a:gd name="T51" fmla="*/ 38 h 176"/>
                <a:gd name="T52" fmla="*/ 203 w 238"/>
                <a:gd name="T53" fmla="*/ 51 h 176"/>
                <a:gd name="T54" fmla="*/ 208 w 238"/>
                <a:gd name="T55" fmla="*/ 58 h 176"/>
                <a:gd name="T56" fmla="*/ 200 w 238"/>
                <a:gd name="T57" fmla="*/ 60 h 176"/>
                <a:gd name="T58" fmla="*/ 207 w 238"/>
                <a:gd name="T59" fmla="*/ 71 h 176"/>
                <a:gd name="T60" fmla="*/ 209 w 238"/>
                <a:gd name="T61" fmla="*/ 78 h 176"/>
                <a:gd name="T62" fmla="*/ 203 w 238"/>
                <a:gd name="T63" fmla="*/ 87 h 176"/>
                <a:gd name="T64" fmla="*/ 193 w 238"/>
                <a:gd name="T65" fmla="*/ 90 h 176"/>
                <a:gd name="T66" fmla="*/ 187 w 238"/>
                <a:gd name="T67" fmla="*/ 92 h 176"/>
                <a:gd name="T68" fmla="*/ 196 w 238"/>
                <a:gd name="T69" fmla="*/ 99 h 176"/>
                <a:gd name="T70" fmla="*/ 183 w 238"/>
                <a:gd name="T71" fmla="*/ 101 h 176"/>
                <a:gd name="T72" fmla="*/ 194 w 238"/>
                <a:gd name="T73" fmla="*/ 112 h 176"/>
                <a:gd name="T74" fmla="*/ 163 w 238"/>
                <a:gd name="T75" fmla="*/ 125 h 176"/>
                <a:gd name="T76" fmla="*/ 142 w 238"/>
                <a:gd name="T77" fmla="*/ 139 h 176"/>
                <a:gd name="T78" fmla="*/ 125 w 238"/>
                <a:gd name="T79" fmla="*/ 145 h 176"/>
                <a:gd name="T80" fmla="*/ 113 w 238"/>
                <a:gd name="T81" fmla="*/ 175 h 176"/>
                <a:gd name="T82" fmla="*/ 88 w 238"/>
                <a:gd name="T83" fmla="*/ 161 h 176"/>
                <a:gd name="T84" fmla="*/ 78 w 238"/>
                <a:gd name="T85" fmla="*/ 143 h 176"/>
                <a:gd name="T86" fmla="*/ 74 w 238"/>
                <a:gd name="T87" fmla="*/ 126 h 176"/>
                <a:gd name="T88" fmla="*/ 85 w 238"/>
                <a:gd name="T89" fmla="*/ 123 h 176"/>
                <a:gd name="T90" fmla="*/ 77 w 238"/>
                <a:gd name="T91" fmla="*/ 110 h 176"/>
                <a:gd name="T92" fmla="*/ 81 w 238"/>
                <a:gd name="T93" fmla="*/ 107 h 176"/>
                <a:gd name="T94" fmla="*/ 76 w 238"/>
                <a:gd name="T95" fmla="*/ 99 h 176"/>
                <a:gd name="T96" fmla="*/ 67 w 238"/>
                <a:gd name="T97" fmla="*/ 96 h 176"/>
                <a:gd name="T98" fmla="*/ 60 w 238"/>
                <a:gd name="T99" fmla="*/ 76 h 176"/>
                <a:gd name="T100" fmla="*/ 42 w 238"/>
                <a:gd name="T101" fmla="*/ 66 h 176"/>
                <a:gd name="T102" fmla="*/ 24 w 238"/>
                <a:gd name="T103" fmla="*/ 69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8" h="176">
                  <a:moveTo>
                    <a:pt x="12" y="61"/>
                  </a:moveTo>
                  <a:cubicBezTo>
                    <a:pt x="10" y="61"/>
                    <a:pt x="7" y="60"/>
                    <a:pt x="7" y="60"/>
                  </a:cubicBezTo>
                  <a:cubicBezTo>
                    <a:pt x="6" y="59"/>
                    <a:pt x="6" y="58"/>
                    <a:pt x="7" y="58"/>
                  </a:cubicBezTo>
                  <a:cubicBezTo>
                    <a:pt x="8" y="58"/>
                    <a:pt x="17" y="57"/>
                    <a:pt x="17" y="57"/>
                  </a:cubicBezTo>
                  <a:cubicBezTo>
                    <a:pt x="18" y="57"/>
                    <a:pt x="19" y="56"/>
                    <a:pt x="19" y="55"/>
                  </a:cubicBezTo>
                  <a:cubicBezTo>
                    <a:pt x="19" y="54"/>
                    <a:pt x="18" y="55"/>
                    <a:pt x="16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3"/>
                    <a:pt x="1" y="51"/>
                    <a:pt x="1" y="50"/>
                  </a:cubicBezTo>
                  <a:cubicBezTo>
                    <a:pt x="0" y="49"/>
                    <a:pt x="1" y="47"/>
                    <a:pt x="1" y="47"/>
                  </a:cubicBezTo>
                  <a:cubicBezTo>
                    <a:pt x="2" y="46"/>
                    <a:pt x="10" y="45"/>
                    <a:pt x="11" y="45"/>
                  </a:cubicBezTo>
                  <a:cubicBezTo>
                    <a:pt x="13" y="44"/>
                    <a:pt x="18" y="42"/>
                    <a:pt x="19" y="42"/>
                  </a:cubicBezTo>
                  <a:cubicBezTo>
                    <a:pt x="19" y="42"/>
                    <a:pt x="26" y="42"/>
                    <a:pt x="27" y="42"/>
                  </a:cubicBezTo>
                  <a:cubicBezTo>
                    <a:pt x="28" y="41"/>
                    <a:pt x="31" y="38"/>
                    <a:pt x="31" y="38"/>
                  </a:cubicBezTo>
                  <a:cubicBezTo>
                    <a:pt x="31" y="36"/>
                    <a:pt x="31" y="33"/>
                    <a:pt x="30" y="33"/>
                  </a:cubicBezTo>
                  <a:cubicBezTo>
                    <a:pt x="29" y="33"/>
                    <a:pt x="24" y="34"/>
                    <a:pt x="23" y="33"/>
                  </a:cubicBezTo>
                  <a:cubicBezTo>
                    <a:pt x="22" y="33"/>
                    <a:pt x="22" y="31"/>
                    <a:pt x="22" y="31"/>
                  </a:cubicBezTo>
                  <a:cubicBezTo>
                    <a:pt x="23" y="30"/>
                    <a:pt x="26" y="29"/>
                    <a:pt x="27" y="28"/>
                  </a:cubicBezTo>
                  <a:cubicBezTo>
                    <a:pt x="29" y="28"/>
                    <a:pt x="34" y="24"/>
                    <a:pt x="35" y="24"/>
                  </a:cubicBezTo>
                  <a:cubicBezTo>
                    <a:pt x="36" y="23"/>
                    <a:pt x="39" y="23"/>
                    <a:pt x="40" y="23"/>
                  </a:cubicBezTo>
                  <a:cubicBezTo>
                    <a:pt x="40" y="23"/>
                    <a:pt x="43" y="24"/>
                    <a:pt x="44" y="24"/>
                  </a:cubicBezTo>
                  <a:cubicBezTo>
                    <a:pt x="45" y="24"/>
                    <a:pt x="46" y="23"/>
                    <a:pt x="46" y="23"/>
                  </a:cubicBezTo>
                  <a:cubicBezTo>
                    <a:pt x="46" y="23"/>
                    <a:pt x="45" y="22"/>
                    <a:pt x="45" y="21"/>
                  </a:cubicBezTo>
                  <a:cubicBezTo>
                    <a:pt x="45" y="21"/>
                    <a:pt x="46" y="20"/>
                    <a:pt x="46" y="19"/>
                  </a:cubicBezTo>
                  <a:cubicBezTo>
                    <a:pt x="45" y="18"/>
                    <a:pt x="44" y="18"/>
                    <a:pt x="45" y="18"/>
                  </a:cubicBezTo>
                  <a:cubicBezTo>
                    <a:pt x="45" y="17"/>
                    <a:pt x="48" y="16"/>
                    <a:pt x="50" y="16"/>
                  </a:cubicBezTo>
                  <a:cubicBezTo>
                    <a:pt x="51" y="16"/>
                    <a:pt x="53" y="16"/>
                    <a:pt x="54" y="17"/>
                  </a:cubicBezTo>
                  <a:cubicBezTo>
                    <a:pt x="54" y="17"/>
                    <a:pt x="58" y="19"/>
                    <a:pt x="59" y="20"/>
                  </a:cubicBezTo>
                  <a:cubicBezTo>
                    <a:pt x="59" y="20"/>
                    <a:pt x="62" y="21"/>
                    <a:pt x="62" y="21"/>
                  </a:cubicBezTo>
                  <a:cubicBezTo>
                    <a:pt x="62" y="21"/>
                    <a:pt x="62" y="20"/>
                    <a:pt x="61" y="19"/>
                  </a:cubicBezTo>
                  <a:cubicBezTo>
                    <a:pt x="60" y="18"/>
                    <a:pt x="56" y="15"/>
                    <a:pt x="55" y="15"/>
                  </a:cubicBezTo>
                  <a:cubicBezTo>
                    <a:pt x="55" y="14"/>
                    <a:pt x="58" y="14"/>
                    <a:pt x="59" y="14"/>
                  </a:cubicBezTo>
                  <a:cubicBezTo>
                    <a:pt x="60" y="14"/>
                    <a:pt x="65" y="13"/>
                    <a:pt x="66" y="13"/>
                  </a:cubicBezTo>
                  <a:cubicBezTo>
                    <a:pt x="68" y="13"/>
                    <a:pt x="70" y="12"/>
                    <a:pt x="71" y="12"/>
                  </a:cubicBezTo>
                  <a:cubicBezTo>
                    <a:pt x="72" y="12"/>
                    <a:pt x="74" y="14"/>
                    <a:pt x="74" y="15"/>
                  </a:cubicBezTo>
                  <a:cubicBezTo>
                    <a:pt x="74" y="16"/>
                    <a:pt x="73" y="19"/>
                    <a:pt x="74" y="20"/>
                  </a:cubicBezTo>
                  <a:cubicBezTo>
                    <a:pt x="74" y="20"/>
                    <a:pt x="75" y="20"/>
                    <a:pt x="76" y="20"/>
                  </a:cubicBezTo>
                  <a:cubicBezTo>
                    <a:pt x="76" y="20"/>
                    <a:pt x="77" y="20"/>
                    <a:pt x="76" y="18"/>
                  </a:cubicBezTo>
                  <a:cubicBezTo>
                    <a:pt x="76" y="17"/>
                    <a:pt x="77" y="17"/>
                    <a:pt x="78" y="16"/>
                  </a:cubicBezTo>
                  <a:cubicBezTo>
                    <a:pt x="78" y="16"/>
                    <a:pt x="78" y="15"/>
                    <a:pt x="77" y="14"/>
                  </a:cubicBezTo>
                  <a:cubicBezTo>
                    <a:pt x="77" y="14"/>
                    <a:pt x="76" y="13"/>
                    <a:pt x="76" y="12"/>
                  </a:cubicBezTo>
                  <a:cubicBezTo>
                    <a:pt x="77" y="12"/>
                    <a:pt x="79" y="12"/>
                    <a:pt x="80" y="13"/>
                  </a:cubicBezTo>
                  <a:cubicBezTo>
                    <a:pt x="81" y="14"/>
                    <a:pt x="83" y="14"/>
                    <a:pt x="83" y="15"/>
                  </a:cubicBezTo>
                  <a:cubicBezTo>
                    <a:pt x="83" y="15"/>
                    <a:pt x="85" y="17"/>
                    <a:pt x="86" y="17"/>
                  </a:cubicBezTo>
                  <a:cubicBezTo>
                    <a:pt x="86" y="17"/>
                    <a:pt x="89" y="18"/>
                    <a:pt x="90" y="19"/>
                  </a:cubicBezTo>
                  <a:cubicBezTo>
                    <a:pt x="90" y="19"/>
                    <a:pt x="90" y="17"/>
                    <a:pt x="91" y="16"/>
                  </a:cubicBezTo>
                  <a:cubicBezTo>
                    <a:pt x="91" y="15"/>
                    <a:pt x="89" y="15"/>
                    <a:pt x="88" y="14"/>
                  </a:cubicBezTo>
                  <a:cubicBezTo>
                    <a:pt x="86" y="14"/>
                    <a:pt x="84" y="11"/>
                    <a:pt x="84" y="11"/>
                  </a:cubicBezTo>
                  <a:cubicBezTo>
                    <a:pt x="84" y="10"/>
                    <a:pt x="90" y="10"/>
                    <a:pt x="91" y="11"/>
                  </a:cubicBezTo>
                  <a:cubicBezTo>
                    <a:pt x="92" y="11"/>
                    <a:pt x="103" y="16"/>
                    <a:pt x="104" y="16"/>
                  </a:cubicBezTo>
                  <a:cubicBezTo>
                    <a:pt x="104" y="16"/>
                    <a:pt x="107" y="18"/>
                    <a:pt x="108" y="18"/>
                  </a:cubicBezTo>
                  <a:cubicBezTo>
                    <a:pt x="108" y="18"/>
                    <a:pt x="111" y="18"/>
                    <a:pt x="111" y="17"/>
                  </a:cubicBezTo>
                  <a:cubicBezTo>
                    <a:pt x="111" y="17"/>
                    <a:pt x="111" y="16"/>
                    <a:pt x="110" y="16"/>
                  </a:cubicBezTo>
                  <a:cubicBezTo>
                    <a:pt x="109" y="15"/>
                    <a:pt x="108" y="14"/>
                    <a:pt x="107" y="13"/>
                  </a:cubicBezTo>
                  <a:cubicBezTo>
                    <a:pt x="106" y="13"/>
                    <a:pt x="102" y="12"/>
                    <a:pt x="101" y="11"/>
                  </a:cubicBezTo>
                  <a:cubicBezTo>
                    <a:pt x="100" y="11"/>
                    <a:pt x="98" y="10"/>
                    <a:pt x="98" y="9"/>
                  </a:cubicBezTo>
                  <a:cubicBezTo>
                    <a:pt x="98" y="9"/>
                    <a:pt x="101" y="9"/>
                    <a:pt x="101" y="9"/>
                  </a:cubicBezTo>
                  <a:cubicBezTo>
                    <a:pt x="102" y="9"/>
                    <a:pt x="105" y="10"/>
                    <a:pt x="105" y="10"/>
                  </a:cubicBezTo>
                  <a:cubicBezTo>
                    <a:pt x="106" y="10"/>
                    <a:pt x="110" y="12"/>
                    <a:pt x="110" y="12"/>
                  </a:cubicBezTo>
                  <a:cubicBezTo>
                    <a:pt x="110" y="12"/>
                    <a:pt x="114" y="12"/>
                    <a:pt x="113" y="12"/>
                  </a:cubicBezTo>
                  <a:cubicBezTo>
                    <a:pt x="112" y="11"/>
                    <a:pt x="108" y="9"/>
                    <a:pt x="108" y="8"/>
                  </a:cubicBezTo>
                  <a:cubicBezTo>
                    <a:pt x="108" y="8"/>
                    <a:pt x="115" y="8"/>
                    <a:pt x="115" y="8"/>
                  </a:cubicBezTo>
                  <a:cubicBezTo>
                    <a:pt x="116" y="8"/>
                    <a:pt x="122" y="9"/>
                    <a:pt x="123" y="10"/>
                  </a:cubicBezTo>
                  <a:cubicBezTo>
                    <a:pt x="123" y="10"/>
                    <a:pt x="126" y="11"/>
                    <a:pt x="127" y="11"/>
                  </a:cubicBezTo>
                  <a:cubicBezTo>
                    <a:pt x="127" y="11"/>
                    <a:pt x="128" y="9"/>
                    <a:pt x="127" y="8"/>
                  </a:cubicBezTo>
                  <a:cubicBezTo>
                    <a:pt x="126" y="8"/>
                    <a:pt x="122" y="7"/>
                    <a:pt x="120" y="6"/>
                  </a:cubicBezTo>
                  <a:cubicBezTo>
                    <a:pt x="119" y="6"/>
                    <a:pt x="111" y="5"/>
                    <a:pt x="111" y="5"/>
                  </a:cubicBezTo>
                  <a:cubicBezTo>
                    <a:pt x="110" y="5"/>
                    <a:pt x="120" y="4"/>
                    <a:pt x="122" y="4"/>
                  </a:cubicBezTo>
                  <a:cubicBezTo>
                    <a:pt x="123" y="4"/>
                    <a:pt x="126" y="4"/>
                    <a:pt x="128" y="4"/>
                  </a:cubicBezTo>
                  <a:cubicBezTo>
                    <a:pt x="130" y="4"/>
                    <a:pt x="131" y="2"/>
                    <a:pt x="132" y="2"/>
                  </a:cubicBezTo>
                  <a:cubicBezTo>
                    <a:pt x="133" y="2"/>
                    <a:pt x="138" y="0"/>
                    <a:pt x="139" y="0"/>
                  </a:cubicBezTo>
                  <a:cubicBezTo>
                    <a:pt x="140" y="0"/>
                    <a:pt x="150" y="0"/>
                    <a:pt x="152" y="0"/>
                  </a:cubicBezTo>
                  <a:cubicBezTo>
                    <a:pt x="155" y="0"/>
                    <a:pt x="165" y="0"/>
                    <a:pt x="166" y="0"/>
                  </a:cubicBezTo>
                  <a:cubicBezTo>
                    <a:pt x="167" y="0"/>
                    <a:pt x="171" y="2"/>
                    <a:pt x="172" y="2"/>
                  </a:cubicBezTo>
                  <a:cubicBezTo>
                    <a:pt x="174" y="2"/>
                    <a:pt x="177" y="2"/>
                    <a:pt x="178" y="2"/>
                  </a:cubicBezTo>
                  <a:cubicBezTo>
                    <a:pt x="179" y="2"/>
                    <a:pt x="182" y="2"/>
                    <a:pt x="182" y="2"/>
                  </a:cubicBezTo>
                  <a:cubicBezTo>
                    <a:pt x="182" y="3"/>
                    <a:pt x="186" y="4"/>
                    <a:pt x="186" y="5"/>
                  </a:cubicBezTo>
                  <a:cubicBezTo>
                    <a:pt x="186" y="5"/>
                    <a:pt x="184" y="7"/>
                    <a:pt x="184" y="8"/>
                  </a:cubicBezTo>
                  <a:cubicBezTo>
                    <a:pt x="183" y="9"/>
                    <a:pt x="190" y="7"/>
                    <a:pt x="191" y="7"/>
                  </a:cubicBezTo>
                  <a:cubicBezTo>
                    <a:pt x="192" y="8"/>
                    <a:pt x="199" y="9"/>
                    <a:pt x="199" y="9"/>
                  </a:cubicBezTo>
                  <a:cubicBezTo>
                    <a:pt x="199" y="10"/>
                    <a:pt x="198" y="12"/>
                    <a:pt x="197" y="12"/>
                  </a:cubicBezTo>
                  <a:cubicBezTo>
                    <a:pt x="196" y="12"/>
                    <a:pt x="190" y="12"/>
                    <a:pt x="188" y="12"/>
                  </a:cubicBezTo>
                  <a:cubicBezTo>
                    <a:pt x="187" y="13"/>
                    <a:pt x="186" y="13"/>
                    <a:pt x="185" y="13"/>
                  </a:cubicBezTo>
                  <a:cubicBezTo>
                    <a:pt x="183" y="13"/>
                    <a:pt x="173" y="13"/>
                    <a:pt x="171" y="13"/>
                  </a:cubicBezTo>
                  <a:cubicBezTo>
                    <a:pt x="170" y="13"/>
                    <a:pt x="166" y="13"/>
                    <a:pt x="164" y="14"/>
                  </a:cubicBezTo>
                  <a:cubicBezTo>
                    <a:pt x="163" y="14"/>
                    <a:pt x="156" y="15"/>
                    <a:pt x="155" y="16"/>
                  </a:cubicBezTo>
                  <a:cubicBezTo>
                    <a:pt x="154" y="17"/>
                    <a:pt x="155" y="18"/>
                    <a:pt x="155" y="19"/>
                  </a:cubicBezTo>
                  <a:cubicBezTo>
                    <a:pt x="156" y="19"/>
                    <a:pt x="157" y="20"/>
                    <a:pt x="157" y="20"/>
                  </a:cubicBezTo>
                  <a:cubicBezTo>
                    <a:pt x="158" y="20"/>
                    <a:pt x="161" y="18"/>
                    <a:pt x="162" y="17"/>
                  </a:cubicBezTo>
                  <a:cubicBezTo>
                    <a:pt x="164" y="17"/>
                    <a:pt x="168" y="17"/>
                    <a:pt x="168" y="17"/>
                  </a:cubicBezTo>
                  <a:cubicBezTo>
                    <a:pt x="168" y="18"/>
                    <a:pt x="169" y="19"/>
                    <a:pt x="170" y="18"/>
                  </a:cubicBezTo>
                  <a:cubicBezTo>
                    <a:pt x="170" y="17"/>
                    <a:pt x="171" y="16"/>
                    <a:pt x="172" y="16"/>
                  </a:cubicBezTo>
                  <a:cubicBezTo>
                    <a:pt x="173" y="16"/>
                    <a:pt x="177" y="16"/>
                    <a:pt x="179" y="16"/>
                  </a:cubicBezTo>
                  <a:cubicBezTo>
                    <a:pt x="181" y="16"/>
                    <a:pt x="186" y="16"/>
                    <a:pt x="187" y="16"/>
                  </a:cubicBezTo>
                  <a:cubicBezTo>
                    <a:pt x="187" y="16"/>
                    <a:pt x="187" y="17"/>
                    <a:pt x="187" y="18"/>
                  </a:cubicBezTo>
                  <a:cubicBezTo>
                    <a:pt x="187" y="18"/>
                    <a:pt x="179" y="19"/>
                    <a:pt x="179" y="20"/>
                  </a:cubicBezTo>
                  <a:cubicBezTo>
                    <a:pt x="179" y="20"/>
                    <a:pt x="180" y="21"/>
                    <a:pt x="181" y="21"/>
                  </a:cubicBezTo>
                  <a:cubicBezTo>
                    <a:pt x="182" y="21"/>
                    <a:pt x="187" y="20"/>
                    <a:pt x="188" y="20"/>
                  </a:cubicBezTo>
                  <a:cubicBezTo>
                    <a:pt x="189" y="20"/>
                    <a:pt x="192" y="18"/>
                    <a:pt x="193" y="18"/>
                  </a:cubicBezTo>
                  <a:cubicBezTo>
                    <a:pt x="193" y="18"/>
                    <a:pt x="192" y="16"/>
                    <a:pt x="193" y="15"/>
                  </a:cubicBezTo>
                  <a:cubicBezTo>
                    <a:pt x="193" y="15"/>
                    <a:pt x="199" y="15"/>
                    <a:pt x="200" y="15"/>
                  </a:cubicBezTo>
                  <a:cubicBezTo>
                    <a:pt x="201" y="15"/>
                    <a:pt x="202" y="17"/>
                    <a:pt x="200" y="20"/>
                  </a:cubicBezTo>
                  <a:cubicBezTo>
                    <a:pt x="197" y="22"/>
                    <a:pt x="195" y="23"/>
                    <a:pt x="193" y="24"/>
                  </a:cubicBezTo>
                  <a:cubicBezTo>
                    <a:pt x="192" y="25"/>
                    <a:pt x="192" y="26"/>
                    <a:pt x="191" y="26"/>
                  </a:cubicBezTo>
                  <a:cubicBezTo>
                    <a:pt x="191" y="26"/>
                    <a:pt x="189" y="28"/>
                    <a:pt x="189" y="28"/>
                  </a:cubicBezTo>
                  <a:cubicBezTo>
                    <a:pt x="190" y="29"/>
                    <a:pt x="193" y="27"/>
                    <a:pt x="195" y="26"/>
                  </a:cubicBezTo>
                  <a:cubicBezTo>
                    <a:pt x="197" y="25"/>
                    <a:pt x="199" y="24"/>
                    <a:pt x="200" y="24"/>
                  </a:cubicBezTo>
                  <a:cubicBezTo>
                    <a:pt x="201" y="23"/>
                    <a:pt x="204" y="21"/>
                    <a:pt x="205" y="21"/>
                  </a:cubicBezTo>
                  <a:cubicBezTo>
                    <a:pt x="205" y="20"/>
                    <a:pt x="207" y="19"/>
                    <a:pt x="207" y="19"/>
                  </a:cubicBezTo>
                  <a:cubicBezTo>
                    <a:pt x="208" y="19"/>
                    <a:pt x="215" y="21"/>
                    <a:pt x="215" y="21"/>
                  </a:cubicBezTo>
                  <a:cubicBezTo>
                    <a:pt x="216" y="21"/>
                    <a:pt x="219" y="17"/>
                    <a:pt x="220" y="17"/>
                  </a:cubicBezTo>
                  <a:cubicBezTo>
                    <a:pt x="222" y="17"/>
                    <a:pt x="227" y="17"/>
                    <a:pt x="229" y="17"/>
                  </a:cubicBezTo>
                  <a:cubicBezTo>
                    <a:pt x="231" y="18"/>
                    <a:pt x="237" y="19"/>
                    <a:pt x="237" y="19"/>
                  </a:cubicBezTo>
                  <a:cubicBezTo>
                    <a:pt x="237" y="20"/>
                    <a:pt x="238" y="20"/>
                    <a:pt x="238" y="20"/>
                  </a:cubicBezTo>
                  <a:cubicBezTo>
                    <a:pt x="238" y="21"/>
                    <a:pt x="235" y="23"/>
                    <a:pt x="234" y="23"/>
                  </a:cubicBezTo>
                  <a:cubicBezTo>
                    <a:pt x="233" y="24"/>
                    <a:pt x="231" y="24"/>
                    <a:pt x="231" y="24"/>
                  </a:cubicBezTo>
                  <a:cubicBezTo>
                    <a:pt x="230" y="24"/>
                    <a:pt x="227" y="23"/>
                    <a:pt x="226" y="24"/>
                  </a:cubicBezTo>
                  <a:cubicBezTo>
                    <a:pt x="225" y="25"/>
                    <a:pt x="228" y="26"/>
                    <a:pt x="227" y="27"/>
                  </a:cubicBezTo>
                  <a:cubicBezTo>
                    <a:pt x="227" y="27"/>
                    <a:pt x="224" y="27"/>
                    <a:pt x="223" y="27"/>
                  </a:cubicBezTo>
                  <a:cubicBezTo>
                    <a:pt x="222" y="27"/>
                    <a:pt x="216" y="27"/>
                    <a:pt x="215" y="27"/>
                  </a:cubicBezTo>
                  <a:cubicBezTo>
                    <a:pt x="214" y="27"/>
                    <a:pt x="209" y="28"/>
                    <a:pt x="208" y="28"/>
                  </a:cubicBezTo>
                  <a:cubicBezTo>
                    <a:pt x="207" y="27"/>
                    <a:pt x="207" y="29"/>
                    <a:pt x="207" y="29"/>
                  </a:cubicBezTo>
                  <a:cubicBezTo>
                    <a:pt x="207" y="29"/>
                    <a:pt x="213" y="30"/>
                    <a:pt x="214" y="30"/>
                  </a:cubicBezTo>
                  <a:cubicBezTo>
                    <a:pt x="214" y="30"/>
                    <a:pt x="221" y="30"/>
                    <a:pt x="221" y="30"/>
                  </a:cubicBezTo>
                  <a:cubicBezTo>
                    <a:pt x="221" y="31"/>
                    <a:pt x="214" y="32"/>
                    <a:pt x="211" y="32"/>
                  </a:cubicBezTo>
                  <a:cubicBezTo>
                    <a:pt x="208" y="32"/>
                    <a:pt x="205" y="32"/>
                    <a:pt x="205" y="33"/>
                  </a:cubicBezTo>
                  <a:cubicBezTo>
                    <a:pt x="204" y="34"/>
                    <a:pt x="203" y="34"/>
                    <a:pt x="204" y="35"/>
                  </a:cubicBezTo>
                  <a:cubicBezTo>
                    <a:pt x="205" y="35"/>
                    <a:pt x="206" y="35"/>
                    <a:pt x="206" y="35"/>
                  </a:cubicBezTo>
                  <a:cubicBezTo>
                    <a:pt x="206" y="35"/>
                    <a:pt x="214" y="34"/>
                    <a:pt x="214" y="35"/>
                  </a:cubicBezTo>
                  <a:cubicBezTo>
                    <a:pt x="215" y="35"/>
                    <a:pt x="212" y="38"/>
                    <a:pt x="212" y="38"/>
                  </a:cubicBezTo>
                  <a:cubicBezTo>
                    <a:pt x="211" y="38"/>
                    <a:pt x="208" y="37"/>
                    <a:pt x="207" y="38"/>
                  </a:cubicBezTo>
                  <a:cubicBezTo>
                    <a:pt x="207" y="39"/>
                    <a:pt x="207" y="43"/>
                    <a:pt x="206" y="44"/>
                  </a:cubicBezTo>
                  <a:cubicBezTo>
                    <a:pt x="206" y="44"/>
                    <a:pt x="202" y="44"/>
                    <a:pt x="202" y="44"/>
                  </a:cubicBezTo>
                  <a:cubicBezTo>
                    <a:pt x="202" y="45"/>
                    <a:pt x="197" y="53"/>
                    <a:pt x="197" y="53"/>
                  </a:cubicBezTo>
                  <a:cubicBezTo>
                    <a:pt x="197" y="54"/>
                    <a:pt x="200" y="54"/>
                    <a:pt x="200" y="54"/>
                  </a:cubicBezTo>
                  <a:cubicBezTo>
                    <a:pt x="201" y="54"/>
                    <a:pt x="202" y="51"/>
                    <a:pt x="203" y="51"/>
                  </a:cubicBezTo>
                  <a:cubicBezTo>
                    <a:pt x="203" y="51"/>
                    <a:pt x="208" y="52"/>
                    <a:pt x="208" y="52"/>
                  </a:cubicBezTo>
                  <a:cubicBezTo>
                    <a:pt x="208" y="53"/>
                    <a:pt x="209" y="54"/>
                    <a:pt x="209" y="54"/>
                  </a:cubicBezTo>
                  <a:cubicBezTo>
                    <a:pt x="209" y="55"/>
                    <a:pt x="205" y="54"/>
                    <a:pt x="204" y="54"/>
                  </a:cubicBezTo>
                  <a:cubicBezTo>
                    <a:pt x="203" y="54"/>
                    <a:pt x="203" y="56"/>
                    <a:pt x="203" y="56"/>
                  </a:cubicBezTo>
                  <a:cubicBezTo>
                    <a:pt x="204" y="56"/>
                    <a:pt x="208" y="58"/>
                    <a:pt x="208" y="58"/>
                  </a:cubicBezTo>
                  <a:cubicBezTo>
                    <a:pt x="208" y="58"/>
                    <a:pt x="209" y="57"/>
                    <a:pt x="209" y="57"/>
                  </a:cubicBezTo>
                  <a:cubicBezTo>
                    <a:pt x="209" y="57"/>
                    <a:pt x="212" y="57"/>
                    <a:pt x="212" y="58"/>
                  </a:cubicBezTo>
                  <a:cubicBezTo>
                    <a:pt x="212" y="59"/>
                    <a:pt x="212" y="61"/>
                    <a:pt x="211" y="61"/>
                  </a:cubicBezTo>
                  <a:cubicBezTo>
                    <a:pt x="210" y="61"/>
                    <a:pt x="206" y="61"/>
                    <a:pt x="205" y="60"/>
                  </a:cubicBezTo>
                  <a:cubicBezTo>
                    <a:pt x="204" y="60"/>
                    <a:pt x="201" y="59"/>
                    <a:pt x="200" y="60"/>
                  </a:cubicBezTo>
                  <a:cubicBezTo>
                    <a:pt x="200" y="61"/>
                    <a:pt x="200" y="62"/>
                    <a:pt x="201" y="62"/>
                  </a:cubicBezTo>
                  <a:cubicBezTo>
                    <a:pt x="202" y="63"/>
                    <a:pt x="203" y="63"/>
                    <a:pt x="204" y="64"/>
                  </a:cubicBezTo>
                  <a:cubicBezTo>
                    <a:pt x="204" y="64"/>
                    <a:pt x="206" y="65"/>
                    <a:pt x="206" y="65"/>
                  </a:cubicBezTo>
                  <a:cubicBezTo>
                    <a:pt x="206" y="66"/>
                    <a:pt x="205" y="67"/>
                    <a:pt x="206" y="68"/>
                  </a:cubicBezTo>
                  <a:cubicBezTo>
                    <a:pt x="207" y="69"/>
                    <a:pt x="207" y="70"/>
                    <a:pt x="207" y="71"/>
                  </a:cubicBezTo>
                  <a:cubicBezTo>
                    <a:pt x="207" y="72"/>
                    <a:pt x="208" y="74"/>
                    <a:pt x="207" y="74"/>
                  </a:cubicBezTo>
                  <a:cubicBezTo>
                    <a:pt x="206" y="74"/>
                    <a:pt x="203" y="72"/>
                    <a:pt x="202" y="73"/>
                  </a:cubicBezTo>
                  <a:cubicBezTo>
                    <a:pt x="202" y="74"/>
                    <a:pt x="202" y="75"/>
                    <a:pt x="203" y="76"/>
                  </a:cubicBezTo>
                  <a:cubicBezTo>
                    <a:pt x="204" y="76"/>
                    <a:pt x="205" y="78"/>
                    <a:pt x="206" y="78"/>
                  </a:cubicBezTo>
                  <a:cubicBezTo>
                    <a:pt x="207" y="78"/>
                    <a:pt x="208" y="77"/>
                    <a:pt x="209" y="78"/>
                  </a:cubicBezTo>
                  <a:cubicBezTo>
                    <a:pt x="210" y="78"/>
                    <a:pt x="211" y="79"/>
                    <a:pt x="210" y="80"/>
                  </a:cubicBezTo>
                  <a:cubicBezTo>
                    <a:pt x="210" y="80"/>
                    <a:pt x="207" y="82"/>
                    <a:pt x="206" y="82"/>
                  </a:cubicBezTo>
                  <a:cubicBezTo>
                    <a:pt x="205" y="82"/>
                    <a:pt x="201" y="82"/>
                    <a:pt x="201" y="82"/>
                  </a:cubicBezTo>
                  <a:cubicBezTo>
                    <a:pt x="200" y="83"/>
                    <a:pt x="204" y="84"/>
                    <a:pt x="204" y="84"/>
                  </a:cubicBezTo>
                  <a:cubicBezTo>
                    <a:pt x="204" y="85"/>
                    <a:pt x="204" y="87"/>
                    <a:pt x="203" y="87"/>
                  </a:cubicBezTo>
                  <a:cubicBezTo>
                    <a:pt x="202" y="87"/>
                    <a:pt x="197" y="88"/>
                    <a:pt x="196" y="88"/>
                  </a:cubicBezTo>
                  <a:cubicBezTo>
                    <a:pt x="196" y="88"/>
                    <a:pt x="190" y="85"/>
                    <a:pt x="189" y="85"/>
                  </a:cubicBezTo>
                  <a:cubicBezTo>
                    <a:pt x="188" y="84"/>
                    <a:pt x="185" y="86"/>
                    <a:pt x="185" y="87"/>
                  </a:cubicBezTo>
                  <a:cubicBezTo>
                    <a:pt x="185" y="88"/>
                    <a:pt x="185" y="89"/>
                    <a:pt x="187" y="89"/>
                  </a:cubicBezTo>
                  <a:cubicBezTo>
                    <a:pt x="188" y="89"/>
                    <a:pt x="192" y="90"/>
                    <a:pt x="193" y="90"/>
                  </a:cubicBezTo>
                  <a:cubicBezTo>
                    <a:pt x="194" y="90"/>
                    <a:pt x="196" y="90"/>
                    <a:pt x="197" y="91"/>
                  </a:cubicBezTo>
                  <a:cubicBezTo>
                    <a:pt x="197" y="92"/>
                    <a:pt x="197" y="92"/>
                    <a:pt x="197" y="93"/>
                  </a:cubicBezTo>
                  <a:cubicBezTo>
                    <a:pt x="197" y="93"/>
                    <a:pt x="198" y="96"/>
                    <a:pt x="197" y="96"/>
                  </a:cubicBezTo>
                  <a:cubicBezTo>
                    <a:pt x="197" y="96"/>
                    <a:pt x="190" y="94"/>
                    <a:pt x="189" y="93"/>
                  </a:cubicBezTo>
                  <a:cubicBezTo>
                    <a:pt x="188" y="92"/>
                    <a:pt x="188" y="91"/>
                    <a:pt x="187" y="92"/>
                  </a:cubicBezTo>
                  <a:cubicBezTo>
                    <a:pt x="186" y="92"/>
                    <a:pt x="183" y="91"/>
                    <a:pt x="183" y="91"/>
                  </a:cubicBezTo>
                  <a:cubicBezTo>
                    <a:pt x="182" y="92"/>
                    <a:pt x="182" y="92"/>
                    <a:pt x="183" y="93"/>
                  </a:cubicBezTo>
                  <a:cubicBezTo>
                    <a:pt x="184" y="93"/>
                    <a:pt x="187" y="94"/>
                    <a:pt x="187" y="95"/>
                  </a:cubicBezTo>
                  <a:cubicBezTo>
                    <a:pt x="188" y="95"/>
                    <a:pt x="189" y="96"/>
                    <a:pt x="190" y="97"/>
                  </a:cubicBezTo>
                  <a:cubicBezTo>
                    <a:pt x="191" y="97"/>
                    <a:pt x="195" y="99"/>
                    <a:pt x="196" y="99"/>
                  </a:cubicBezTo>
                  <a:cubicBezTo>
                    <a:pt x="196" y="99"/>
                    <a:pt x="198" y="100"/>
                    <a:pt x="198" y="101"/>
                  </a:cubicBezTo>
                  <a:cubicBezTo>
                    <a:pt x="198" y="102"/>
                    <a:pt x="200" y="108"/>
                    <a:pt x="198" y="108"/>
                  </a:cubicBezTo>
                  <a:cubicBezTo>
                    <a:pt x="197" y="108"/>
                    <a:pt x="192" y="108"/>
                    <a:pt x="191" y="107"/>
                  </a:cubicBezTo>
                  <a:cubicBezTo>
                    <a:pt x="189" y="106"/>
                    <a:pt x="189" y="103"/>
                    <a:pt x="188" y="102"/>
                  </a:cubicBezTo>
                  <a:cubicBezTo>
                    <a:pt x="186" y="101"/>
                    <a:pt x="185" y="101"/>
                    <a:pt x="183" y="101"/>
                  </a:cubicBezTo>
                  <a:cubicBezTo>
                    <a:pt x="183" y="101"/>
                    <a:pt x="184" y="103"/>
                    <a:pt x="183" y="103"/>
                  </a:cubicBezTo>
                  <a:cubicBezTo>
                    <a:pt x="183" y="104"/>
                    <a:pt x="185" y="106"/>
                    <a:pt x="184" y="107"/>
                  </a:cubicBezTo>
                  <a:cubicBezTo>
                    <a:pt x="183" y="107"/>
                    <a:pt x="178" y="109"/>
                    <a:pt x="179" y="110"/>
                  </a:cubicBezTo>
                  <a:cubicBezTo>
                    <a:pt x="179" y="110"/>
                    <a:pt x="183" y="109"/>
                    <a:pt x="185" y="110"/>
                  </a:cubicBezTo>
                  <a:cubicBezTo>
                    <a:pt x="185" y="110"/>
                    <a:pt x="193" y="112"/>
                    <a:pt x="194" y="112"/>
                  </a:cubicBezTo>
                  <a:cubicBezTo>
                    <a:pt x="195" y="112"/>
                    <a:pt x="196" y="111"/>
                    <a:pt x="196" y="112"/>
                  </a:cubicBezTo>
                  <a:cubicBezTo>
                    <a:pt x="197" y="112"/>
                    <a:pt x="189" y="116"/>
                    <a:pt x="188" y="117"/>
                  </a:cubicBezTo>
                  <a:cubicBezTo>
                    <a:pt x="186" y="118"/>
                    <a:pt x="181" y="121"/>
                    <a:pt x="180" y="121"/>
                  </a:cubicBezTo>
                  <a:cubicBezTo>
                    <a:pt x="179" y="121"/>
                    <a:pt x="172" y="123"/>
                    <a:pt x="170" y="124"/>
                  </a:cubicBezTo>
                  <a:cubicBezTo>
                    <a:pt x="168" y="124"/>
                    <a:pt x="165" y="125"/>
                    <a:pt x="163" y="125"/>
                  </a:cubicBezTo>
                  <a:cubicBezTo>
                    <a:pt x="162" y="125"/>
                    <a:pt x="159" y="123"/>
                    <a:pt x="158" y="123"/>
                  </a:cubicBezTo>
                  <a:cubicBezTo>
                    <a:pt x="157" y="123"/>
                    <a:pt x="159" y="127"/>
                    <a:pt x="158" y="127"/>
                  </a:cubicBezTo>
                  <a:cubicBezTo>
                    <a:pt x="157" y="127"/>
                    <a:pt x="155" y="128"/>
                    <a:pt x="154" y="129"/>
                  </a:cubicBezTo>
                  <a:cubicBezTo>
                    <a:pt x="153" y="130"/>
                    <a:pt x="152" y="133"/>
                    <a:pt x="150" y="134"/>
                  </a:cubicBezTo>
                  <a:cubicBezTo>
                    <a:pt x="149" y="135"/>
                    <a:pt x="143" y="139"/>
                    <a:pt x="142" y="139"/>
                  </a:cubicBezTo>
                  <a:cubicBezTo>
                    <a:pt x="141" y="140"/>
                    <a:pt x="139" y="141"/>
                    <a:pt x="137" y="141"/>
                  </a:cubicBezTo>
                  <a:cubicBezTo>
                    <a:pt x="136" y="141"/>
                    <a:pt x="135" y="140"/>
                    <a:pt x="134" y="140"/>
                  </a:cubicBezTo>
                  <a:cubicBezTo>
                    <a:pt x="132" y="141"/>
                    <a:pt x="129" y="140"/>
                    <a:pt x="128" y="141"/>
                  </a:cubicBezTo>
                  <a:cubicBezTo>
                    <a:pt x="128" y="141"/>
                    <a:pt x="130" y="144"/>
                    <a:pt x="129" y="145"/>
                  </a:cubicBezTo>
                  <a:cubicBezTo>
                    <a:pt x="127" y="145"/>
                    <a:pt x="125" y="144"/>
                    <a:pt x="125" y="145"/>
                  </a:cubicBezTo>
                  <a:cubicBezTo>
                    <a:pt x="124" y="146"/>
                    <a:pt x="127" y="149"/>
                    <a:pt x="126" y="150"/>
                  </a:cubicBezTo>
                  <a:cubicBezTo>
                    <a:pt x="126" y="151"/>
                    <a:pt x="125" y="153"/>
                    <a:pt x="125" y="154"/>
                  </a:cubicBezTo>
                  <a:cubicBezTo>
                    <a:pt x="124" y="155"/>
                    <a:pt x="120" y="158"/>
                    <a:pt x="120" y="159"/>
                  </a:cubicBezTo>
                  <a:cubicBezTo>
                    <a:pt x="119" y="160"/>
                    <a:pt x="120" y="163"/>
                    <a:pt x="119" y="164"/>
                  </a:cubicBezTo>
                  <a:cubicBezTo>
                    <a:pt x="118" y="165"/>
                    <a:pt x="116" y="176"/>
                    <a:pt x="113" y="175"/>
                  </a:cubicBezTo>
                  <a:cubicBezTo>
                    <a:pt x="110" y="175"/>
                    <a:pt x="110" y="175"/>
                    <a:pt x="108" y="174"/>
                  </a:cubicBezTo>
                  <a:cubicBezTo>
                    <a:pt x="106" y="173"/>
                    <a:pt x="105" y="171"/>
                    <a:pt x="103" y="171"/>
                  </a:cubicBezTo>
                  <a:cubicBezTo>
                    <a:pt x="102" y="171"/>
                    <a:pt x="97" y="171"/>
                    <a:pt x="97" y="171"/>
                  </a:cubicBezTo>
                  <a:cubicBezTo>
                    <a:pt x="96" y="170"/>
                    <a:pt x="90" y="163"/>
                    <a:pt x="90" y="163"/>
                  </a:cubicBezTo>
                  <a:cubicBezTo>
                    <a:pt x="90" y="162"/>
                    <a:pt x="88" y="162"/>
                    <a:pt x="88" y="161"/>
                  </a:cubicBezTo>
                  <a:cubicBezTo>
                    <a:pt x="87" y="159"/>
                    <a:pt x="86" y="158"/>
                    <a:pt x="86" y="157"/>
                  </a:cubicBezTo>
                  <a:cubicBezTo>
                    <a:pt x="85" y="156"/>
                    <a:pt x="83" y="155"/>
                    <a:pt x="83" y="153"/>
                  </a:cubicBezTo>
                  <a:cubicBezTo>
                    <a:pt x="82" y="152"/>
                    <a:pt x="82" y="152"/>
                    <a:pt x="81" y="151"/>
                  </a:cubicBezTo>
                  <a:cubicBezTo>
                    <a:pt x="79" y="150"/>
                    <a:pt x="80" y="148"/>
                    <a:pt x="80" y="146"/>
                  </a:cubicBezTo>
                  <a:cubicBezTo>
                    <a:pt x="80" y="145"/>
                    <a:pt x="79" y="144"/>
                    <a:pt x="78" y="143"/>
                  </a:cubicBezTo>
                  <a:cubicBezTo>
                    <a:pt x="77" y="141"/>
                    <a:pt x="76" y="142"/>
                    <a:pt x="76" y="141"/>
                  </a:cubicBezTo>
                  <a:cubicBezTo>
                    <a:pt x="75" y="139"/>
                    <a:pt x="74" y="137"/>
                    <a:pt x="74" y="136"/>
                  </a:cubicBezTo>
                  <a:cubicBezTo>
                    <a:pt x="74" y="135"/>
                    <a:pt x="75" y="135"/>
                    <a:pt x="75" y="134"/>
                  </a:cubicBezTo>
                  <a:cubicBezTo>
                    <a:pt x="75" y="132"/>
                    <a:pt x="73" y="131"/>
                    <a:pt x="73" y="130"/>
                  </a:cubicBezTo>
                  <a:cubicBezTo>
                    <a:pt x="74" y="129"/>
                    <a:pt x="74" y="127"/>
                    <a:pt x="74" y="126"/>
                  </a:cubicBezTo>
                  <a:cubicBezTo>
                    <a:pt x="74" y="126"/>
                    <a:pt x="74" y="123"/>
                    <a:pt x="75" y="122"/>
                  </a:cubicBezTo>
                  <a:cubicBezTo>
                    <a:pt x="76" y="121"/>
                    <a:pt x="77" y="120"/>
                    <a:pt x="78" y="120"/>
                  </a:cubicBezTo>
                  <a:cubicBezTo>
                    <a:pt x="80" y="120"/>
                    <a:pt x="81" y="120"/>
                    <a:pt x="81" y="121"/>
                  </a:cubicBezTo>
                  <a:cubicBezTo>
                    <a:pt x="81" y="121"/>
                    <a:pt x="78" y="123"/>
                    <a:pt x="79" y="124"/>
                  </a:cubicBezTo>
                  <a:cubicBezTo>
                    <a:pt x="80" y="124"/>
                    <a:pt x="84" y="124"/>
                    <a:pt x="85" y="123"/>
                  </a:cubicBezTo>
                  <a:cubicBezTo>
                    <a:pt x="85" y="122"/>
                    <a:pt x="84" y="120"/>
                    <a:pt x="85" y="119"/>
                  </a:cubicBezTo>
                  <a:cubicBezTo>
                    <a:pt x="86" y="118"/>
                    <a:pt x="86" y="116"/>
                    <a:pt x="86" y="115"/>
                  </a:cubicBezTo>
                  <a:cubicBezTo>
                    <a:pt x="86" y="113"/>
                    <a:pt x="87" y="112"/>
                    <a:pt x="86" y="112"/>
                  </a:cubicBezTo>
                  <a:cubicBezTo>
                    <a:pt x="85" y="111"/>
                    <a:pt x="81" y="111"/>
                    <a:pt x="80" y="111"/>
                  </a:cubicBezTo>
                  <a:cubicBezTo>
                    <a:pt x="79" y="110"/>
                    <a:pt x="78" y="110"/>
                    <a:pt x="77" y="110"/>
                  </a:cubicBezTo>
                  <a:cubicBezTo>
                    <a:pt x="75" y="108"/>
                    <a:pt x="74" y="108"/>
                    <a:pt x="74" y="108"/>
                  </a:cubicBezTo>
                  <a:cubicBezTo>
                    <a:pt x="73" y="108"/>
                    <a:pt x="71" y="107"/>
                    <a:pt x="71" y="107"/>
                  </a:cubicBezTo>
                  <a:cubicBezTo>
                    <a:pt x="70" y="105"/>
                    <a:pt x="72" y="105"/>
                    <a:pt x="73" y="105"/>
                  </a:cubicBezTo>
                  <a:cubicBezTo>
                    <a:pt x="73" y="105"/>
                    <a:pt x="76" y="106"/>
                    <a:pt x="77" y="106"/>
                  </a:cubicBezTo>
                  <a:cubicBezTo>
                    <a:pt x="78" y="106"/>
                    <a:pt x="81" y="107"/>
                    <a:pt x="81" y="107"/>
                  </a:cubicBezTo>
                  <a:cubicBezTo>
                    <a:pt x="83" y="108"/>
                    <a:pt x="85" y="108"/>
                    <a:pt x="85" y="108"/>
                  </a:cubicBezTo>
                  <a:cubicBezTo>
                    <a:pt x="85" y="108"/>
                    <a:pt x="85" y="107"/>
                    <a:pt x="83" y="105"/>
                  </a:cubicBezTo>
                  <a:cubicBezTo>
                    <a:pt x="82" y="104"/>
                    <a:pt x="80" y="102"/>
                    <a:pt x="79" y="103"/>
                  </a:cubicBezTo>
                  <a:cubicBezTo>
                    <a:pt x="78" y="103"/>
                    <a:pt x="76" y="102"/>
                    <a:pt x="76" y="102"/>
                  </a:cubicBezTo>
                  <a:cubicBezTo>
                    <a:pt x="77" y="101"/>
                    <a:pt x="78" y="99"/>
                    <a:pt x="76" y="99"/>
                  </a:cubicBezTo>
                  <a:cubicBezTo>
                    <a:pt x="75" y="98"/>
                    <a:pt x="75" y="98"/>
                    <a:pt x="74" y="98"/>
                  </a:cubicBezTo>
                  <a:cubicBezTo>
                    <a:pt x="73" y="98"/>
                    <a:pt x="74" y="100"/>
                    <a:pt x="73" y="100"/>
                  </a:cubicBezTo>
                  <a:cubicBezTo>
                    <a:pt x="73" y="101"/>
                    <a:pt x="71" y="102"/>
                    <a:pt x="70" y="102"/>
                  </a:cubicBezTo>
                  <a:cubicBezTo>
                    <a:pt x="68" y="102"/>
                    <a:pt x="67" y="101"/>
                    <a:pt x="66" y="100"/>
                  </a:cubicBezTo>
                  <a:cubicBezTo>
                    <a:pt x="66" y="98"/>
                    <a:pt x="67" y="97"/>
                    <a:pt x="67" y="96"/>
                  </a:cubicBezTo>
                  <a:cubicBezTo>
                    <a:pt x="67" y="96"/>
                    <a:pt x="67" y="93"/>
                    <a:pt x="67" y="91"/>
                  </a:cubicBezTo>
                  <a:cubicBezTo>
                    <a:pt x="66" y="90"/>
                    <a:pt x="65" y="87"/>
                    <a:pt x="65" y="86"/>
                  </a:cubicBezTo>
                  <a:cubicBezTo>
                    <a:pt x="64" y="86"/>
                    <a:pt x="63" y="84"/>
                    <a:pt x="63" y="83"/>
                  </a:cubicBezTo>
                  <a:cubicBezTo>
                    <a:pt x="63" y="82"/>
                    <a:pt x="63" y="80"/>
                    <a:pt x="62" y="79"/>
                  </a:cubicBezTo>
                  <a:cubicBezTo>
                    <a:pt x="62" y="78"/>
                    <a:pt x="61" y="76"/>
                    <a:pt x="60" y="76"/>
                  </a:cubicBezTo>
                  <a:cubicBezTo>
                    <a:pt x="58" y="76"/>
                    <a:pt x="56" y="74"/>
                    <a:pt x="56" y="74"/>
                  </a:cubicBezTo>
                  <a:cubicBezTo>
                    <a:pt x="56" y="73"/>
                    <a:pt x="56" y="71"/>
                    <a:pt x="55" y="70"/>
                  </a:cubicBezTo>
                  <a:cubicBezTo>
                    <a:pt x="55" y="70"/>
                    <a:pt x="52" y="69"/>
                    <a:pt x="51" y="69"/>
                  </a:cubicBezTo>
                  <a:cubicBezTo>
                    <a:pt x="51" y="69"/>
                    <a:pt x="47" y="67"/>
                    <a:pt x="46" y="67"/>
                  </a:cubicBezTo>
                  <a:cubicBezTo>
                    <a:pt x="45" y="66"/>
                    <a:pt x="42" y="66"/>
                    <a:pt x="42" y="66"/>
                  </a:cubicBezTo>
                  <a:cubicBezTo>
                    <a:pt x="41" y="66"/>
                    <a:pt x="37" y="64"/>
                    <a:pt x="37" y="65"/>
                  </a:cubicBezTo>
                  <a:cubicBezTo>
                    <a:pt x="37" y="65"/>
                    <a:pt x="36" y="67"/>
                    <a:pt x="34" y="67"/>
                  </a:cubicBezTo>
                  <a:cubicBezTo>
                    <a:pt x="32" y="66"/>
                    <a:pt x="32" y="65"/>
                    <a:pt x="31" y="66"/>
                  </a:cubicBezTo>
                  <a:cubicBezTo>
                    <a:pt x="30" y="66"/>
                    <a:pt x="28" y="67"/>
                    <a:pt x="27" y="67"/>
                  </a:cubicBezTo>
                  <a:cubicBezTo>
                    <a:pt x="26" y="67"/>
                    <a:pt x="25" y="69"/>
                    <a:pt x="24" y="69"/>
                  </a:cubicBezTo>
                  <a:cubicBezTo>
                    <a:pt x="23" y="68"/>
                    <a:pt x="16" y="67"/>
                    <a:pt x="15" y="66"/>
                  </a:cubicBezTo>
                  <a:cubicBezTo>
                    <a:pt x="13" y="65"/>
                    <a:pt x="12" y="64"/>
                    <a:pt x="12" y="64"/>
                  </a:cubicBezTo>
                  <a:cubicBezTo>
                    <a:pt x="12" y="64"/>
                    <a:pt x="16" y="63"/>
                    <a:pt x="16" y="62"/>
                  </a:cubicBezTo>
                  <a:cubicBezTo>
                    <a:pt x="16" y="62"/>
                    <a:pt x="13" y="61"/>
                    <a:pt x="12" y="6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4" name="Freeform 6477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591343" y="3925719"/>
              <a:ext cx="928081" cy="1024695"/>
            </a:xfrm>
            <a:custGeom>
              <a:avLst/>
              <a:gdLst>
                <a:gd name="T0" fmla="*/ 4 w 153"/>
                <a:gd name="T1" fmla="*/ 58 h 158"/>
                <a:gd name="T2" fmla="*/ 4 w 153"/>
                <a:gd name="T3" fmla="*/ 47 h 158"/>
                <a:gd name="T4" fmla="*/ 7 w 153"/>
                <a:gd name="T5" fmla="*/ 40 h 158"/>
                <a:gd name="T6" fmla="*/ 16 w 153"/>
                <a:gd name="T7" fmla="*/ 37 h 158"/>
                <a:gd name="T8" fmla="*/ 16 w 153"/>
                <a:gd name="T9" fmla="*/ 22 h 158"/>
                <a:gd name="T10" fmla="*/ 24 w 153"/>
                <a:gd name="T11" fmla="*/ 15 h 158"/>
                <a:gd name="T12" fmla="*/ 28 w 153"/>
                <a:gd name="T13" fmla="*/ 15 h 158"/>
                <a:gd name="T14" fmla="*/ 40 w 153"/>
                <a:gd name="T15" fmla="*/ 14 h 158"/>
                <a:gd name="T16" fmla="*/ 36 w 153"/>
                <a:gd name="T17" fmla="*/ 5 h 158"/>
                <a:gd name="T18" fmla="*/ 52 w 153"/>
                <a:gd name="T19" fmla="*/ 4 h 158"/>
                <a:gd name="T20" fmla="*/ 54 w 153"/>
                <a:gd name="T21" fmla="*/ 1 h 158"/>
                <a:gd name="T22" fmla="*/ 57 w 153"/>
                <a:gd name="T23" fmla="*/ 7 h 158"/>
                <a:gd name="T24" fmla="*/ 59 w 153"/>
                <a:gd name="T25" fmla="*/ 17 h 158"/>
                <a:gd name="T26" fmla="*/ 67 w 153"/>
                <a:gd name="T27" fmla="*/ 14 h 158"/>
                <a:gd name="T28" fmla="*/ 71 w 153"/>
                <a:gd name="T29" fmla="*/ 14 h 158"/>
                <a:gd name="T30" fmla="*/ 76 w 153"/>
                <a:gd name="T31" fmla="*/ 13 h 158"/>
                <a:gd name="T32" fmla="*/ 82 w 153"/>
                <a:gd name="T33" fmla="*/ 14 h 158"/>
                <a:gd name="T34" fmla="*/ 88 w 153"/>
                <a:gd name="T35" fmla="*/ 5 h 158"/>
                <a:gd name="T36" fmla="*/ 91 w 153"/>
                <a:gd name="T37" fmla="*/ 12 h 158"/>
                <a:gd name="T38" fmla="*/ 91 w 153"/>
                <a:gd name="T39" fmla="*/ 21 h 158"/>
                <a:gd name="T40" fmla="*/ 98 w 153"/>
                <a:gd name="T41" fmla="*/ 22 h 158"/>
                <a:gd name="T42" fmla="*/ 103 w 153"/>
                <a:gd name="T43" fmla="*/ 23 h 158"/>
                <a:gd name="T44" fmla="*/ 114 w 153"/>
                <a:gd name="T45" fmla="*/ 28 h 158"/>
                <a:gd name="T46" fmla="*/ 117 w 153"/>
                <a:gd name="T47" fmla="*/ 31 h 158"/>
                <a:gd name="T48" fmla="*/ 129 w 153"/>
                <a:gd name="T49" fmla="*/ 32 h 158"/>
                <a:gd name="T50" fmla="*/ 143 w 153"/>
                <a:gd name="T51" fmla="*/ 40 h 158"/>
                <a:gd name="T52" fmla="*/ 153 w 153"/>
                <a:gd name="T53" fmla="*/ 52 h 158"/>
                <a:gd name="T54" fmla="*/ 144 w 153"/>
                <a:gd name="T55" fmla="*/ 64 h 158"/>
                <a:gd name="T56" fmla="*/ 136 w 153"/>
                <a:gd name="T57" fmla="*/ 73 h 158"/>
                <a:gd name="T58" fmla="*/ 136 w 153"/>
                <a:gd name="T59" fmla="*/ 88 h 158"/>
                <a:gd name="T60" fmla="*/ 133 w 153"/>
                <a:gd name="T61" fmla="*/ 93 h 158"/>
                <a:gd name="T62" fmla="*/ 129 w 153"/>
                <a:gd name="T63" fmla="*/ 106 h 158"/>
                <a:gd name="T64" fmla="*/ 122 w 153"/>
                <a:gd name="T65" fmla="*/ 112 h 158"/>
                <a:gd name="T66" fmla="*/ 107 w 153"/>
                <a:gd name="T67" fmla="*/ 117 h 158"/>
                <a:gd name="T68" fmla="*/ 99 w 153"/>
                <a:gd name="T69" fmla="*/ 128 h 158"/>
                <a:gd name="T70" fmla="*/ 96 w 153"/>
                <a:gd name="T71" fmla="*/ 137 h 158"/>
                <a:gd name="T72" fmla="*/ 88 w 153"/>
                <a:gd name="T73" fmla="*/ 148 h 158"/>
                <a:gd name="T74" fmla="*/ 81 w 153"/>
                <a:gd name="T75" fmla="*/ 158 h 158"/>
                <a:gd name="T76" fmla="*/ 81 w 153"/>
                <a:gd name="T77" fmla="*/ 152 h 158"/>
                <a:gd name="T78" fmla="*/ 70 w 153"/>
                <a:gd name="T79" fmla="*/ 146 h 158"/>
                <a:gd name="T80" fmla="*/ 66 w 153"/>
                <a:gd name="T81" fmla="*/ 141 h 158"/>
                <a:gd name="T82" fmla="*/ 78 w 153"/>
                <a:gd name="T83" fmla="*/ 130 h 158"/>
                <a:gd name="T84" fmla="*/ 78 w 153"/>
                <a:gd name="T85" fmla="*/ 123 h 158"/>
                <a:gd name="T86" fmla="*/ 76 w 153"/>
                <a:gd name="T87" fmla="*/ 116 h 158"/>
                <a:gd name="T88" fmla="*/ 71 w 153"/>
                <a:gd name="T89" fmla="*/ 110 h 158"/>
                <a:gd name="T90" fmla="*/ 63 w 153"/>
                <a:gd name="T91" fmla="*/ 108 h 158"/>
                <a:gd name="T92" fmla="*/ 64 w 153"/>
                <a:gd name="T93" fmla="*/ 93 h 158"/>
                <a:gd name="T94" fmla="*/ 61 w 153"/>
                <a:gd name="T95" fmla="*/ 85 h 158"/>
                <a:gd name="T96" fmla="*/ 54 w 153"/>
                <a:gd name="T97" fmla="*/ 77 h 158"/>
                <a:gd name="T98" fmla="*/ 47 w 153"/>
                <a:gd name="T99" fmla="*/ 74 h 158"/>
                <a:gd name="T100" fmla="*/ 37 w 153"/>
                <a:gd name="T101" fmla="*/ 69 h 158"/>
                <a:gd name="T102" fmla="*/ 34 w 153"/>
                <a:gd name="T103" fmla="*/ 59 h 158"/>
                <a:gd name="T104" fmla="*/ 22 w 153"/>
                <a:gd name="T105" fmla="*/ 64 h 158"/>
                <a:gd name="T106" fmla="*/ 18 w 153"/>
                <a:gd name="T107" fmla="*/ 64 h 158"/>
                <a:gd name="T108" fmla="*/ 13 w 153"/>
                <a:gd name="T109" fmla="*/ 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3" h="158">
                  <a:moveTo>
                    <a:pt x="8" y="60"/>
                  </a:moveTo>
                  <a:cubicBezTo>
                    <a:pt x="7" y="60"/>
                    <a:pt x="5" y="59"/>
                    <a:pt x="4" y="58"/>
                  </a:cubicBezTo>
                  <a:cubicBezTo>
                    <a:pt x="3" y="56"/>
                    <a:pt x="0" y="52"/>
                    <a:pt x="1" y="50"/>
                  </a:cubicBezTo>
                  <a:cubicBezTo>
                    <a:pt x="2" y="48"/>
                    <a:pt x="4" y="48"/>
                    <a:pt x="4" y="47"/>
                  </a:cubicBezTo>
                  <a:cubicBezTo>
                    <a:pt x="5" y="46"/>
                    <a:pt x="3" y="45"/>
                    <a:pt x="3" y="44"/>
                  </a:cubicBezTo>
                  <a:cubicBezTo>
                    <a:pt x="4" y="43"/>
                    <a:pt x="5" y="41"/>
                    <a:pt x="7" y="40"/>
                  </a:cubicBezTo>
                  <a:cubicBezTo>
                    <a:pt x="8" y="39"/>
                    <a:pt x="15" y="38"/>
                    <a:pt x="15" y="38"/>
                  </a:cubicBezTo>
                  <a:cubicBezTo>
                    <a:pt x="16" y="38"/>
                    <a:pt x="16" y="37"/>
                    <a:pt x="16" y="37"/>
                  </a:cubicBezTo>
                  <a:cubicBezTo>
                    <a:pt x="18" y="34"/>
                    <a:pt x="18" y="29"/>
                    <a:pt x="19" y="28"/>
                  </a:cubicBezTo>
                  <a:cubicBezTo>
                    <a:pt x="19" y="26"/>
                    <a:pt x="17" y="23"/>
                    <a:pt x="16" y="22"/>
                  </a:cubicBezTo>
                  <a:cubicBezTo>
                    <a:pt x="15" y="21"/>
                    <a:pt x="16" y="16"/>
                    <a:pt x="17" y="16"/>
                  </a:cubicBezTo>
                  <a:cubicBezTo>
                    <a:pt x="18" y="15"/>
                    <a:pt x="23" y="15"/>
                    <a:pt x="24" y="15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8" y="15"/>
                    <a:pt x="28" y="15"/>
                  </a:cubicBezTo>
                  <a:cubicBezTo>
                    <a:pt x="28" y="16"/>
                    <a:pt x="30" y="19"/>
                    <a:pt x="31" y="19"/>
                  </a:cubicBezTo>
                  <a:cubicBezTo>
                    <a:pt x="32" y="19"/>
                    <a:pt x="39" y="15"/>
                    <a:pt x="40" y="14"/>
                  </a:cubicBezTo>
                  <a:cubicBezTo>
                    <a:pt x="42" y="13"/>
                    <a:pt x="39" y="12"/>
                    <a:pt x="39" y="11"/>
                  </a:cubicBezTo>
                  <a:cubicBezTo>
                    <a:pt x="38" y="10"/>
                    <a:pt x="36" y="6"/>
                    <a:pt x="36" y="5"/>
                  </a:cubicBezTo>
                  <a:cubicBezTo>
                    <a:pt x="36" y="4"/>
                    <a:pt x="43" y="7"/>
                    <a:pt x="44" y="7"/>
                  </a:cubicBezTo>
                  <a:cubicBezTo>
                    <a:pt x="44" y="7"/>
                    <a:pt x="51" y="4"/>
                    <a:pt x="52" y="4"/>
                  </a:cubicBezTo>
                  <a:cubicBezTo>
                    <a:pt x="52" y="3"/>
                    <a:pt x="52" y="2"/>
                    <a:pt x="52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6" y="2"/>
                    <a:pt x="57" y="6"/>
                    <a:pt x="57" y="7"/>
                  </a:cubicBezTo>
                  <a:cubicBezTo>
                    <a:pt x="56" y="7"/>
                    <a:pt x="55" y="11"/>
                    <a:pt x="55" y="11"/>
                  </a:cubicBezTo>
                  <a:cubicBezTo>
                    <a:pt x="55" y="12"/>
                    <a:pt x="58" y="17"/>
                    <a:pt x="59" y="17"/>
                  </a:cubicBezTo>
                  <a:cubicBezTo>
                    <a:pt x="60" y="17"/>
                    <a:pt x="62" y="16"/>
                    <a:pt x="63" y="15"/>
                  </a:cubicBezTo>
                  <a:cubicBezTo>
                    <a:pt x="63" y="15"/>
                    <a:pt x="66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70" y="14"/>
                    <a:pt x="71" y="14"/>
                  </a:cubicBezTo>
                  <a:cubicBezTo>
                    <a:pt x="71" y="14"/>
                    <a:pt x="70" y="12"/>
                    <a:pt x="71" y="12"/>
                  </a:cubicBezTo>
                  <a:cubicBezTo>
                    <a:pt x="72" y="12"/>
                    <a:pt x="75" y="12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8" y="13"/>
                    <a:pt x="82" y="14"/>
                    <a:pt x="82" y="14"/>
                  </a:cubicBezTo>
                  <a:cubicBezTo>
                    <a:pt x="83" y="13"/>
                    <a:pt x="86" y="10"/>
                    <a:pt x="86" y="9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9" y="6"/>
                  </a:cubicBezTo>
                  <a:cubicBezTo>
                    <a:pt x="90" y="8"/>
                    <a:pt x="91" y="9"/>
                    <a:pt x="91" y="12"/>
                  </a:cubicBezTo>
                  <a:cubicBezTo>
                    <a:pt x="92" y="15"/>
                    <a:pt x="93" y="14"/>
                    <a:pt x="94" y="16"/>
                  </a:cubicBezTo>
                  <a:cubicBezTo>
                    <a:pt x="95" y="17"/>
                    <a:pt x="90" y="21"/>
                    <a:pt x="91" y="21"/>
                  </a:cubicBezTo>
                  <a:cubicBezTo>
                    <a:pt x="91" y="21"/>
                    <a:pt x="93" y="21"/>
                    <a:pt x="94" y="21"/>
                  </a:cubicBezTo>
                  <a:cubicBezTo>
                    <a:pt x="95" y="21"/>
                    <a:pt x="97" y="21"/>
                    <a:pt x="98" y="22"/>
                  </a:cubicBezTo>
                  <a:cubicBezTo>
                    <a:pt x="100" y="22"/>
                    <a:pt x="99" y="26"/>
                    <a:pt x="100" y="26"/>
                  </a:cubicBezTo>
                  <a:cubicBezTo>
                    <a:pt x="100" y="25"/>
                    <a:pt x="101" y="24"/>
                    <a:pt x="103" y="23"/>
                  </a:cubicBezTo>
                  <a:cubicBezTo>
                    <a:pt x="104" y="23"/>
                    <a:pt x="107" y="25"/>
                    <a:pt x="109" y="26"/>
                  </a:cubicBezTo>
                  <a:cubicBezTo>
                    <a:pt x="111" y="26"/>
                    <a:pt x="114" y="26"/>
                    <a:pt x="114" y="28"/>
                  </a:cubicBezTo>
                  <a:cubicBezTo>
                    <a:pt x="115" y="30"/>
                    <a:pt x="114" y="32"/>
                    <a:pt x="115" y="32"/>
                  </a:cubicBezTo>
                  <a:cubicBezTo>
                    <a:pt x="116" y="33"/>
                    <a:pt x="116" y="32"/>
                    <a:pt x="117" y="31"/>
                  </a:cubicBezTo>
                  <a:cubicBezTo>
                    <a:pt x="119" y="31"/>
                    <a:pt x="120" y="30"/>
                    <a:pt x="121" y="31"/>
                  </a:cubicBezTo>
                  <a:cubicBezTo>
                    <a:pt x="123" y="33"/>
                    <a:pt x="126" y="32"/>
                    <a:pt x="129" y="32"/>
                  </a:cubicBezTo>
                  <a:cubicBezTo>
                    <a:pt x="132" y="32"/>
                    <a:pt x="132" y="32"/>
                    <a:pt x="135" y="34"/>
                  </a:cubicBezTo>
                  <a:cubicBezTo>
                    <a:pt x="138" y="35"/>
                    <a:pt x="141" y="39"/>
                    <a:pt x="143" y="40"/>
                  </a:cubicBezTo>
                  <a:cubicBezTo>
                    <a:pt x="146" y="42"/>
                    <a:pt x="149" y="40"/>
                    <a:pt x="151" y="41"/>
                  </a:cubicBezTo>
                  <a:cubicBezTo>
                    <a:pt x="152" y="43"/>
                    <a:pt x="153" y="47"/>
                    <a:pt x="153" y="52"/>
                  </a:cubicBezTo>
                  <a:cubicBezTo>
                    <a:pt x="153" y="56"/>
                    <a:pt x="149" y="61"/>
                    <a:pt x="148" y="62"/>
                  </a:cubicBezTo>
                  <a:cubicBezTo>
                    <a:pt x="146" y="63"/>
                    <a:pt x="145" y="63"/>
                    <a:pt x="144" y="64"/>
                  </a:cubicBezTo>
                  <a:cubicBezTo>
                    <a:pt x="143" y="65"/>
                    <a:pt x="140" y="71"/>
                    <a:pt x="139" y="72"/>
                  </a:cubicBezTo>
                  <a:cubicBezTo>
                    <a:pt x="139" y="73"/>
                    <a:pt x="137" y="73"/>
                    <a:pt x="136" y="73"/>
                  </a:cubicBezTo>
                  <a:cubicBezTo>
                    <a:pt x="136" y="74"/>
                    <a:pt x="136" y="80"/>
                    <a:pt x="136" y="82"/>
                  </a:cubicBezTo>
                  <a:cubicBezTo>
                    <a:pt x="137" y="84"/>
                    <a:pt x="136" y="85"/>
                    <a:pt x="136" y="88"/>
                  </a:cubicBezTo>
                  <a:cubicBezTo>
                    <a:pt x="136" y="89"/>
                    <a:pt x="136" y="90"/>
                    <a:pt x="136" y="91"/>
                  </a:cubicBezTo>
                  <a:cubicBezTo>
                    <a:pt x="135" y="91"/>
                    <a:pt x="134" y="92"/>
                    <a:pt x="133" y="93"/>
                  </a:cubicBezTo>
                  <a:cubicBezTo>
                    <a:pt x="132" y="95"/>
                    <a:pt x="134" y="97"/>
                    <a:pt x="134" y="98"/>
                  </a:cubicBezTo>
                  <a:cubicBezTo>
                    <a:pt x="133" y="99"/>
                    <a:pt x="130" y="104"/>
                    <a:pt x="129" y="106"/>
                  </a:cubicBezTo>
                  <a:cubicBezTo>
                    <a:pt x="128" y="107"/>
                    <a:pt x="126" y="112"/>
                    <a:pt x="125" y="112"/>
                  </a:cubicBezTo>
                  <a:cubicBezTo>
                    <a:pt x="125" y="112"/>
                    <a:pt x="123" y="112"/>
                    <a:pt x="122" y="112"/>
                  </a:cubicBezTo>
                  <a:cubicBezTo>
                    <a:pt x="121" y="112"/>
                    <a:pt x="118" y="113"/>
                    <a:pt x="116" y="113"/>
                  </a:cubicBezTo>
                  <a:cubicBezTo>
                    <a:pt x="114" y="113"/>
                    <a:pt x="107" y="116"/>
                    <a:pt x="107" y="117"/>
                  </a:cubicBezTo>
                  <a:cubicBezTo>
                    <a:pt x="106" y="117"/>
                    <a:pt x="101" y="121"/>
                    <a:pt x="100" y="123"/>
                  </a:cubicBezTo>
                  <a:cubicBezTo>
                    <a:pt x="99" y="124"/>
                    <a:pt x="99" y="126"/>
                    <a:pt x="99" y="128"/>
                  </a:cubicBezTo>
                  <a:cubicBezTo>
                    <a:pt x="99" y="130"/>
                    <a:pt x="99" y="134"/>
                    <a:pt x="99" y="135"/>
                  </a:cubicBezTo>
                  <a:cubicBezTo>
                    <a:pt x="99" y="136"/>
                    <a:pt x="97" y="136"/>
                    <a:pt x="96" y="137"/>
                  </a:cubicBezTo>
                  <a:cubicBezTo>
                    <a:pt x="95" y="138"/>
                    <a:pt x="93" y="142"/>
                    <a:pt x="93" y="144"/>
                  </a:cubicBezTo>
                  <a:cubicBezTo>
                    <a:pt x="92" y="145"/>
                    <a:pt x="90" y="147"/>
                    <a:pt x="88" y="148"/>
                  </a:cubicBezTo>
                  <a:cubicBezTo>
                    <a:pt x="85" y="150"/>
                    <a:pt x="85" y="152"/>
                    <a:pt x="84" y="154"/>
                  </a:cubicBezTo>
                  <a:cubicBezTo>
                    <a:pt x="83" y="155"/>
                    <a:pt x="82" y="157"/>
                    <a:pt x="81" y="158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79" y="156"/>
                    <a:pt x="80" y="153"/>
                    <a:pt x="81" y="152"/>
                  </a:cubicBezTo>
                  <a:cubicBezTo>
                    <a:pt x="82" y="151"/>
                    <a:pt x="74" y="147"/>
                    <a:pt x="73" y="146"/>
                  </a:cubicBezTo>
                  <a:cubicBezTo>
                    <a:pt x="72" y="145"/>
                    <a:pt x="70" y="146"/>
                    <a:pt x="70" y="146"/>
                  </a:cubicBezTo>
                  <a:cubicBezTo>
                    <a:pt x="69" y="145"/>
                    <a:pt x="70" y="144"/>
                    <a:pt x="68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8" y="139"/>
                    <a:pt x="70" y="136"/>
                    <a:pt x="72" y="135"/>
                  </a:cubicBezTo>
                  <a:cubicBezTo>
                    <a:pt x="74" y="133"/>
                    <a:pt x="77" y="130"/>
                    <a:pt x="78" y="130"/>
                  </a:cubicBezTo>
                  <a:cubicBezTo>
                    <a:pt x="79" y="129"/>
                    <a:pt x="79" y="127"/>
                    <a:pt x="80" y="126"/>
                  </a:cubicBezTo>
                  <a:cubicBezTo>
                    <a:pt x="80" y="125"/>
                    <a:pt x="79" y="123"/>
                    <a:pt x="78" y="123"/>
                  </a:cubicBezTo>
                  <a:cubicBezTo>
                    <a:pt x="78" y="123"/>
                    <a:pt x="77" y="123"/>
                    <a:pt x="76" y="123"/>
                  </a:cubicBezTo>
                  <a:cubicBezTo>
                    <a:pt x="76" y="122"/>
                    <a:pt x="77" y="116"/>
                    <a:pt x="76" y="116"/>
                  </a:cubicBezTo>
                  <a:cubicBezTo>
                    <a:pt x="76" y="115"/>
                    <a:pt x="73" y="117"/>
                    <a:pt x="72" y="116"/>
                  </a:cubicBezTo>
                  <a:cubicBezTo>
                    <a:pt x="72" y="115"/>
                    <a:pt x="72" y="111"/>
                    <a:pt x="71" y="110"/>
                  </a:cubicBezTo>
                  <a:cubicBezTo>
                    <a:pt x="71" y="109"/>
                    <a:pt x="69" y="109"/>
                    <a:pt x="68" y="109"/>
                  </a:cubicBezTo>
                  <a:cubicBezTo>
                    <a:pt x="67" y="109"/>
                    <a:pt x="63" y="109"/>
                    <a:pt x="63" y="108"/>
                  </a:cubicBezTo>
                  <a:cubicBezTo>
                    <a:pt x="63" y="107"/>
                    <a:pt x="63" y="101"/>
                    <a:pt x="63" y="100"/>
                  </a:cubicBezTo>
                  <a:cubicBezTo>
                    <a:pt x="63" y="98"/>
                    <a:pt x="64" y="94"/>
                    <a:pt x="64" y="93"/>
                  </a:cubicBezTo>
                  <a:cubicBezTo>
                    <a:pt x="65" y="92"/>
                    <a:pt x="62" y="90"/>
                    <a:pt x="61" y="89"/>
                  </a:cubicBezTo>
                  <a:cubicBezTo>
                    <a:pt x="61" y="89"/>
                    <a:pt x="62" y="85"/>
                    <a:pt x="61" y="85"/>
                  </a:cubicBezTo>
                  <a:cubicBezTo>
                    <a:pt x="61" y="85"/>
                    <a:pt x="54" y="85"/>
                    <a:pt x="54" y="85"/>
                  </a:cubicBezTo>
                  <a:cubicBezTo>
                    <a:pt x="54" y="84"/>
                    <a:pt x="54" y="78"/>
                    <a:pt x="54" y="77"/>
                  </a:cubicBezTo>
                  <a:cubicBezTo>
                    <a:pt x="54" y="76"/>
                    <a:pt x="53" y="75"/>
                    <a:pt x="52" y="74"/>
                  </a:cubicBezTo>
                  <a:cubicBezTo>
                    <a:pt x="50" y="73"/>
                    <a:pt x="48" y="74"/>
                    <a:pt x="47" y="74"/>
                  </a:cubicBezTo>
                  <a:cubicBezTo>
                    <a:pt x="47" y="74"/>
                    <a:pt x="44" y="71"/>
                    <a:pt x="43" y="71"/>
                  </a:cubicBezTo>
                  <a:cubicBezTo>
                    <a:pt x="42" y="70"/>
                    <a:pt x="38" y="69"/>
                    <a:pt x="37" y="69"/>
                  </a:cubicBezTo>
                  <a:cubicBezTo>
                    <a:pt x="35" y="68"/>
                    <a:pt x="34" y="65"/>
                    <a:pt x="34" y="64"/>
                  </a:cubicBezTo>
                  <a:cubicBezTo>
                    <a:pt x="34" y="63"/>
                    <a:pt x="35" y="60"/>
                    <a:pt x="34" y="59"/>
                  </a:cubicBezTo>
                  <a:cubicBezTo>
                    <a:pt x="34" y="58"/>
                    <a:pt x="33" y="59"/>
                    <a:pt x="31" y="59"/>
                  </a:cubicBezTo>
                  <a:cubicBezTo>
                    <a:pt x="30" y="59"/>
                    <a:pt x="22" y="64"/>
                    <a:pt x="22" y="64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8" y="65"/>
                    <a:pt x="18" y="64"/>
                    <a:pt x="18" y="64"/>
                  </a:cubicBezTo>
                  <a:cubicBezTo>
                    <a:pt x="17" y="64"/>
                    <a:pt x="15" y="64"/>
                    <a:pt x="15" y="64"/>
                  </a:cubicBezTo>
                  <a:cubicBezTo>
                    <a:pt x="13" y="64"/>
                    <a:pt x="14" y="58"/>
                    <a:pt x="13" y="58"/>
                  </a:cubicBezTo>
                  <a:cubicBezTo>
                    <a:pt x="13" y="58"/>
                    <a:pt x="9" y="61"/>
                    <a:pt x="8" y="6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5" name="Freeform 6478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610092" y="3751588"/>
              <a:ext cx="321860" cy="294684"/>
            </a:xfrm>
            <a:custGeom>
              <a:avLst/>
              <a:gdLst>
                <a:gd name="T0" fmla="*/ 0 w 53"/>
                <a:gd name="T1" fmla="*/ 13 h 46"/>
                <a:gd name="T2" fmla="*/ 2 w 53"/>
                <a:gd name="T3" fmla="*/ 8 h 46"/>
                <a:gd name="T4" fmla="*/ 3 w 53"/>
                <a:gd name="T5" fmla="*/ 7 h 46"/>
                <a:gd name="T6" fmla="*/ 6 w 53"/>
                <a:gd name="T7" fmla="*/ 4 h 46"/>
                <a:gd name="T8" fmla="*/ 6 w 53"/>
                <a:gd name="T9" fmla="*/ 8 h 46"/>
                <a:gd name="T10" fmla="*/ 5 w 53"/>
                <a:gd name="T11" fmla="*/ 11 h 46"/>
                <a:gd name="T12" fmla="*/ 5 w 53"/>
                <a:gd name="T13" fmla="*/ 13 h 46"/>
                <a:gd name="T14" fmla="*/ 8 w 53"/>
                <a:gd name="T15" fmla="*/ 14 h 46"/>
                <a:gd name="T16" fmla="*/ 9 w 53"/>
                <a:gd name="T17" fmla="*/ 12 h 46"/>
                <a:gd name="T18" fmla="*/ 10 w 53"/>
                <a:gd name="T19" fmla="*/ 9 h 46"/>
                <a:gd name="T20" fmla="*/ 9 w 53"/>
                <a:gd name="T21" fmla="*/ 7 h 46"/>
                <a:gd name="T22" fmla="*/ 11 w 53"/>
                <a:gd name="T23" fmla="*/ 4 h 46"/>
                <a:gd name="T24" fmla="*/ 13 w 53"/>
                <a:gd name="T25" fmla="*/ 0 h 46"/>
                <a:gd name="T26" fmla="*/ 15 w 53"/>
                <a:gd name="T27" fmla="*/ 3 h 46"/>
                <a:gd name="T28" fmla="*/ 18 w 53"/>
                <a:gd name="T29" fmla="*/ 4 h 46"/>
                <a:gd name="T30" fmla="*/ 20 w 53"/>
                <a:gd name="T31" fmla="*/ 8 h 46"/>
                <a:gd name="T32" fmla="*/ 27 w 53"/>
                <a:gd name="T33" fmla="*/ 7 h 46"/>
                <a:gd name="T34" fmla="*/ 30 w 53"/>
                <a:gd name="T35" fmla="*/ 9 h 46"/>
                <a:gd name="T36" fmla="*/ 35 w 53"/>
                <a:gd name="T37" fmla="*/ 8 h 46"/>
                <a:gd name="T38" fmla="*/ 38 w 53"/>
                <a:gd name="T39" fmla="*/ 7 h 46"/>
                <a:gd name="T40" fmla="*/ 44 w 53"/>
                <a:gd name="T41" fmla="*/ 7 h 46"/>
                <a:gd name="T42" fmla="*/ 45 w 53"/>
                <a:gd name="T43" fmla="*/ 10 h 46"/>
                <a:gd name="T44" fmla="*/ 48 w 53"/>
                <a:gd name="T45" fmla="*/ 12 h 46"/>
                <a:gd name="T46" fmla="*/ 49 w 53"/>
                <a:gd name="T47" fmla="*/ 15 h 46"/>
                <a:gd name="T48" fmla="*/ 53 w 53"/>
                <a:gd name="T49" fmla="*/ 16 h 46"/>
                <a:gd name="T50" fmla="*/ 51 w 53"/>
                <a:gd name="T51" fmla="*/ 19 h 46"/>
                <a:gd name="T52" fmla="*/ 49 w 53"/>
                <a:gd name="T53" fmla="*/ 22 h 46"/>
                <a:gd name="T54" fmla="*/ 46 w 53"/>
                <a:gd name="T55" fmla="*/ 26 h 46"/>
                <a:gd name="T56" fmla="*/ 48 w 53"/>
                <a:gd name="T57" fmla="*/ 29 h 46"/>
                <a:gd name="T58" fmla="*/ 48 w 53"/>
                <a:gd name="T59" fmla="*/ 31 h 46"/>
                <a:gd name="T60" fmla="*/ 41 w 53"/>
                <a:gd name="T61" fmla="*/ 34 h 46"/>
                <a:gd name="T62" fmla="*/ 33 w 53"/>
                <a:gd name="T63" fmla="*/ 32 h 46"/>
                <a:gd name="T64" fmla="*/ 36 w 53"/>
                <a:gd name="T65" fmla="*/ 38 h 46"/>
                <a:gd name="T66" fmla="*/ 37 w 53"/>
                <a:gd name="T67" fmla="*/ 41 h 46"/>
                <a:gd name="T68" fmla="*/ 28 w 53"/>
                <a:gd name="T69" fmla="*/ 46 h 46"/>
                <a:gd name="T70" fmla="*/ 25 w 53"/>
                <a:gd name="T71" fmla="*/ 42 h 46"/>
                <a:gd name="T72" fmla="*/ 23 w 53"/>
                <a:gd name="T73" fmla="*/ 40 h 46"/>
                <a:gd name="T74" fmla="*/ 22 w 53"/>
                <a:gd name="T75" fmla="*/ 38 h 46"/>
                <a:gd name="T76" fmla="*/ 23 w 53"/>
                <a:gd name="T77" fmla="*/ 35 h 46"/>
                <a:gd name="T78" fmla="*/ 22 w 53"/>
                <a:gd name="T79" fmla="*/ 33 h 46"/>
                <a:gd name="T80" fmla="*/ 22 w 53"/>
                <a:gd name="T81" fmla="*/ 29 h 46"/>
                <a:gd name="T82" fmla="*/ 22 w 53"/>
                <a:gd name="T83" fmla="*/ 25 h 46"/>
                <a:gd name="T84" fmla="*/ 16 w 53"/>
                <a:gd name="T85" fmla="*/ 25 h 46"/>
                <a:gd name="T86" fmla="*/ 12 w 53"/>
                <a:gd name="T87" fmla="*/ 22 h 46"/>
                <a:gd name="T88" fmla="*/ 5 w 53"/>
                <a:gd name="T89" fmla="*/ 22 h 46"/>
                <a:gd name="T90" fmla="*/ 3 w 53"/>
                <a:gd name="T91" fmla="*/ 18 h 46"/>
                <a:gd name="T92" fmla="*/ 0 w 53"/>
                <a:gd name="T93" fmla="*/ 1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3" h="46">
                  <a:moveTo>
                    <a:pt x="0" y="13"/>
                  </a:moveTo>
                  <a:cubicBezTo>
                    <a:pt x="0" y="13"/>
                    <a:pt x="1" y="10"/>
                    <a:pt x="2" y="8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7"/>
                    <a:pt x="6" y="8"/>
                  </a:cubicBezTo>
                  <a:cubicBezTo>
                    <a:pt x="6" y="8"/>
                    <a:pt x="5" y="10"/>
                    <a:pt x="5" y="11"/>
                  </a:cubicBezTo>
                  <a:cubicBezTo>
                    <a:pt x="5" y="11"/>
                    <a:pt x="5" y="12"/>
                    <a:pt x="5" y="13"/>
                  </a:cubicBezTo>
                  <a:cubicBezTo>
                    <a:pt x="6" y="14"/>
                    <a:pt x="7" y="14"/>
                    <a:pt x="8" y="14"/>
                  </a:cubicBezTo>
                  <a:cubicBezTo>
                    <a:pt x="9" y="13"/>
                    <a:pt x="9" y="13"/>
                    <a:pt x="9" y="12"/>
                  </a:cubicBezTo>
                  <a:cubicBezTo>
                    <a:pt x="10" y="11"/>
                    <a:pt x="10" y="10"/>
                    <a:pt x="10" y="9"/>
                  </a:cubicBezTo>
                  <a:cubicBezTo>
                    <a:pt x="9" y="8"/>
                    <a:pt x="9" y="8"/>
                    <a:pt x="9" y="7"/>
                  </a:cubicBezTo>
                  <a:cubicBezTo>
                    <a:pt x="9" y="7"/>
                    <a:pt x="10" y="5"/>
                    <a:pt x="11" y="4"/>
                  </a:cubicBezTo>
                  <a:cubicBezTo>
                    <a:pt x="12" y="4"/>
                    <a:pt x="12" y="0"/>
                    <a:pt x="13" y="0"/>
                  </a:cubicBezTo>
                  <a:cubicBezTo>
                    <a:pt x="13" y="0"/>
                    <a:pt x="14" y="3"/>
                    <a:pt x="15" y="3"/>
                  </a:cubicBezTo>
                  <a:cubicBezTo>
                    <a:pt x="15" y="4"/>
                    <a:pt x="16" y="4"/>
                    <a:pt x="18" y="4"/>
                  </a:cubicBezTo>
                  <a:cubicBezTo>
                    <a:pt x="19" y="5"/>
                    <a:pt x="20" y="7"/>
                    <a:pt x="20" y="8"/>
                  </a:cubicBezTo>
                  <a:cubicBezTo>
                    <a:pt x="21" y="8"/>
                    <a:pt x="26" y="7"/>
                    <a:pt x="27" y="7"/>
                  </a:cubicBezTo>
                  <a:cubicBezTo>
                    <a:pt x="28" y="7"/>
                    <a:pt x="29" y="8"/>
                    <a:pt x="30" y="9"/>
                  </a:cubicBezTo>
                  <a:cubicBezTo>
                    <a:pt x="31" y="10"/>
                    <a:pt x="33" y="8"/>
                    <a:pt x="35" y="8"/>
                  </a:cubicBezTo>
                  <a:cubicBezTo>
                    <a:pt x="37" y="8"/>
                    <a:pt x="36" y="7"/>
                    <a:pt x="38" y="7"/>
                  </a:cubicBezTo>
                  <a:cubicBezTo>
                    <a:pt x="40" y="7"/>
                    <a:pt x="44" y="7"/>
                    <a:pt x="44" y="7"/>
                  </a:cubicBezTo>
                  <a:cubicBezTo>
                    <a:pt x="44" y="8"/>
                    <a:pt x="44" y="9"/>
                    <a:pt x="45" y="10"/>
                  </a:cubicBezTo>
                  <a:cubicBezTo>
                    <a:pt x="46" y="11"/>
                    <a:pt x="47" y="12"/>
                    <a:pt x="48" y="12"/>
                  </a:cubicBezTo>
                  <a:cubicBezTo>
                    <a:pt x="49" y="13"/>
                    <a:pt x="48" y="15"/>
                    <a:pt x="49" y="15"/>
                  </a:cubicBezTo>
                  <a:cubicBezTo>
                    <a:pt x="50" y="15"/>
                    <a:pt x="51" y="15"/>
                    <a:pt x="53" y="1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49" y="21"/>
                    <a:pt x="49" y="22"/>
                  </a:cubicBezTo>
                  <a:cubicBezTo>
                    <a:pt x="48" y="22"/>
                    <a:pt x="46" y="25"/>
                    <a:pt x="46" y="26"/>
                  </a:cubicBezTo>
                  <a:cubicBezTo>
                    <a:pt x="47" y="27"/>
                    <a:pt x="48" y="28"/>
                    <a:pt x="48" y="29"/>
                  </a:cubicBezTo>
                  <a:cubicBezTo>
                    <a:pt x="49" y="30"/>
                    <a:pt x="49" y="30"/>
                    <a:pt x="48" y="31"/>
                  </a:cubicBezTo>
                  <a:cubicBezTo>
                    <a:pt x="48" y="31"/>
                    <a:pt x="41" y="34"/>
                    <a:pt x="41" y="34"/>
                  </a:cubicBezTo>
                  <a:cubicBezTo>
                    <a:pt x="40" y="34"/>
                    <a:pt x="33" y="32"/>
                    <a:pt x="33" y="32"/>
                  </a:cubicBezTo>
                  <a:cubicBezTo>
                    <a:pt x="33" y="33"/>
                    <a:pt x="35" y="37"/>
                    <a:pt x="36" y="38"/>
                  </a:cubicBezTo>
                  <a:cubicBezTo>
                    <a:pt x="36" y="39"/>
                    <a:pt x="39" y="40"/>
                    <a:pt x="37" y="41"/>
                  </a:cubicBezTo>
                  <a:cubicBezTo>
                    <a:pt x="36" y="42"/>
                    <a:pt x="29" y="46"/>
                    <a:pt x="28" y="46"/>
                  </a:cubicBezTo>
                  <a:cubicBezTo>
                    <a:pt x="27" y="46"/>
                    <a:pt x="25" y="43"/>
                    <a:pt x="25" y="42"/>
                  </a:cubicBezTo>
                  <a:cubicBezTo>
                    <a:pt x="25" y="42"/>
                    <a:pt x="24" y="41"/>
                    <a:pt x="23" y="40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3" y="36"/>
                    <a:pt x="23" y="35"/>
                  </a:cubicBezTo>
                  <a:cubicBezTo>
                    <a:pt x="23" y="35"/>
                    <a:pt x="22" y="34"/>
                    <a:pt x="22" y="33"/>
                  </a:cubicBezTo>
                  <a:cubicBezTo>
                    <a:pt x="21" y="33"/>
                    <a:pt x="21" y="30"/>
                    <a:pt x="22" y="29"/>
                  </a:cubicBezTo>
                  <a:cubicBezTo>
                    <a:pt x="22" y="27"/>
                    <a:pt x="23" y="25"/>
                    <a:pt x="22" y="25"/>
                  </a:cubicBezTo>
                  <a:cubicBezTo>
                    <a:pt x="21" y="24"/>
                    <a:pt x="17" y="25"/>
                    <a:pt x="16" y="25"/>
                  </a:cubicBezTo>
                  <a:cubicBezTo>
                    <a:pt x="14" y="25"/>
                    <a:pt x="14" y="23"/>
                    <a:pt x="12" y="22"/>
                  </a:cubicBezTo>
                  <a:cubicBezTo>
                    <a:pt x="11" y="21"/>
                    <a:pt x="6" y="22"/>
                    <a:pt x="5" y="22"/>
                  </a:cubicBezTo>
                  <a:cubicBezTo>
                    <a:pt x="5" y="21"/>
                    <a:pt x="3" y="19"/>
                    <a:pt x="3" y="18"/>
                  </a:cubicBezTo>
                  <a:cubicBezTo>
                    <a:pt x="3" y="17"/>
                    <a:pt x="0" y="14"/>
                    <a:pt x="0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6" name="Freeform 6479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2725712" y="5526387"/>
              <a:ext cx="84371" cy="90414"/>
            </a:xfrm>
            <a:custGeom>
              <a:avLst/>
              <a:gdLst>
                <a:gd name="T0" fmla="*/ 1 w 14"/>
                <a:gd name="T1" fmla="*/ 1 h 14"/>
                <a:gd name="T2" fmla="*/ 3 w 14"/>
                <a:gd name="T3" fmla="*/ 5 h 14"/>
                <a:gd name="T4" fmla="*/ 8 w 14"/>
                <a:gd name="T5" fmla="*/ 8 h 14"/>
                <a:gd name="T6" fmla="*/ 13 w 14"/>
                <a:gd name="T7" fmla="*/ 10 h 14"/>
                <a:gd name="T8" fmla="*/ 14 w 14"/>
                <a:gd name="T9" fmla="*/ 10 h 14"/>
                <a:gd name="T10" fmla="*/ 12 w 14"/>
                <a:gd name="T11" fmla="*/ 12 h 14"/>
                <a:gd name="T12" fmla="*/ 9 w 14"/>
                <a:gd name="T13" fmla="*/ 12 h 14"/>
                <a:gd name="T14" fmla="*/ 8 w 14"/>
                <a:gd name="T15" fmla="*/ 14 h 14"/>
                <a:gd name="T16" fmla="*/ 5 w 14"/>
                <a:gd name="T17" fmla="*/ 12 h 14"/>
                <a:gd name="T18" fmla="*/ 0 w 14"/>
                <a:gd name="T19" fmla="*/ 12 h 14"/>
                <a:gd name="T20" fmla="*/ 0 w 14"/>
                <a:gd name="T21" fmla="*/ 12 h 14"/>
                <a:gd name="T22" fmla="*/ 0 w 14"/>
                <a:gd name="T23" fmla="*/ 0 h 14"/>
                <a:gd name="T24" fmla="*/ 1 w 14"/>
                <a:gd name="T2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" y="1"/>
                  </a:moveTo>
                  <a:cubicBezTo>
                    <a:pt x="2" y="1"/>
                    <a:pt x="2" y="3"/>
                    <a:pt x="3" y="5"/>
                  </a:cubicBezTo>
                  <a:cubicBezTo>
                    <a:pt x="4" y="6"/>
                    <a:pt x="6" y="7"/>
                    <a:pt x="8" y="8"/>
                  </a:cubicBezTo>
                  <a:cubicBezTo>
                    <a:pt x="9" y="10"/>
                    <a:pt x="11" y="10"/>
                    <a:pt x="13" y="10"/>
                  </a:cubicBezTo>
                  <a:cubicBezTo>
                    <a:pt x="13" y="10"/>
                    <a:pt x="14" y="9"/>
                    <a:pt x="14" y="10"/>
                  </a:cubicBezTo>
                  <a:cubicBezTo>
                    <a:pt x="14" y="10"/>
                    <a:pt x="13" y="12"/>
                    <a:pt x="12" y="12"/>
                  </a:cubicBezTo>
                  <a:cubicBezTo>
                    <a:pt x="12" y="12"/>
                    <a:pt x="10" y="12"/>
                    <a:pt x="9" y="12"/>
                  </a:cubicBezTo>
                  <a:cubicBezTo>
                    <a:pt x="9" y="13"/>
                    <a:pt x="9" y="14"/>
                    <a:pt x="8" y="14"/>
                  </a:cubicBezTo>
                  <a:cubicBezTo>
                    <a:pt x="8" y="14"/>
                    <a:pt x="6" y="13"/>
                    <a:pt x="5" y="12"/>
                  </a:cubicBezTo>
                  <a:cubicBezTo>
                    <a:pt x="3" y="12"/>
                    <a:pt x="1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7" name="Freeform 6480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2610092" y="4622446"/>
              <a:ext cx="465603" cy="892724"/>
            </a:xfrm>
            <a:custGeom>
              <a:avLst/>
              <a:gdLst>
                <a:gd name="T0" fmla="*/ 0 w 77"/>
                <a:gd name="T1" fmla="*/ 124 h 137"/>
                <a:gd name="T2" fmla="*/ 3 w 77"/>
                <a:gd name="T3" fmla="*/ 120 h 137"/>
                <a:gd name="T4" fmla="*/ 7 w 77"/>
                <a:gd name="T5" fmla="*/ 110 h 137"/>
                <a:gd name="T6" fmla="*/ 9 w 77"/>
                <a:gd name="T7" fmla="*/ 99 h 137"/>
                <a:gd name="T8" fmla="*/ 7 w 77"/>
                <a:gd name="T9" fmla="*/ 92 h 137"/>
                <a:gd name="T10" fmla="*/ 7 w 77"/>
                <a:gd name="T11" fmla="*/ 80 h 137"/>
                <a:gd name="T12" fmla="*/ 9 w 77"/>
                <a:gd name="T13" fmla="*/ 71 h 137"/>
                <a:gd name="T14" fmla="*/ 11 w 77"/>
                <a:gd name="T15" fmla="*/ 60 h 137"/>
                <a:gd name="T16" fmla="*/ 13 w 77"/>
                <a:gd name="T17" fmla="*/ 48 h 137"/>
                <a:gd name="T18" fmla="*/ 13 w 77"/>
                <a:gd name="T19" fmla="*/ 35 h 137"/>
                <a:gd name="T20" fmla="*/ 19 w 77"/>
                <a:gd name="T21" fmla="*/ 22 h 137"/>
                <a:gd name="T22" fmla="*/ 20 w 77"/>
                <a:gd name="T23" fmla="*/ 12 h 137"/>
                <a:gd name="T24" fmla="*/ 25 w 77"/>
                <a:gd name="T25" fmla="*/ 4 h 137"/>
                <a:gd name="T26" fmla="*/ 32 w 77"/>
                <a:gd name="T27" fmla="*/ 1 h 137"/>
                <a:gd name="T28" fmla="*/ 39 w 77"/>
                <a:gd name="T29" fmla="*/ 1 h 137"/>
                <a:gd name="T30" fmla="*/ 42 w 77"/>
                <a:gd name="T31" fmla="*/ 2 h 137"/>
                <a:gd name="T32" fmla="*/ 61 w 77"/>
                <a:gd name="T33" fmla="*/ 16 h 137"/>
                <a:gd name="T34" fmla="*/ 64 w 77"/>
                <a:gd name="T35" fmla="*/ 24 h 137"/>
                <a:gd name="T36" fmla="*/ 73 w 77"/>
                <a:gd name="T37" fmla="*/ 16 h 137"/>
                <a:gd name="T38" fmla="*/ 77 w 77"/>
                <a:gd name="T39" fmla="*/ 19 h 137"/>
                <a:gd name="T40" fmla="*/ 69 w 77"/>
                <a:gd name="T41" fmla="*/ 28 h 137"/>
                <a:gd name="T42" fmla="*/ 61 w 77"/>
                <a:gd name="T43" fmla="*/ 35 h 137"/>
                <a:gd name="T44" fmla="*/ 58 w 77"/>
                <a:gd name="T45" fmla="*/ 51 h 137"/>
                <a:gd name="T46" fmla="*/ 62 w 77"/>
                <a:gd name="T47" fmla="*/ 56 h 137"/>
                <a:gd name="T48" fmla="*/ 65 w 77"/>
                <a:gd name="T49" fmla="*/ 62 h 137"/>
                <a:gd name="T50" fmla="*/ 61 w 77"/>
                <a:gd name="T51" fmla="*/ 70 h 137"/>
                <a:gd name="T52" fmla="*/ 44 w 77"/>
                <a:gd name="T53" fmla="*/ 74 h 137"/>
                <a:gd name="T54" fmla="*/ 42 w 77"/>
                <a:gd name="T55" fmla="*/ 83 h 137"/>
                <a:gd name="T56" fmla="*/ 32 w 77"/>
                <a:gd name="T57" fmla="*/ 82 h 137"/>
                <a:gd name="T58" fmla="*/ 33 w 77"/>
                <a:gd name="T59" fmla="*/ 88 h 137"/>
                <a:gd name="T60" fmla="*/ 38 w 77"/>
                <a:gd name="T61" fmla="*/ 90 h 137"/>
                <a:gd name="T62" fmla="*/ 32 w 77"/>
                <a:gd name="T63" fmla="*/ 94 h 137"/>
                <a:gd name="T64" fmla="*/ 31 w 77"/>
                <a:gd name="T65" fmla="*/ 102 h 137"/>
                <a:gd name="T66" fmla="*/ 24 w 77"/>
                <a:gd name="T67" fmla="*/ 104 h 137"/>
                <a:gd name="T68" fmla="*/ 29 w 77"/>
                <a:gd name="T69" fmla="*/ 112 h 137"/>
                <a:gd name="T70" fmla="*/ 24 w 77"/>
                <a:gd name="T71" fmla="*/ 121 h 137"/>
                <a:gd name="T72" fmla="*/ 16 w 77"/>
                <a:gd name="T73" fmla="*/ 129 h 137"/>
                <a:gd name="T74" fmla="*/ 17 w 77"/>
                <a:gd name="T75" fmla="*/ 137 h 137"/>
                <a:gd name="T76" fmla="*/ 5 w 77"/>
                <a:gd name="T77" fmla="*/ 136 h 137"/>
                <a:gd name="T78" fmla="*/ 4 w 77"/>
                <a:gd name="T79" fmla="*/ 129 h 137"/>
                <a:gd name="connsiteX0" fmla="*/ 130 w 10000"/>
                <a:gd name="connsiteY0" fmla="*/ 9376 h 10060"/>
                <a:gd name="connsiteX1" fmla="*/ 0 w 10000"/>
                <a:gd name="connsiteY1" fmla="*/ 9011 h 10060"/>
                <a:gd name="connsiteX2" fmla="*/ 130 w 10000"/>
                <a:gd name="connsiteY2" fmla="*/ 8792 h 10060"/>
                <a:gd name="connsiteX3" fmla="*/ 390 w 10000"/>
                <a:gd name="connsiteY3" fmla="*/ 8719 h 10060"/>
                <a:gd name="connsiteX4" fmla="*/ 519 w 10000"/>
                <a:gd name="connsiteY4" fmla="*/ 8281 h 10060"/>
                <a:gd name="connsiteX5" fmla="*/ 909 w 10000"/>
                <a:gd name="connsiteY5" fmla="*/ 7989 h 10060"/>
                <a:gd name="connsiteX6" fmla="*/ 909 w 10000"/>
                <a:gd name="connsiteY6" fmla="*/ 7624 h 10060"/>
                <a:gd name="connsiteX7" fmla="*/ 1169 w 10000"/>
                <a:gd name="connsiteY7" fmla="*/ 7186 h 10060"/>
                <a:gd name="connsiteX8" fmla="*/ 779 w 10000"/>
                <a:gd name="connsiteY8" fmla="*/ 7113 h 10060"/>
                <a:gd name="connsiteX9" fmla="*/ 909 w 10000"/>
                <a:gd name="connsiteY9" fmla="*/ 6675 h 10060"/>
                <a:gd name="connsiteX10" fmla="*/ 1039 w 10000"/>
                <a:gd name="connsiteY10" fmla="*/ 6383 h 10060"/>
                <a:gd name="connsiteX11" fmla="*/ 909 w 10000"/>
                <a:gd name="connsiteY11" fmla="*/ 5799 h 10060"/>
                <a:gd name="connsiteX12" fmla="*/ 1039 w 10000"/>
                <a:gd name="connsiteY12" fmla="*/ 5361 h 10060"/>
                <a:gd name="connsiteX13" fmla="*/ 1169 w 10000"/>
                <a:gd name="connsiteY13" fmla="*/ 5142 h 10060"/>
                <a:gd name="connsiteX14" fmla="*/ 1169 w 10000"/>
                <a:gd name="connsiteY14" fmla="*/ 4559 h 10060"/>
                <a:gd name="connsiteX15" fmla="*/ 1429 w 10000"/>
                <a:gd name="connsiteY15" fmla="*/ 4340 h 10060"/>
                <a:gd name="connsiteX16" fmla="*/ 1688 w 10000"/>
                <a:gd name="connsiteY16" fmla="*/ 3756 h 10060"/>
                <a:gd name="connsiteX17" fmla="*/ 1688 w 10000"/>
                <a:gd name="connsiteY17" fmla="*/ 3464 h 10060"/>
                <a:gd name="connsiteX18" fmla="*/ 1429 w 10000"/>
                <a:gd name="connsiteY18" fmla="*/ 2807 h 10060"/>
                <a:gd name="connsiteX19" fmla="*/ 1688 w 10000"/>
                <a:gd name="connsiteY19" fmla="*/ 2515 h 10060"/>
                <a:gd name="connsiteX20" fmla="*/ 1818 w 10000"/>
                <a:gd name="connsiteY20" fmla="*/ 2077 h 10060"/>
                <a:gd name="connsiteX21" fmla="*/ 2468 w 10000"/>
                <a:gd name="connsiteY21" fmla="*/ 1566 h 10060"/>
                <a:gd name="connsiteX22" fmla="*/ 2468 w 10000"/>
                <a:gd name="connsiteY22" fmla="*/ 1128 h 10060"/>
                <a:gd name="connsiteX23" fmla="*/ 2597 w 10000"/>
                <a:gd name="connsiteY23" fmla="*/ 836 h 10060"/>
                <a:gd name="connsiteX24" fmla="*/ 3117 w 10000"/>
                <a:gd name="connsiteY24" fmla="*/ 617 h 10060"/>
                <a:gd name="connsiteX25" fmla="*/ 3247 w 10000"/>
                <a:gd name="connsiteY25" fmla="*/ 252 h 10060"/>
                <a:gd name="connsiteX26" fmla="*/ 3636 w 10000"/>
                <a:gd name="connsiteY26" fmla="*/ 33 h 10060"/>
                <a:gd name="connsiteX27" fmla="*/ 4156 w 10000"/>
                <a:gd name="connsiteY27" fmla="*/ 33 h 10060"/>
                <a:gd name="connsiteX28" fmla="*/ 4545 w 10000"/>
                <a:gd name="connsiteY28" fmla="*/ 252 h 10060"/>
                <a:gd name="connsiteX29" fmla="*/ 5065 w 10000"/>
                <a:gd name="connsiteY29" fmla="*/ 33 h 10060"/>
                <a:gd name="connsiteX30" fmla="*/ 5325 w 10000"/>
                <a:gd name="connsiteY30" fmla="*/ 106 h 10060"/>
                <a:gd name="connsiteX31" fmla="*/ 5455 w 10000"/>
                <a:gd name="connsiteY31" fmla="*/ 106 h 10060"/>
                <a:gd name="connsiteX32" fmla="*/ 6494 w 10000"/>
                <a:gd name="connsiteY32" fmla="*/ 617 h 10060"/>
                <a:gd name="connsiteX33" fmla="*/ 7922 w 10000"/>
                <a:gd name="connsiteY33" fmla="*/ 1128 h 10060"/>
                <a:gd name="connsiteX34" fmla="*/ 7403 w 10000"/>
                <a:gd name="connsiteY34" fmla="*/ 1639 h 10060"/>
                <a:gd name="connsiteX35" fmla="*/ 8312 w 10000"/>
                <a:gd name="connsiteY35" fmla="*/ 1712 h 10060"/>
                <a:gd name="connsiteX36" fmla="*/ 9091 w 10000"/>
                <a:gd name="connsiteY36" fmla="*/ 1493 h 10060"/>
                <a:gd name="connsiteX37" fmla="*/ 9481 w 10000"/>
                <a:gd name="connsiteY37" fmla="*/ 1128 h 10060"/>
                <a:gd name="connsiteX38" fmla="*/ 9740 w 10000"/>
                <a:gd name="connsiteY38" fmla="*/ 1128 h 10060"/>
                <a:gd name="connsiteX39" fmla="*/ 10000 w 10000"/>
                <a:gd name="connsiteY39" fmla="*/ 1347 h 10060"/>
                <a:gd name="connsiteX40" fmla="*/ 9740 w 10000"/>
                <a:gd name="connsiteY40" fmla="*/ 1639 h 10060"/>
                <a:gd name="connsiteX41" fmla="*/ 8961 w 10000"/>
                <a:gd name="connsiteY41" fmla="*/ 2004 h 10060"/>
                <a:gd name="connsiteX42" fmla="*/ 8182 w 10000"/>
                <a:gd name="connsiteY42" fmla="*/ 2442 h 10060"/>
                <a:gd name="connsiteX43" fmla="*/ 7922 w 10000"/>
                <a:gd name="connsiteY43" fmla="*/ 2515 h 10060"/>
                <a:gd name="connsiteX44" fmla="*/ 7792 w 10000"/>
                <a:gd name="connsiteY44" fmla="*/ 2807 h 10060"/>
                <a:gd name="connsiteX45" fmla="*/ 7532 w 10000"/>
                <a:gd name="connsiteY45" fmla="*/ 3683 h 10060"/>
                <a:gd name="connsiteX46" fmla="*/ 7532 w 10000"/>
                <a:gd name="connsiteY46" fmla="*/ 3829 h 10060"/>
                <a:gd name="connsiteX47" fmla="*/ 8052 w 10000"/>
                <a:gd name="connsiteY47" fmla="*/ 4048 h 10060"/>
                <a:gd name="connsiteX48" fmla="*/ 8052 w 10000"/>
                <a:gd name="connsiteY48" fmla="*/ 4340 h 10060"/>
                <a:gd name="connsiteX49" fmla="*/ 8442 w 10000"/>
                <a:gd name="connsiteY49" fmla="*/ 4486 h 10060"/>
                <a:gd name="connsiteX50" fmla="*/ 8182 w 10000"/>
                <a:gd name="connsiteY50" fmla="*/ 4778 h 10060"/>
                <a:gd name="connsiteX51" fmla="*/ 7922 w 10000"/>
                <a:gd name="connsiteY51" fmla="*/ 5069 h 10060"/>
                <a:gd name="connsiteX52" fmla="*/ 6883 w 10000"/>
                <a:gd name="connsiteY52" fmla="*/ 5288 h 10060"/>
                <a:gd name="connsiteX53" fmla="*/ 5714 w 10000"/>
                <a:gd name="connsiteY53" fmla="*/ 5361 h 10060"/>
                <a:gd name="connsiteX54" fmla="*/ 5714 w 10000"/>
                <a:gd name="connsiteY54" fmla="*/ 5872 h 10060"/>
                <a:gd name="connsiteX55" fmla="*/ 5455 w 10000"/>
                <a:gd name="connsiteY55" fmla="*/ 6018 h 10060"/>
                <a:gd name="connsiteX56" fmla="*/ 4805 w 10000"/>
                <a:gd name="connsiteY56" fmla="*/ 6018 h 10060"/>
                <a:gd name="connsiteX57" fmla="*/ 4156 w 10000"/>
                <a:gd name="connsiteY57" fmla="*/ 5945 h 10060"/>
                <a:gd name="connsiteX58" fmla="*/ 4156 w 10000"/>
                <a:gd name="connsiteY58" fmla="*/ 6164 h 10060"/>
                <a:gd name="connsiteX59" fmla="*/ 4286 w 10000"/>
                <a:gd name="connsiteY59" fmla="*/ 6383 h 10060"/>
                <a:gd name="connsiteX60" fmla="*/ 4805 w 10000"/>
                <a:gd name="connsiteY60" fmla="*/ 6310 h 10060"/>
                <a:gd name="connsiteX61" fmla="*/ 4935 w 10000"/>
                <a:gd name="connsiteY61" fmla="*/ 6529 h 10060"/>
                <a:gd name="connsiteX62" fmla="*/ 4675 w 10000"/>
                <a:gd name="connsiteY62" fmla="*/ 6675 h 10060"/>
                <a:gd name="connsiteX63" fmla="*/ 4156 w 10000"/>
                <a:gd name="connsiteY63" fmla="*/ 6821 h 10060"/>
                <a:gd name="connsiteX64" fmla="*/ 4026 w 10000"/>
                <a:gd name="connsiteY64" fmla="*/ 7186 h 10060"/>
                <a:gd name="connsiteX65" fmla="*/ 4026 w 10000"/>
                <a:gd name="connsiteY65" fmla="*/ 7405 h 10060"/>
                <a:gd name="connsiteX66" fmla="*/ 3636 w 10000"/>
                <a:gd name="connsiteY66" fmla="*/ 7405 h 10060"/>
                <a:gd name="connsiteX67" fmla="*/ 3117 w 10000"/>
                <a:gd name="connsiteY67" fmla="*/ 7551 h 10060"/>
                <a:gd name="connsiteX68" fmla="*/ 3117 w 10000"/>
                <a:gd name="connsiteY68" fmla="*/ 7989 h 10060"/>
                <a:gd name="connsiteX69" fmla="*/ 3766 w 10000"/>
                <a:gd name="connsiteY69" fmla="*/ 8135 h 10060"/>
                <a:gd name="connsiteX70" fmla="*/ 3896 w 10000"/>
                <a:gd name="connsiteY70" fmla="*/ 8354 h 10060"/>
                <a:gd name="connsiteX71" fmla="*/ 3117 w 10000"/>
                <a:gd name="connsiteY71" fmla="*/ 8792 h 10060"/>
                <a:gd name="connsiteX72" fmla="*/ 2857 w 10000"/>
                <a:gd name="connsiteY72" fmla="*/ 9157 h 10060"/>
                <a:gd name="connsiteX73" fmla="*/ 2078 w 10000"/>
                <a:gd name="connsiteY73" fmla="*/ 9376 h 10060"/>
                <a:gd name="connsiteX74" fmla="*/ 2208 w 10000"/>
                <a:gd name="connsiteY74" fmla="*/ 9814 h 10060"/>
                <a:gd name="connsiteX75" fmla="*/ 2208 w 10000"/>
                <a:gd name="connsiteY75" fmla="*/ 9960 h 10060"/>
                <a:gd name="connsiteX76" fmla="*/ 1613 w 10000"/>
                <a:gd name="connsiteY76" fmla="*/ 10060 h 10060"/>
                <a:gd name="connsiteX77" fmla="*/ 649 w 10000"/>
                <a:gd name="connsiteY77" fmla="*/ 9887 h 10060"/>
                <a:gd name="connsiteX78" fmla="*/ 519 w 10000"/>
                <a:gd name="connsiteY78" fmla="*/ 9668 h 10060"/>
                <a:gd name="connsiteX79" fmla="*/ 519 w 10000"/>
                <a:gd name="connsiteY79" fmla="*/ 9376 h 10060"/>
                <a:gd name="connsiteX80" fmla="*/ 130 w 10000"/>
                <a:gd name="connsiteY80" fmla="*/ 9376 h 10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000" h="10060">
                  <a:moveTo>
                    <a:pt x="130" y="9376"/>
                  </a:moveTo>
                  <a:cubicBezTo>
                    <a:pt x="0" y="9303"/>
                    <a:pt x="0" y="9084"/>
                    <a:pt x="0" y="9011"/>
                  </a:cubicBezTo>
                  <a:cubicBezTo>
                    <a:pt x="0" y="8938"/>
                    <a:pt x="0" y="8865"/>
                    <a:pt x="130" y="8792"/>
                  </a:cubicBezTo>
                  <a:cubicBezTo>
                    <a:pt x="260" y="8792"/>
                    <a:pt x="390" y="8719"/>
                    <a:pt x="390" y="8719"/>
                  </a:cubicBezTo>
                  <a:cubicBezTo>
                    <a:pt x="519" y="8646"/>
                    <a:pt x="519" y="8354"/>
                    <a:pt x="519" y="8281"/>
                  </a:cubicBezTo>
                  <a:cubicBezTo>
                    <a:pt x="649" y="8208"/>
                    <a:pt x="779" y="8135"/>
                    <a:pt x="909" y="7989"/>
                  </a:cubicBezTo>
                  <a:cubicBezTo>
                    <a:pt x="909" y="7916"/>
                    <a:pt x="779" y="7624"/>
                    <a:pt x="909" y="7624"/>
                  </a:cubicBezTo>
                  <a:cubicBezTo>
                    <a:pt x="1039" y="7551"/>
                    <a:pt x="1169" y="7332"/>
                    <a:pt x="1169" y="7186"/>
                  </a:cubicBezTo>
                  <a:lnTo>
                    <a:pt x="779" y="7113"/>
                  </a:lnTo>
                  <a:cubicBezTo>
                    <a:pt x="779" y="7040"/>
                    <a:pt x="909" y="6748"/>
                    <a:pt x="909" y="6675"/>
                  </a:cubicBezTo>
                  <a:cubicBezTo>
                    <a:pt x="649" y="6529"/>
                    <a:pt x="1039" y="6456"/>
                    <a:pt x="1039" y="6383"/>
                  </a:cubicBezTo>
                  <a:cubicBezTo>
                    <a:pt x="1039" y="6310"/>
                    <a:pt x="909" y="5872"/>
                    <a:pt x="909" y="5799"/>
                  </a:cubicBezTo>
                  <a:cubicBezTo>
                    <a:pt x="909" y="5726"/>
                    <a:pt x="909" y="5434"/>
                    <a:pt x="1039" y="5361"/>
                  </a:cubicBezTo>
                  <a:cubicBezTo>
                    <a:pt x="1169" y="5288"/>
                    <a:pt x="1299" y="5215"/>
                    <a:pt x="1169" y="5142"/>
                  </a:cubicBezTo>
                  <a:cubicBezTo>
                    <a:pt x="1169" y="4996"/>
                    <a:pt x="1039" y="4632"/>
                    <a:pt x="1169" y="4559"/>
                  </a:cubicBezTo>
                  <a:cubicBezTo>
                    <a:pt x="1299" y="4486"/>
                    <a:pt x="1429" y="4413"/>
                    <a:pt x="1429" y="4340"/>
                  </a:cubicBezTo>
                  <a:cubicBezTo>
                    <a:pt x="1429" y="4267"/>
                    <a:pt x="1688" y="3829"/>
                    <a:pt x="1688" y="3756"/>
                  </a:cubicBezTo>
                  <a:cubicBezTo>
                    <a:pt x="1688" y="3683"/>
                    <a:pt x="1818" y="3537"/>
                    <a:pt x="1688" y="3464"/>
                  </a:cubicBezTo>
                  <a:cubicBezTo>
                    <a:pt x="1688" y="3391"/>
                    <a:pt x="1299" y="2880"/>
                    <a:pt x="1429" y="2807"/>
                  </a:cubicBezTo>
                  <a:cubicBezTo>
                    <a:pt x="1558" y="2734"/>
                    <a:pt x="1688" y="2515"/>
                    <a:pt x="1688" y="2515"/>
                  </a:cubicBezTo>
                  <a:cubicBezTo>
                    <a:pt x="1818" y="2442"/>
                    <a:pt x="1688" y="2150"/>
                    <a:pt x="1818" y="2077"/>
                  </a:cubicBezTo>
                  <a:cubicBezTo>
                    <a:pt x="1948" y="1931"/>
                    <a:pt x="2338" y="1639"/>
                    <a:pt x="2468" y="1566"/>
                  </a:cubicBezTo>
                  <a:cubicBezTo>
                    <a:pt x="2597" y="1493"/>
                    <a:pt x="2468" y="1201"/>
                    <a:pt x="2468" y="1128"/>
                  </a:cubicBezTo>
                  <a:cubicBezTo>
                    <a:pt x="2468" y="1055"/>
                    <a:pt x="2338" y="909"/>
                    <a:pt x="2597" y="836"/>
                  </a:cubicBezTo>
                  <a:cubicBezTo>
                    <a:pt x="2727" y="763"/>
                    <a:pt x="2987" y="617"/>
                    <a:pt x="3117" y="617"/>
                  </a:cubicBezTo>
                  <a:lnTo>
                    <a:pt x="3247" y="252"/>
                  </a:lnTo>
                  <a:lnTo>
                    <a:pt x="3636" y="33"/>
                  </a:lnTo>
                  <a:cubicBezTo>
                    <a:pt x="3636" y="-40"/>
                    <a:pt x="4026" y="33"/>
                    <a:pt x="4156" y="33"/>
                  </a:cubicBezTo>
                  <a:cubicBezTo>
                    <a:pt x="4416" y="33"/>
                    <a:pt x="4416" y="252"/>
                    <a:pt x="4545" y="252"/>
                  </a:cubicBezTo>
                  <a:cubicBezTo>
                    <a:pt x="4675" y="252"/>
                    <a:pt x="4935" y="33"/>
                    <a:pt x="5065" y="33"/>
                  </a:cubicBezTo>
                  <a:cubicBezTo>
                    <a:pt x="5195" y="33"/>
                    <a:pt x="5325" y="33"/>
                    <a:pt x="5325" y="106"/>
                  </a:cubicBezTo>
                  <a:lnTo>
                    <a:pt x="5455" y="106"/>
                  </a:lnTo>
                  <a:cubicBezTo>
                    <a:pt x="5455" y="252"/>
                    <a:pt x="6364" y="617"/>
                    <a:pt x="6494" y="617"/>
                  </a:cubicBezTo>
                  <a:cubicBezTo>
                    <a:pt x="6753" y="763"/>
                    <a:pt x="7922" y="1055"/>
                    <a:pt x="7922" y="1128"/>
                  </a:cubicBezTo>
                  <a:cubicBezTo>
                    <a:pt x="7922" y="1201"/>
                    <a:pt x="7273" y="1566"/>
                    <a:pt x="7403" y="1639"/>
                  </a:cubicBezTo>
                  <a:cubicBezTo>
                    <a:pt x="7532" y="1712"/>
                    <a:pt x="8052" y="1712"/>
                    <a:pt x="8312" y="1712"/>
                  </a:cubicBezTo>
                  <a:cubicBezTo>
                    <a:pt x="8571" y="1712"/>
                    <a:pt x="8961" y="1493"/>
                    <a:pt x="9091" y="1493"/>
                  </a:cubicBezTo>
                  <a:cubicBezTo>
                    <a:pt x="9221" y="1420"/>
                    <a:pt x="9351" y="1201"/>
                    <a:pt x="9481" y="1128"/>
                  </a:cubicBezTo>
                  <a:lnTo>
                    <a:pt x="9740" y="1128"/>
                  </a:lnTo>
                  <a:cubicBezTo>
                    <a:pt x="9870" y="1128"/>
                    <a:pt x="10000" y="1274"/>
                    <a:pt x="10000" y="1347"/>
                  </a:cubicBezTo>
                  <a:cubicBezTo>
                    <a:pt x="9870" y="1420"/>
                    <a:pt x="9870" y="1566"/>
                    <a:pt x="9740" y="1639"/>
                  </a:cubicBezTo>
                  <a:cubicBezTo>
                    <a:pt x="9610" y="1639"/>
                    <a:pt x="9221" y="1858"/>
                    <a:pt x="8961" y="2004"/>
                  </a:cubicBezTo>
                  <a:cubicBezTo>
                    <a:pt x="8701" y="2077"/>
                    <a:pt x="8442" y="2296"/>
                    <a:pt x="8182" y="2442"/>
                  </a:cubicBezTo>
                  <a:cubicBezTo>
                    <a:pt x="8052" y="2515"/>
                    <a:pt x="8052" y="2515"/>
                    <a:pt x="7922" y="2515"/>
                  </a:cubicBezTo>
                  <a:cubicBezTo>
                    <a:pt x="7792" y="2588"/>
                    <a:pt x="7792" y="2734"/>
                    <a:pt x="7792" y="2807"/>
                  </a:cubicBezTo>
                  <a:cubicBezTo>
                    <a:pt x="7792" y="2953"/>
                    <a:pt x="7532" y="3683"/>
                    <a:pt x="7532" y="3683"/>
                  </a:cubicBezTo>
                  <a:lnTo>
                    <a:pt x="7532" y="3829"/>
                  </a:lnTo>
                  <a:cubicBezTo>
                    <a:pt x="7532" y="3975"/>
                    <a:pt x="7922" y="3975"/>
                    <a:pt x="8052" y="4048"/>
                  </a:cubicBezTo>
                  <a:cubicBezTo>
                    <a:pt x="8312" y="4121"/>
                    <a:pt x="8052" y="4194"/>
                    <a:pt x="8052" y="4340"/>
                  </a:cubicBezTo>
                  <a:cubicBezTo>
                    <a:pt x="8052" y="4486"/>
                    <a:pt x="8442" y="4413"/>
                    <a:pt x="8442" y="4486"/>
                  </a:cubicBezTo>
                  <a:cubicBezTo>
                    <a:pt x="8442" y="4559"/>
                    <a:pt x="8312" y="4705"/>
                    <a:pt x="8182" y="4778"/>
                  </a:cubicBezTo>
                  <a:cubicBezTo>
                    <a:pt x="8052" y="4778"/>
                    <a:pt x="8052" y="4996"/>
                    <a:pt x="7922" y="5069"/>
                  </a:cubicBezTo>
                  <a:cubicBezTo>
                    <a:pt x="7792" y="5142"/>
                    <a:pt x="7013" y="5215"/>
                    <a:pt x="6883" y="5288"/>
                  </a:cubicBezTo>
                  <a:cubicBezTo>
                    <a:pt x="6623" y="5361"/>
                    <a:pt x="5714" y="5288"/>
                    <a:pt x="5714" y="5361"/>
                  </a:cubicBezTo>
                  <a:lnTo>
                    <a:pt x="5714" y="5872"/>
                  </a:lnTo>
                  <a:cubicBezTo>
                    <a:pt x="5714" y="5945"/>
                    <a:pt x="5584" y="5945"/>
                    <a:pt x="5455" y="6018"/>
                  </a:cubicBezTo>
                  <a:lnTo>
                    <a:pt x="4805" y="6018"/>
                  </a:lnTo>
                  <a:cubicBezTo>
                    <a:pt x="4675" y="6018"/>
                    <a:pt x="4286" y="5945"/>
                    <a:pt x="4156" y="5945"/>
                  </a:cubicBezTo>
                  <a:cubicBezTo>
                    <a:pt x="4026" y="5945"/>
                    <a:pt x="4156" y="6164"/>
                    <a:pt x="4156" y="6164"/>
                  </a:cubicBezTo>
                  <a:cubicBezTo>
                    <a:pt x="4156" y="6237"/>
                    <a:pt x="4286" y="6310"/>
                    <a:pt x="4286" y="6383"/>
                  </a:cubicBezTo>
                  <a:cubicBezTo>
                    <a:pt x="4416" y="6383"/>
                    <a:pt x="4675" y="6310"/>
                    <a:pt x="4805" y="6310"/>
                  </a:cubicBezTo>
                  <a:cubicBezTo>
                    <a:pt x="4935" y="6383"/>
                    <a:pt x="4935" y="6456"/>
                    <a:pt x="4935" y="6529"/>
                  </a:cubicBezTo>
                  <a:cubicBezTo>
                    <a:pt x="4935" y="6602"/>
                    <a:pt x="4675" y="6675"/>
                    <a:pt x="4675" y="6675"/>
                  </a:cubicBezTo>
                  <a:cubicBezTo>
                    <a:pt x="4545" y="6675"/>
                    <a:pt x="4286" y="6748"/>
                    <a:pt x="4156" y="6821"/>
                  </a:cubicBezTo>
                  <a:cubicBezTo>
                    <a:pt x="4026" y="6894"/>
                    <a:pt x="4026" y="7040"/>
                    <a:pt x="4026" y="7186"/>
                  </a:cubicBezTo>
                  <a:lnTo>
                    <a:pt x="4026" y="7405"/>
                  </a:lnTo>
                  <a:lnTo>
                    <a:pt x="3636" y="7405"/>
                  </a:lnTo>
                  <a:cubicBezTo>
                    <a:pt x="3506" y="7405"/>
                    <a:pt x="3247" y="7478"/>
                    <a:pt x="3117" y="7551"/>
                  </a:cubicBezTo>
                  <a:cubicBezTo>
                    <a:pt x="2987" y="7697"/>
                    <a:pt x="2987" y="7843"/>
                    <a:pt x="3117" y="7989"/>
                  </a:cubicBezTo>
                  <a:cubicBezTo>
                    <a:pt x="3377" y="8062"/>
                    <a:pt x="3636" y="8062"/>
                    <a:pt x="3766" y="8135"/>
                  </a:cubicBezTo>
                  <a:cubicBezTo>
                    <a:pt x="3896" y="8135"/>
                    <a:pt x="3896" y="8281"/>
                    <a:pt x="3896" y="8354"/>
                  </a:cubicBezTo>
                  <a:cubicBezTo>
                    <a:pt x="3896" y="8500"/>
                    <a:pt x="3247" y="8719"/>
                    <a:pt x="3117" y="8792"/>
                  </a:cubicBezTo>
                  <a:cubicBezTo>
                    <a:pt x="2987" y="8865"/>
                    <a:pt x="2857" y="9084"/>
                    <a:pt x="2857" y="9157"/>
                  </a:cubicBezTo>
                  <a:cubicBezTo>
                    <a:pt x="2727" y="9230"/>
                    <a:pt x="2208" y="9303"/>
                    <a:pt x="2078" y="9376"/>
                  </a:cubicBezTo>
                  <a:cubicBezTo>
                    <a:pt x="2078" y="9449"/>
                    <a:pt x="2078" y="9668"/>
                    <a:pt x="2208" y="9814"/>
                  </a:cubicBezTo>
                  <a:cubicBezTo>
                    <a:pt x="2338" y="9887"/>
                    <a:pt x="2307" y="9919"/>
                    <a:pt x="2208" y="9960"/>
                  </a:cubicBezTo>
                  <a:cubicBezTo>
                    <a:pt x="2109" y="10001"/>
                    <a:pt x="1613" y="10060"/>
                    <a:pt x="1613" y="10060"/>
                  </a:cubicBezTo>
                  <a:cubicBezTo>
                    <a:pt x="444" y="10060"/>
                    <a:pt x="831" y="9952"/>
                    <a:pt x="649" y="9887"/>
                  </a:cubicBezTo>
                  <a:cubicBezTo>
                    <a:pt x="467" y="9822"/>
                    <a:pt x="519" y="9741"/>
                    <a:pt x="519" y="9668"/>
                  </a:cubicBezTo>
                  <a:cubicBezTo>
                    <a:pt x="519" y="9668"/>
                    <a:pt x="649" y="9449"/>
                    <a:pt x="519" y="9376"/>
                  </a:cubicBezTo>
                  <a:lnTo>
                    <a:pt x="130" y="9376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8" name="Freeform 6481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2653840" y="5526387"/>
              <a:ext cx="71872" cy="83717"/>
            </a:xfrm>
            <a:custGeom>
              <a:avLst/>
              <a:gdLst>
                <a:gd name="T0" fmla="*/ 2 w 12"/>
                <a:gd name="T1" fmla="*/ 12 h 13"/>
                <a:gd name="T2" fmla="*/ 0 w 12"/>
                <a:gd name="T3" fmla="*/ 10 h 13"/>
                <a:gd name="T4" fmla="*/ 7 w 12"/>
                <a:gd name="T5" fmla="*/ 9 h 13"/>
                <a:gd name="T6" fmla="*/ 6 w 12"/>
                <a:gd name="T7" fmla="*/ 7 h 13"/>
                <a:gd name="T8" fmla="*/ 9 w 12"/>
                <a:gd name="T9" fmla="*/ 4 h 13"/>
                <a:gd name="T10" fmla="*/ 6 w 12"/>
                <a:gd name="T11" fmla="*/ 4 h 13"/>
                <a:gd name="T12" fmla="*/ 5 w 12"/>
                <a:gd name="T13" fmla="*/ 3 h 13"/>
                <a:gd name="T14" fmla="*/ 8 w 12"/>
                <a:gd name="T15" fmla="*/ 1 h 13"/>
                <a:gd name="T16" fmla="*/ 11 w 12"/>
                <a:gd name="T17" fmla="*/ 0 h 13"/>
                <a:gd name="T18" fmla="*/ 12 w 12"/>
                <a:gd name="T19" fmla="*/ 0 h 13"/>
                <a:gd name="T20" fmla="*/ 12 w 12"/>
                <a:gd name="T21" fmla="*/ 12 h 13"/>
                <a:gd name="T22" fmla="*/ 12 w 12"/>
                <a:gd name="T23" fmla="*/ 12 h 13"/>
                <a:gd name="T24" fmla="*/ 11 w 12"/>
                <a:gd name="T25" fmla="*/ 12 h 13"/>
                <a:gd name="T26" fmla="*/ 2 w 12"/>
                <a:gd name="T2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3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9"/>
                    <a:pt x="6" y="9"/>
                    <a:pt x="7" y="9"/>
                  </a:cubicBezTo>
                  <a:cubicBezTo>
                    <a:pt x="7" y="9"/>
                    <a:pt x="6" y="7"/>
                    <a:pt x="6" y="7"/>
                  </a:cubicBezTo>
                  <a:cubicBezTo>
                    <a:pt x="6" y="6"/>
                    <a:pt x="9" y="6"/>
                    <a:pt x="9" y="4"/>
                  </a:cubicBezTo>
                  <a:cubicBezTo>
                    <a:pt x="9" y="3"/>
                    <a:pt x="7" y="4"/>
                    <a:pt x="6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2"/>
                    <a:pt x="3" y="13"/>
                    <a:pt x="2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19" name="Freeform 6482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2563220" y="5241749"/>
              <a:ext cx="37498" cy="46882"/>
            </a:xfrm>
            <a:custGeom>
              <a:avLst/>
              <a:gdLst>
                <a:gd name="T0" fmla="*/ 2 w 6"/>
                <a:gd name="T1" fmla="*/ 5 h 7"/>
                <a:gd name="T2" fmla="*/ 0 w 6"/>
                <a:gd name="T3" fmla="*/ 3 h 7"/>
                <a:gd name="T4" fmla="*/ 2 w 6"/>
                <a:gd name="T5" fmla="*/ 2 h 7"/>
                <a:gd name="T6" fmla="*/ 3 w 6"/>
                <a:gd name="T7" fmla="*/ 0 h 7"/>
                <a:gd name="T8" fmla="*/ 6 w 6"/>
                <a:gd name="T9" fmla="*/ 0 h 7"/>
                <a:gd name="T10" fmla="*/ 6 w 6"/>
                <a:gd name="T11" fmla="*/ 4 h 7"/>
                <a:gd name="T12" fmla="*/ 5 w 6"/>
                <a:gd name="T13" fmla="*/ 6 h 7"/>
                <a:gd name="T14" fmla="*/ 4 w 6"/>
                <a:gd name="T15" fmla="*/ 7 h 7"/>
                <a:gd name="T16" fmla="*/ 1 w 6"/>
                <a:gd name="T17" fmla="*/ 7 h 7"/>
                <a:gd name="T18" fmla="*/ 2 w 6"/>
                <a:gd name="T1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2" y="5"/>
                  </a:moveTo>
                  <a:cubicBezTo>
                    <a:pt x="2" y="4"/>
                    <a:pt x="0" y="4"/>
                    <a:pt x="0" y="3"/>
                  </a:cubicBezTo>
                  <a:cubicBezTo>
                    <a:pt x="0" y="3"/>
                    <a:pt x="2" y="3"/>
                    <a:pt x="2" y="2"/>
                  </a:cubicBezTo>
                  <a:cubicBezTo>
                    <a:pt x="3" y="2"/>
                    <a:pt x="3" y="0"/>
                    <a:pt x="3" y="0"/>
                  </a:cubicBezTo>
                  <a:cubicBezTo>
                    <a:pt x="4" y="0"/>
                    <a:pt x="6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6"/>
                    <a:pt x="5" y="7"/>
                    <a:pt x="4" y="7"/>
                  </a:cubicBezTo>
                  <a:cubicBezTo>
                    <a:pt x="3" y="7"/>
                    <a:pt x="1" y="7"/>
                    <a:pt x="1" y="7"/>
                  </a:cubicBezTo>
                  <a:cubicBezTo>
                    <a:pt x="1" y="6"/>
                    <a:pt x="3" y="5"/>
                    <a:pt x="2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0" name="Freeform 6483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2556970" y="4515086"/>
              <a:ext cx="206240" cy="1064879"/>
            </a:xfrm>
            <a:custGeom>
              <a:avLst/>
              <a:gdLst>
                <a:gd name="T0" fmla="*/ 1 w 34"/>
                <a:gd name="T1" fmla="*/ 144 h 164"/>
                <a:gd name="T2" fmla="*/ 1 w 34"/>
                <a:gd name="T3" fmla="*/ 141 h 164"/>
                <a:gd name="T4" fmla="*/ 0 w 34"/>
                <a:gd name="T5" fmla="*/ 134 h 164"/>
                <a:gd name="T6" fmla="*/ 6 w 34"/>
                <a:gd name="T7" fmla="*/ 128 h 164"/>
                <a:gd name="T8" fmla="*/ 1 w 34"/>
                <a:gd name="T9" fmla="*/ 127 h 164"/>
                <a:gd name="T10" fmla="*/ 2 w 34"/>
                <a:gd name="T11" fmla="*/ 123 h 164"/>
                <a:gd name="T12" fmla="*/ 8 w 34"/>
                <a:gd name="T13" fmla="*/ 123 h 164"/>
                <a:gd name="T14" fmla="*/ 9 w 34"/>
                <a:gd name="T15" fmla="*/ 117 h 164"/>
                <a:gd name="T16" fmla="*/ 10 w 34"/>
                <a:gd name="T17" fmla="*/ 112 h 164"/>
                <a:gd name="T18" fmla="*/ 13 w 34"/>
                <a:gd name="T19" fmla="*/ 105 h 164"/>
                <a:gd name="T20" fmla="*/ 9 w 34"/>
                <a:gd name="T21" fmla="*/ 105 h 164"/>
                <a:gd name="T22" fmla="*/ 5 w 34"/>
                <a:gd name="T23" fmla="*/ 110 h 164"/>
                <a:gd name="T24" fmla="*/ 6 w 34"/>
                <a:gd name="T25" fmla="*/ 104 h 164"/>
                <a:gd name="T26" fmla="*/ 7 w 34"/>
                <a:gd name="T27" fmla="*/ 101 h 164"/>
                <a:gd name="T28" fmla="*/ 9 w 34"/>
                <a:gd name="T29" fmla="*/ 92 h 164"/>
                <a:gd name="T30" fmla="*/ 7 w 34"/>
                <a:gd name="T31" fmla="*/ 82 h 164"/>
                <a:gd name="T32" fmla="*/ 10 w 34"/>
                <a:gd name="T33" fmla="*/ 78 h 164"/>
                <a:gd name="T34" fmla="*/ 15 w 34"/>
                <a:gd name="T35" fmla="*/ 61 h 164"/>
                <a:gd name="T36" fmla="*/ 16 w 34"/>
                <a:gd name="T37" fmla="*/ 52 h 164"/>
                <a:gd name="T38" fmla="*/ 16 w 34"/>
                <a:gd name="T39" fmla="*/ 46 h 164"/>
                <a:gd name="T40" fmla="*/ 20 w 34"/>
                <a:gd name="T41" fmla="*/ 33 h 164"/>
                <a:gd name="T42" fmla="*/ 22 w 34"/>
                <a:gd name="T43" fmla="*/ 14 h 164"/>
                <a:gd name="T44" fmla="*/ 23 w 34"/>
                <a:gd name="T45" fmla="*/ 2 h 164"/>
                <a:gd name="T46" fmla="*/ 27 w 34"/>
                <a:gd name="T47" fmla="*/ 4 h 164"/>
                <a:gd name="T48" fmla="*/ 28 w 34"/>
                <a:gd name="T49" fmla="*/ 12 h 164"/>
                <a:gd name="T50" fmla="*/ 33 w 34"/>
                <a:gd name="T51" fmla="*/ 21 h 164"/>
                <a:gd name="T52" fmla="*/ 33 w 34"/>
                <a:gd name="T53" fmla="*/ 26 h 164"/>
                <a:gd name="T54" fmla="*/ 28 w 34"/>
                <a:gd name="T55" fmla="*/ 32 h 164"/>
                <a:gd name="T56" fmla="*/ 24 w 34"/>
                <a:gd name="T57" fmla="*/ 45 h 164"/>
                <a:gd name="T58" fmla="*/ 21 w 34"/>
                <a:gd name="T59" fmla="*/ 56 h 164"/>
                <a:gd name="T60" fmla="*/ 23 w 34"/>
                <a:gd name="T61" fmla="*/ 68 h 164"/>
                <a:gd name="T62" fmla="*/ 18 w 34"/>
                <a:gd name="T63" fmla="*/ 79 h 164"/>
                <a:gd name="T64" fmla="*/ 18 w 34"/>
                <a:gd name="T65" fmla="*/ 91 h 164"/>
                <a:gd name="T66" fmla="*/ 17 w 34"/>
                <a:gd name="T67" fmla="*/ 104 h 164"/>
                <a:gd name="T68" fmla="*/ 15 w 34"/>
                <a:gd name="T69" fmla="*/ 114 h 164"/>
                <a:gd name="T70" fmla="*/ 16 w 34"/>
                <a:gd name="T71" fmla="*/ 121 h 164"/>
                <a:gd name="T72" fmla="*/ 13 w 34"/>
                <a:gd name="T73" fmla="*/ 130 h 164"/>
                <a:gd name="T74" fmla="*/ 10 w 34"/>
                <a:gd name="T75" fmla="*/ 138 h 164"/>
                <a:gd name="T76" fmla="*/ 10 w 34"/>
                <a:gd name="T77" fmla="*/ 145 h 164"/>
                <a:gd name="T78" fmla="*/ 13 w 34"/>
                <a:gd name="T79" fmla="*/ 150 h 164"/>
                <a:gd name="T80" fmla="*/ 24 w 34"/>
                <a:gd name="T81" fmla="*/ 153 h 164"/>
                <a:gd name="T82" fmla="*/ 19 w 34"/>
                <a:gd name="T83" fmla="*/ 156 h 164"/>
                <a:gd name="T84" fmla="*/ 18 w 34"/>
                <a:gd name="T85" fmla="*/ 162 h 164"/>
                <a:gd name="T86" fmla="*/ 9 w 34"/>
                <a:gd name="T87" fmla="*/ 161 h 164"/>
                <a:gd name="T88" fmla="*/ 4 w 34"/>
                <a:gd name="T89" fmla="*/ 157 h 164"/>
                <a:gd name="T90" fmla="*/ 8 w 34"/>
                <a:gd name="T91" fmla="*/ 157 h 164"/>
                <a:gd name="T92" fmla="*/ 3 w 34"/>
                <a:gd name="T93" fmla="*/ 153 h 164"/>
                <a:gd name="T94" fmla="*/ 2 w 34"/>
                <a:gd name="T95" fmla="*/ 150 h 164"/>
                <a:gd name="T96" fmla="*/ 2 w 34"/>
                <a:gd name="T97" fmla="*/ 14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4" h="164">
                  <a:moveTo>
                    <a:pt x="2" y="146"/>
                  </a:moveTo>
                  <a:cubicBezTo>
                    <a:pt x="1" y="146"/>
                    <a:pt x="1" y="145"/>
                    <a:pt x="1" y="144"/>
                  </a:cubicBezTo>
                  <a:cubicBezTo>
                    <a:pt x="1" y="143"/>
                    <a:pt x="3" y="142"/>
                    <a:pt x="3" y="142"/>
                  </a:cubicBezTo>
                  <a:cubicBezTo>
                    <a:pt x="3" y="142"/>
                    <a:pt x="2" y="141"/>
                    <a:pt x="1" y="141"/>
                  </a:cubicBezTo>
                  <a:cubicBezTo>
                    <a:pt x="0" y="141"/>
                    <a:pt x="1" y="140"/>
                    <a:pt x="0" y="139"/>
                  </a:cubicBezTo>
                  <a:cubicBezTo>
                    <a:pt x="0" y="138"/>
                    <a:pt x="0" y="134"/>
                    <a:pt x="0" y="134"/>
                  </a:cubicBezTo>
                  <a:cubicBezTo>
                    <a:pt x="1" y="133"/>
                    <a:pt x="2" y="132"/>
                    <a:pt x="3" y="131"/>
                  </a:cubicBezTo>
                  <a:cubicBezTo>
                    <a:pt x="4" y="131"/>
                    <a:pt x="5" y="129"/>
                    <a:pt x="6" y="128"/>
                  </a:cubicBezTo>
                  <a:cubicBezTo>
                    <a:pt x="6" y="127"/>
                    <a:pt x="5" y="126"/>
                    <a:pt x="5" y="126"/>
                  </a:cubicBezTo>
                  <a:cubicBezTo>
                    <a:pt x="4" y="126"/>
                    <a:pt x="2" y="126"/>
                    <a:pt x="1" y="127"/>
                  </a:cubicBezTo>
                  <a:cubicBezTo>
                    <a:pt x="1" y="127"/>
                    <a:pt x="0" y="126"/>
                    <a:pt x="0" y="125"/>
                  </a:cubicBezTo>
                  <a:cubicBezTo>
                    <a:pt x="0" y="125"/>
                    <a:pt x="2" y="124"/>
                    <a:pt x="2" y="123"/>
                  </a:cubicBezTo>
                  <a:cubicBezTo>
                    <a:pt x="3" y="122"/>
                    <a:pt x="4" y="121"/>
                    <a:pt x="4" y="122"/>
                  </a:cubicBezTo>
                  <a:cubicBezTo>
                    <a:pt x="5" y="122"/>
                    <a:pt x="7" y="123"/>
                    <a:pt x="8" y="123"/>
                  </a:cubicBezTo>
                  <a:cubicBezTo>
                    <a:pt x="8" y="122"/>
                    <a:pt x="8" y="120"/>
                    <a:pt x="8" y="119"/>
                  </a:cubicBezTo>
                  <a:cubicBezTo>
                    <a:pt x="9" y="119"/>
                    <a:pt x="8" y="117"/>
                    <a:pt x="9" y="117"/>
                  </a:cubicBezTo>
                  <a:cubicBezTo>
                    <a:pt x="10" y="117"/>
                    <a:pt x="11" y="116"/>
                    <a:pt x="11" y="115"/>
                  </a:cubicBezTo>
                  <a:cubicBezTo>
                    <a:pt x="11" y="114"/>
                    <a:pt x="10" y="113"/>
                    <a:pt x="10" y="112"/>
                  </a:cubicBezTo>
                  <a:cubicBezTo>
                    <a:pt x="10" y="112"/>
                    <a:pt x="11" y="109"/>
                    <a:pt x="11" y="108"/>
                  </a:cubicBezTo>
                  <a:cubicBezTo>
                    <a:pt x="12" y="107"/>
                    <a:pt x="12" y="105"/>
                    <a:pt x="13" y="105"/>
                  </a:cubicBezTo>
                  <a:cubicBezTo>
                    <a:pt x="13" y="105"/>
                    <a:pt x="11" y="104"/>
                    <a:pt x="10" y="104"/>
                  </a:cubicBezTo>
                  <a:cubicBezTo>
                    <a:pt x="9" y="104"/>
                    <a:pt x="9" y="105"/>
                    <a:pt x="9" y="105"/>
                  </a:cubicBezTo>
                  <a:cubicBezTo>
                    <a:pt x="9" y="106"/>
                    <a:pt x="8" y="108"/>
                    <a:pt x="8" y="109"/>
                  </a:cubicBezTo>
                  <a:cubicBezTo>
                    <a:pt x="7" y="110"/>
                    <a:pt x="6" y="110"/>
                    <a:pt x="5" y="110"/>
                  </a:cubicBezTo>
                  <a:cubicBezTo>
                    <a:pt x="4" y="110"/>
                    <a:pt x="4" y="109"/>
                    <a:pt x="4" y="108"/>
                  </a:cubicBezTo>
                  <a:cubicBezTo>
                    <a:pt x="5" y="108"/>
                    <a:pt x="6" y="105"/>
                    <a:pt x="6" y="104"/>
                  </a:cubicBezTo>
                  <a:cubicBezTo>
                    <a:pt x="6" y="103"/>
                    <a:pt x="8" y="103"/>
                    <a:pt x="8" y="103"/>
                  </a:cubicBezTo>
                  <a:cubicBezTo>
                    <a:pt x="8" y="102"/>
                    <a:pt x="7" y="101"/>
                    <a:pt x="7" y="101"/>
                  </a:cubicBezTo>
                  <a:cubicBezTo>
                    <a:pt x="7" y="100"/>
                    <a:pt x="7" y="97"/>
                    <a:pt x="7" y="96"/>
                  </a:cubicBezTo>
                  <a:cubicBezTo>
                    <a:pt x="7" y="95"/>
                    <a:pt x="9" y="93"/>
                    <a:pt x="9" y="92"/>
                  </a:cubicBezTo>
                  <a:cubicBezTo>
                    <a:pt x="10" y="91"/>
                    <a:pt x="8" y="88"/>
                    <a:pt x="8" y="87"/>
                  </a:cubicBezTo>
                  <a:cubicBezTo>
                    <a:pt x="7" y="86"/>
                    <a:pt x="7" y="82"/>
                    <a:pt x="7" y="82"/>
                  </a:cubicBezTo>
                  <a:cubicBezTo>
                    <a:pt x="7" y="81"/>
                    <a:pt x="9" y="82"/>
                    <a:pt x="9" y="81"/>
                  </a:cubicBezTo>
                  <a:cubicBezTo>
                    <a:pt x="10" y="81"/>
                    <a:pt x="10" y="80"/>
                    <a:pt x="10" y="78"/>
                  </a:cubicBezTo>
                  <a:cubicBezTo>
                    <a:pt x="11" y="77"/>
                    <a:pt x="13" y="72"/>
                    <a:pt x="14" y="69"/>
                  </a:cubicBezTo>
                  <a:cubicBezTo>
                    <a:pt x="15" y="67"/>
                    <a:pt x="15" y="64"/>
                    <a:pt x="15" y="61"/>
                  </a:cubicBezTo>
                  <a:cubicBezTo>
                    <a:pt x="16" y="58"/>
                    <a:pt x="15" y="54"/>
                    <a:pt x="15" y="53"/>
                  </a:cubicBezTo>
                  <a:cubicBezTo>
                    <a:pt x="15" y="52"/>
                    <a:pt x="16" y="52"/>
                    <a:pt x="16" y="52"/>
                  </a:cubicBezTo>
                  <a:cubicBezTo>
                    <a:pt x="16" y="52"/>
                    <a:pt x="17" y="50"/>
                    <a:pt x="17" y="49"/>
                  </a:cubicBezTo>
                  <a:cubicBezTo>
                    <a:pt x="17" y="48"/>
                    <a:pt x="15" y="47"/>
                    <a:pt x="16" y="46"/>
                  </a:cubicBezTo>
                  <a:cubicBezTo>
                    <a:pt x="16" y="45"/>
                    <a:pt x="18" y="43"/>
                    <a:pt x="18" y="42"/>
                  </a:cubicBezTo>
                  <a:cubicBezTo>
                    <a:pt x="19" y="40"/>
                    <a:pt x="19" y="34"/>
                    <a:pt x="20" y="33"/>
                  </a:cubicBezTo>
                  <a:cubicBezTo>
                    <a:pt x="20" y="31"/>
                    <a:pt x="20" y="24"/>
                    <a:pt x="21" y="22"/>
                  </a:cubicBezTo>
                  <a:cubicBezTo>
                    <a:pt x="21" y="21"/>
                    <a:pt x="22" y="17"/>
                    <a:pt x="22" y="14"/>
                  </a:cubicBezTo>
                  <a:cubicBezTo>
                    <a:pt x="22" y="12"/>
                    <a:pt x="21" y="3"/>
                    <a:pt x="21" y="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4" y="1"/>
                    <a:pt x="24" y="0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8" y="6"/>
                    <a:pt x="29" y="7"/>
                  </a:cubicBezTo>
                  <a:cubicBezTo>
                    <a:pt x="29" y="8"/>
                    <a:pt x="28" y="10"/>
                    <a:pt x="28" y="12"/>
                  </a:cubicBezTo>
                  <a:cubicBezTo>
                    <a:pt x="29" y="13"/>
                    <a:pt x="30" y="20"/>
                    <a:pt x="30" y="20"/>
                  </a:cubicBezTo>
                  <a:cubicBezTo>
                    <a:pt x="30" y="21"/>
                    <a:pt x="33" y="21"/>
                    <a:pt x="33" y="21"/>
                  </a:cubicBezTo>
                  <a:cubicBezTo>
                    <a:pt x="33" y="21"/>
                    <a:pt x="34" y="21"/>
                    <a:pt x="34" y="20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0" y="27"/>
                    <a:pt x="29" y="28"/>
                  </a:cubicBezTo>
                  <a:cubicBezTo>
                    <a:pt x="27" y="29"/>
                    <a:pt x="28" y="31"/>
                    <a:pt x="28" y="32"/>
                  </a:cubicBezTo>
                  <a:cubicBezTo>
                    <a:pt x="28" y="33"/>
                    <a:pt x="29" y="37"/>
                    <a:pt x="28" y="38"/>
                  </a:cubicBezTo>
                  <a:cubicBezTo>
                    <a:pt x="28" y="39"/>
                    <a:pt x="24" y="43"/>
                    <a:pt x="24" y="45"/>
                  </a:cubicBezTo>
                  <a:cubicBezTo>
                    <a:pt x="23" y="46"/>
                    <a:pt x="23" y="50"/>
                    <a:pt x="23" y="51"/>
                  </a:cubicBezTo>
                  <a:cubicBezTo>
                    <a:pt x="23" y="52"/>
                    <a:pt x="22" y="55"/>
                    <a:pt x="21" y="56"/>
                  </a:cubicBezTo>
                  <a:cubicBezTo>
                    <a:pt x="20" y="57"/>
                    <a:pt x="22" y="63"/>
                    <a:pt x="23" y="65"/>
                  </a:cubicBezTo>
                  <a:cubicBezTo>
                    <a:pt x="23" y="66"/>
                    <a:pt x="23" y="67"/>
                    <a:pt x="23" y="68"/>
                  </a:cubicBezTo>
                  <a:cubicBezTo>
                    <a:pt x="23" y="69"/>
                    <a:pt x="21" y="75"/>
                    <a:pt x="21" y="76"/>
                  </a:cubicBezTo>
                  <a:cubicBezTo>
                    <a:pt x="21" y="77"/>
                    <a:pt x="19" y="78"/>
                    <a:pt x="18" y="79"/>
                  </a:cubicBezTo>
                  <a:cubicBezTo>
                    <a:pt x="17" y="80"/>
                    <a:pt x="18" y="85"/>
                    <a:pt x="19" y="87"/>
                  </a:cubicBezTo>
                  <a:cubicBezTo>
                    <a:pt x="19" y="88"/>
                    <a:pt x="18" y="90"/>
                    <a:pt x="18" y="91"/>
                  </a:cubicBezTo>
                  <a:cubicBezTo>
                    <a:pt x="16" y="92"/>
                    <a:pt x="16" y="95"/>
                    <a:pt x="16" y="96"/>
                  </a:cubicBezTo>
                  <a:cubicBezTo>
                    <a:pt x="16" y="98"/>
                    <a:pt x="17" y="103"/>
                    <a:pt x="17" y="104"/>
                  </a:cubicBezTo>
                  <a:cubicBezTo>
                    <a:pt x="17" y="105"/>
                    <a:pt x="14" y="106"/>
                    <a:pt x="16" y="109"/>
                  </a:cubicBezTo>
                  <a:cubicBezTo>
                    <a:pt x="16" y="109"/>
                    <a:pt x="15" y="113"/>
                    <a:pt x="15" y="114"/>
                  </a:cubicBezTo>
                  <a:cubicBezTo>
                    <a:pt x="15" y="115"/>
                    <a:pt x="18" y="115"/>
                    <a:pt x="18" y="116"/>
                  </a:cubicBezTo>
                  <a:cubicBezTo>
                    <a:pt x="18" y="117"/>
                    <a:pt x="17" y="120"/>
                    <a:pt x="16" y="121"/>
                  </a:cubicBezTo>
                  <a:cubicBezTo>
                    <a:pt x="15" y="121"/>
                    <a:pt x="16" y="125"/>
                    <a:pt x="16" y="126"/>
                  </a:cubicBezTo>
                  <a:cubicBezTo>
                    <a:pt x="15" y="128"/>
                    <a:pt x="14" y="129"/>
                    <a:pt x="13" y="130"/>
                  </a:cubicBezTo>
                  <a:cubicBezTo>
                    <a:pt x="13" y="132"/>
                    <a:pt x="13" y="135"/>
                    <a:pt x="12" y="136"/>
                  </a:cubicBezTo>
                  <a:cubicBezTo>
                    <a:pt x="12" y="137"/>
                    <a:pt x="11" y="137"/>
                    <a:pt x="10" y="138"/>
                  </a:cubicBezTo>
                  <a:cubicBezTo>
                    <a:pt x="9" y="138"/>
                    <a:pt x="9" y="140"/>
                    <a:pt x="9" y="141"/>
                  </a:cubicBezTo>
                  <a:cubicBezTo>
                    <a:pt x="9" y="142"/>
                    <a:pt x="9" y="145"/>
                    <a:pt x="10" y="145"/>
                  </a:cubicBezTo>
                  <a:cubicBezTo>
                    <a:pt x="11" y="146"/>
                    <a:pt x="12" y="145"/>
                    <a:pt x="13" y="146"/>
                  </a:cubicBezTo>
                  <a:cubicBezTo>
                    <a:pt x="14" y="147"/>
                    <a:pt x="13" y="149"/>
                    <a:pt x="13" y="150"/>
                  </a:cubicBezTo>
                  <a:cubicBezTo>
                    <a:pt x="13" y="151"/>
                    <a:pt x="13" y="152"/>
                    <a:pt x="14" y="152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24" y="153"/>
                    <a:pt x="24" y="155"/>
                    <a:pt x="23" y="155"/>
                  </a:cubicBezTo>
                  <a:cubicBezTo>
                    <a:pt x="21" y="155"/>
                    <a:pt x="19" y="156"/>
                    <a:pt x="19" y="156"/>
                  </a:cubicBezTo>
                  <a:cubicBezTo>
                    <a:pt x="19" y="156"/>
                    <a:pt x="19" y="158"/>
                    <a:pt x="19" y="159"/>
                  </a:cubicBezTo>
                  <a:cubicBezTo>
                    <a:pt x="19" y="160"/>
                    <a:pt x="19" y="161"/>
                    <a:pt x="18" y="162"/>
                  </a:cubicBezTo>
                  <a:cubicBezTo>
                    <a:pt x="16" y="163"/>
                    <a:pt x="12" y="164"/>
                    <a:pt x="11" y="164"/>
                  </a:cubicBezTo>
                  <a:cubicBezTo>
                    <a:pt x="11" y="164"/>
                    <a:pt x="10" y="161"/>
                    <a:pt x="9" y="161"/>
                  </a:cubicBezTo>
                  <a:cubicBezTo>
                    <a:pt x="8" y="161"/>
                    <a:pt x="7" y="160"/>
                    <a:pt x="7" y="160"/>
                  </a:cubicBezTo>
                  <a:cubicBezTo>
                    <a:pt x="6" y="159"/>
                    <a:pt x="3" y="157"/>
                    <a:pt x="4" y="157"/>
                  </a:cubicBezTo>
                  <a:cubicBezTo>
                    <a:pt x="4" y="157"/>
                    <a:pt x="8" y="158"/>
                    <a:pt x="8" y="158"/>
                  </a:cubicBezTo>
                  <a:cubicBezTo>
                    <a:pt x="9" y="158"/>
                    <a:pt x="8" y="157"/>
                    <a:pt x="8" y="157"/>
                  </a:cubicBezTo>
                  <a:cubicBezTo>
                    <a:pt x="8" y="156"/>
                    <a:pt x="5" y="154"/>
                    <a:pt x="5" y="154"/>
                  </a:cubicBezTo>
                  <a:cubicBezTo>
                    <a:pt x="4" y="154"/>
                    <a:pt x="3" y="154"/>
                    <a:pt x="3" y="153"/>
                  </a:cubicBezTo>
                  <a:cubicBezTo>
                    <a:pt x="3" y="152"/>
                    <a:pt x="4" y="152"/>
                    <a:pt x="4" y="150"/>
                  </a:cubicBezTo>
                  <a:cubicBezTo>
                    <a:pt x="4" y="149"/>
                    <a:pt x="2" y="150"/>
                    <a:pt x="2" y="150"/>
                  </a:cubicBezTo>
                  <a:cubicBezTo>
                    <a:pt x="2" y="149"/>
                    <a:pt x="3" y="148"/>
                    <a:pt x="3" y="147"/>
                  </a:cubicBezTo>
                  <a:cubicBezTo>
                    <a:pt x="3" y="147"/>
                    <a:pt x="3" y="147"/>
                    <a:pt x="2" y="14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1" name="Freeform 6484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2485098" y="3590851"/>
              <a:ext cx="71872" cy="36835"/>
            </a:xfrm>
            <a:custGeom>
              <a:avLst/>
              <a:gdLst>
                <a:gd name="T0" fmla="*/ 0 w 12"/>
                <a:gd name="T1" fmla="*/ 2 h 6"/>
                <a:gd name="T2" fmla="*/ 11 w 12"/>
                <a:gd name="T3" fmla="*/ 3 h 6"/>
                <a:gd name="T4" fmla="*/ 9 w 12"/>
                <a:gd name="T5" fmla="*/ 4 h 6"/>
                <a:gd name="T6" fmla="*/ 7 w 12"/>
                <a:gd name="T7" fmla="*/ 6 h 6"/>
                <a:gd name="T8" fmla="*/ 3 w 12"/>
                <a:gd name="T9" fmla="*/ 4 h 6"/>
                <a:gd name="T10" fmla="*/ 0 w 12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0" y="2"/>
                  </a:moveTo>
                  <a:cubicBezTo>
                    <a:pt x="0" y="0"/>
                    <a:pt x="10" y="2"/>
                    <a:pt x="11" y="3"/>
                  </a:cubicBezTo>
                  <a:cubicBezTo>
                    <a:pt x="12" y="4"/>
                    <a:pt x="10" y="4"/>
                    <a:pt x="9" y="4"/>
                  </a:cubicBezTo>
                  <a:cubicBezTo>
                    <a:pt x="8" y="4"/>
                    <a:pt x="9" y="5"/>
                    <a:pt x="7" y="6"/>
                  </a:cubicBezTo>
                  <a:cubicBezTo>
                    <a:pt x="6" y="6"/>
                    <a:pt x="3" y="5"/>
                    <a:pt x="3" y="4"/>
                  </a:cubicBezTo>
                  <a:cubicBezTo>
                    <a:pt x="3" y="3"/>
                    <a:pt x="0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2" name="Freeform 6486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2435102" y="4029528"/>
              <a:ext cx="137792" cy="160737"/>
            </a:xfrm>
            <a:custGeom>
              <a:avLst/>
              <a:gdLst>
                <a:gd name="T0" fmla="*/ 0 w 21"/>
                <a:gd name="T1" fmla="*/ 14 h 25"/>
                <a:gd name="T2" fmla="*/ 0 w 21"/>
                <a:gd name="T3" fmla="*/ 10 h 25"/>
                <a:gd name="T4" fmla="*/ 2 w 21"/>
                <a:gd name="T5" fmla="*/ 7 h 25"/>
                <a:gd name="T6" fmla="*/ 2 w 21"/>
                <a:gd name="T7" fmla="*/ 3 h 25"/>
                <a:gd name="T8" fmla="*/ 7 w 21"/>
                <a:gd name="T9" fmla="*/ 1 h 25"/>
                <a:gd name="T10" fmla="*/ 7 w 21"/>
                <a:gd name="T11" fmla="*/ 0 h 25"/>
                <a:gd name="T12" fmla="*/ 11 w 21"/>
                <a:gd name="T13" fmla="*/ 2 h 25"/>
                <a:gd name="T14" fmla="*/ 14 w 21"/>
                <a:gd name="T15" fmla="*/ 4 h 25"/>
                <a:gd name="T16" fmla="*/ 18 w 21"/>
                <a:gd name="T17" fmla="*/ 5 h 25"/>
                <a:gd name="T18" fmla="*/ 20 w 21"/>
                <a:gd name="T19" fmla="*/ 5 h 25"/>
                <a:gd name="T20" fmla="*/ 20 w 21"/>
                <a:gd name="T21" fmla="*/ 8 h 25"/>
                <a:gd name="T22" fmla="*/ 21 w 21"/>
                <a:gd name="T23" fmla="*/ 11 h 25"/>
                <a:gd name="T24" fmla="*/ 17 w 21"/>
                <a:gd name="T25" fmla="*/ 15 h 25"/>
                <a:gd name="T26" fmla="*/ 10 w 21"/>
                <a:gd name="T27" fmla="*/ 19 h 25"/>
                <a:gd name="T28" fmla="*/ 7 w 21"/>
                <a:gd name="T29" fmla="*/ 25 h 25"/>
                <a:gd name="T30" fmla="*/ 5 w 21"/>
                <a:gd name="T31" fmla="*/ 23 h 25"/>
                <a:gd name="T32" fmla="*/ 2 w 21"/>
                <a:gd name="T33" fmla="*/ 21 h 25"/>
                <a:gd name="T34" fmla="*/ 2 w 21"/>
                <a:gd name="T35" fmla="*/ 19 h 25"/>
                <a:gd name="T36" fmla="*/ 3 w 21"/>
                <a:gd name="T37" fmla="*/ 19 h 25"/>
                <a:gd name="T38" fmla="*/ 4 w 21"/>
                <a:gd name="T39" fmla="*/ 15 h 25"/>
                <a:gd name="T40" fmla="*/ 2 w 21"/>
                <a:gd name="T41" fmla="*/ 15 h 25"/>
                <a:gd name="T42" fmla="*/ 0 w 21"/>
                <a:gd name="T43" fmla="*/ 14 h 25"/>
                <a:gd name="connsiteX0" fmla="*/ 0 w 10000"/>
                <a:gd name="connsiteY0" fmla="*/ 5600 h 10000"/>
                <a:gd name="connsiteX1" fmla="*/ 0 w 10000"/>
                <a:gd name="connsiteY1" fmla="*/ 4000 h 10000"/>
                <a:gd name="connsiteX2" fmla="*/ 952 w 10000"/>
                <a:gd name="connsiteY2" fmla="*/ 2800 h 10000"/>
                <a:gd name="connsiteX3" fmla="*/ 952 w 10000"/>
                <a:gd name="connsiteY3" fmla="*/ 1200 h 10000"/>
                <a:gd name="connsiteX4" fmla="*/ 3333 w 10000"/>
                <a:gd name="connsiteY4" fmla="*/ 400 h 10000"/>
                <a:gd name="connsiteX5" fmla="*/ 3333 w 10000"/>
                <a:gd name="connsiteY5" fmla="*/ 0 h 10000"/>
                <a:gd name="connsiteX6" fmla="*/ 5238 w 10000"/>
                <a:gd name="connsiteY6" fmla="*/ 800 h 10000"/>
                <a:gd name="connsiteX7" fmla="*/ 6667 w 10000"/>
                <a:gd name="connsiteY7" fmla="*/ 1600 h 10000"/>
                <a:gd name="connsiteX8" fmla="*/ 8571 w 10000"/>
                <a:gd name="connsiteY8" fmla="*/ 2000 h 10000"/>
                <a:gd name="connsiteX9" fmla="*/ 9524 w 10000"/>
                <a:gd name="connsiteY9" fmla="*/ 2000 h 10000"/>
                <a:gd name="connsiteX10" fmla="*/ 9524 w 10000"/>
                <a:gd name="connsiteY10" fmla="*/ 3200 h 10000"/>
                <a:gd name="connsiteX11" fmla="*/ 10000 w 10000"/>
                <a:gd name="connsiteY11" fmla="*/ 4400 h 10000"/>
                <a:gd name="connsiteX12" fmla="*/ 8095 w 10000"/>
                <a:gd name="connsiteY12" fmla="*/ 6000 h 10000"/>
                <a:gd name="connsiteX13" fmla="*/ 5505 w 10000"/>
                <a:gd name="connsiteY13" fmla="*/ 7918 h 10000"/>
                <a:gd name="connsiteX14" fmla="*/ 3333 w 10000"/>
                <a:gd name="connsiteY14" fmla="*/ 10000 h 10000"/>
                <a:gd name="connsiteX15" fmla="*/ 2381 w 10000"/>
                <a:gd name="connsiteY15" fmla="*/ 9200 h 10000"/>
                <a:gd name="connsiteX16" fmla="*/ 952 w 10000"/>
                <a:gd name="connsiteY16" fmla="*/ 8400 h 10000"/>
                <a:gd name="connsiteX17" fmla="*/ 952 w 10000"/>
                <a:gd name="connsiteY17" fmla="*/ 7600 h 10000"/>
                <a:gd name="connsiteX18" fmla="*/ 1429 w 10000"/>
                <a:gd name="connsiteY18" fmla="*/ 7600 h 10000"/>
                <a:gd name="connsiteX19" fmla="*/ 1905 w 10000"/>
                <a:gd name="connsiteY19" fmla="*/ 6000 h 10000"/>
                <a:gd name="connsiteX20" fmla="*/ 952 w 10000"/>
                <a:gd name="connsiteY20" fmla="*/ 6000 h 10000"/>
                <a:gd name="connsiteX21" fmla="*/ 0 w 10000"/>
                <a:gd name="connsiteY21" fmla="*/ 5600 h 10000"/>
                <a:gd name="connsiteX0" fmla="*/ 0 w 10021"/>
                <a:gd name="connsiteY0" fmla="*/ 5600 h 10000"/>
                <a:gd name="connsiteX1" fmla="*/ 0 w 10021"/>
                <a:gd name="connsiteY1" fmla="*/ 4000 h 10000"/>
                <a:gd name="connsiteX2" fmla="*/ 952 w 10021"/>
                <a:gd name="connsiteY2" fmla="*/ 2800 h 10000"/>
                <a:gd name="connsiteX3" fmla="*/ 952 w 10021"/>
                <a:gd name="connsiteY3" fmla="*/ 1200 h 10000"/>
                <a:gd name="connsiteX4" fmla="*/ 3333 w 10021"/>
                <a:gd name="connsiteY4" fmla="*/ 400 h 10000"/>
                <a:gd name="connsiteX5" fmla="*/ 3333 w 10021"/>
                <a:gd name="connsiteY5" fmla="*/ 0 h 10000"/>
                <a:gd name="connsiteX6" fmla="*/ 5238 w 10021"/>
                <a:gd name="connsiteY6" fmla="*/ 800 h 10000"/>
                <a:gd name="connsiteX7" fmla="*/ 6667 w 10021"/>
                <a:gd name="connsiteY7" fmla="*/ 1600 h 10000"/>
                <a:gd name="connsiteX8" fmla="*/ 8571 w 10021"/>
                <a:gd name="connsiteY8" fmla="*/ 2000 h 10000"/>
                <a:gd name="connsiteX9" fmla="*/ 9524 w 10021"/>
                <a:gd name="connsiteY9" fmla="*/ 2000 h 10000"/>
                <a:gd name="connsiteX10" fmla="*/ 9524 w 10021"/>
                <a:gd name="connsiteY10" fmla="*/ 3200 h 10000"/>
                <a:gd name="connsiteX11" fmla="*/ 10000 w 10021"/>
                <a:gd name="connsiteY11" fmla="*/ 4400 h 10000"/>
                <a:gd name="connsiteX12" fmla="*/ 8653 w 10021"/>
                <a:gd name="connsiteY12" fmla="*/ 6159 h 10000"/>
                <a:gd name="connsiteX13" fmla="*/ 5505 w 10021"/>
                <a:gd name="connsiteY13" fmla="*/ 7918 h 10000"/>
                <a:gd name="connsiteX14" fmla="*/ 3333 w 10021"/>
                <a:gd name="connsiteY14" fmla="*/ 10000 h 10000"/>
                <a:gd name="connsiteX15" fmla="*/ 2381 w 10021"/>
                <a:gd name="connsiteY15" fmla="*/ 9200 h 10000"/>
                <a:gd name="connsiteX16" fmla="*/ 952 w 10021"/>
                <a:gd name="connsiteY16" fmla="*/ 8400 h 10000"/>
                <a:gd name="connsiteX17" fmla="*/ 952 w 10021"/>
                <a:gd name="connsiteY17" fmla="*/ 7600 h 10000"/>
                <a:gd name="connsiteX18" fmla="*/ 1429 w 10021"/>
                <a:gd name="connsiteY18" fmla="*/ 7600 h 10000"/>
                <a:gd name="connsiteX19" fmla="*/ 1905 w 10021"/>
                <a:gd name="connsiteY19" fmla="*/ 6000 h 10000"/>
                <a:gd name="connsiteX20" fmla="*/ 952 w 10021"/>
                <a:gd name="connsiteY20" fmla="*/ 6000 h 10000"/>
                <a:gd name="connsiteX21" fmla="*/ 0 w 10021"/>
                <a:gd name="connsiteY21" fmla="*/ 5600 h 10000"/>
                <a:gd name="connsiteX0" fmla="*/ 0 w 10755"/>
                <a:gd name="connsiteY0" fmla="*/ 5600 h 10000"/>
                <a:gd name="connsiteX1" fmla="*/ 0 w 10755"/>
                <a:gd name="connsiteY1" fmla="*/ 4000 h 10000"/>
                <a:gd name="connsiteX2" fmla="*/ 952 w 10755"/>
                <a:gd name="connsiteY2" fmla="*/ 2800 h 10000"/>
                <a:gd name="connsiteX3" fmla="*/ 952 w 10755"/>
                <a:gd name="connsiteY3" fmla="*/ 1200 h 10000"/>
                <a:gd name="connsiteX4" fmla="*/ 3333 w 10755"/>
                <a:gd name="connsiteY4" fmla="*/ 400 h 10000"/>
                <a:gd name="connsiteX5" fmla="*/ 3333 w 10755"/>
                <a:gd name="connsiteY5" fmla="*/ 0 h 10000"/>
                <a:gd name="connsiteX6" fmla="*/ 5238 w 10755"/>
                <a:gd name="connsiteY6" fmla="*/ 800 h 10000"/>
                <a:gd name="connsiteX7" fmla="*/ 6667 w 10755"/>
                <a:gd name="connsiteY7" fmla="*/ 1600 h 10000"/>
                <a:gd name="connsiteX8" fmla="*/ 8571 w 10755"/>
                <a:gd name="connsiteY8" fmla="*/ 2000 h 10000"/>
                <a:gd name="connsiteX9" fmla="*/ 9524 w 10755"/>
                <a:gd name="connsiteY9" fmla="*/ 2000 h 10000"/>
                <a:gd name="connsiteX10" fmla="*/ 9524 w 10755"/>
                <a:gd name="connsiteY10" fmla="*/ 3200 h 10000"/>
                <a:gd name="connsiteX11" fmla="*/ 10743 w 10755"/>
                <a:gd name="connsiteY11" fmla="*/ 4876 h 10000"/>
                <a:gd name="connsiteX12" fmla="*/ 8653 w 10755"/>
                <a:gd name="connsiteY12" fmla="*/ 6159 h 10000"/>
                <a:gd name="connsiteX13" fmla="*/ 5505 w 10755"/>
                <a:gd name="connsiteY13" fmla="*/ 7918 h 10000"/>
                <a:gd name="connsiteX14" fmla="*/ 3333 w 10755"/>
                <a:gd name="connsiteY14" fmla="*/ 10000 h 10000"/>
                <a:gd name="connsiteX15" fmla="*/ 2381 w 10755"/>
                <a:gd name="connsiteY15" fmla="*/ 9200 h 10000"/>
                <a:gd name="connsiteX16" fmla="*/ 952 w 10755"/>
                <a:gd name="connsiteY16" fmla="*/ 8400 h 10000"/>
                <a:gd name="connsiteX17" fmla="*/ 952 w 10755"/>
                <a:gd name="connsiteY17" fmla="*/ 7600 h 10000"/>
                <a:gd name="connsiteX18" fmla="*/ 1429 w 10755"/>
                <a:gd name="connsiteY18" fmla="*/ 7600 h 10000"/>
                <a:gd name="connsiteX19" fmla="*/ 1905 w 10755"/>
                <a:gd name="connsiteY19" fmla="*/ 6000 h 10000"/>
                <a:gd name="connsiteX20" fmla="*/ 952 w 10755"/>
                <a:gd name="connsiteY20" fmla="*/ 6000 h 10000"/>
                <a:gd name="connsiteX21" fmla="*/ 0 w 10755"/>
                <a:gd name="connsiteY21" fmla="*/ 56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755" h="10000">
                  <a:moveTo>
                    <a:pt x="0" y="5600"/>
                  </a:moveTo>
                  <a:lnTo>
                    <a:pt x="0" y="4000"/>
                  </a:lnTo>
                  <a:cubicBezTo>
                    <a:pt x="0" y="3600"/>
                    <a:pt x="476" y="3200"/>
                    <a:pt x="952" y="2800"/>
                  </a:cubicBezTo>
                  <a:cubicBezTo>
                    <a:pt x="1429" y="2400"/>
                    <a:pt x="952" y="1200"/>
                    <a:pt x="952" y="1200"/>
                  </a:cubicBezTo>
                  <a:cubicBezTo>
                    <a:pt x="952" y="800"/>
                    <a:pt x="2857" y="400"/>
                    <a:pt x="3333" y="400"/>
                  </a:cubicBezTo>
                  <a:lnTo>
                    <a:pt x="3333" y="0"/>
                  </a:lnTo>
                  <a:lnTo>
                    <a:pt x="5238" y="800"/>
                  </a:lnTo>
                  <a:cubicBezTo>
                    <a:pt x="5714" y="800"/>
                    <a:pt x="5714" y="1200"/>
                    <a:pt x="6667" y="1600"/>
                  </a:cubicBezTo>
                  <a:cubicBezTo>
                    <a:pt x="6667" y="2000"/>
                    <a:pt x="8095" y="2000"/>
                    <a:pt x="8571" y="2000"/>
                  </a:cubicBezTo>
                  <a:lnTo>
                    <a:pt x="9524" y="2000"/>
                  </a:lnTo>
                  <a:cubicBezTo>
                    <a:pt x="9524" y="2400"/>
                    <a:pt x="9321" y="2721"/>
                    <a:pt x="9524" y="3200"/>
                  </a:cubicBezTo>
                  <a:cubicBezTo>
                    <a:pt x="9727" y="3679"/>
                    <a:pt x="10888" y="4383"/>
                    <a:pt x="10743" y="4876"/>
                  </a:cubicBezTo>
                  <a:cubicBezTo>
                    <a:pt x="10598" y="5369"/>
                    <a:pt x="9129" y="5759"/>
                    <a:pt x="8653" y="6159"/>
                  </a:cubicBezTo>
                  <a:cubicBezTo>
                    <a:pt x="8177" y="6959"/>
                    <a:pt x="5981" y="7518"/>
                    <a:pt x="5505" y="7918"/>
                  </a:cubicBezTo>
                  <a:cubicBezTo>
                    <a:pt x="5505" y="8318"/>
                    <a:pt x="3333" y="9600"/>
                    <a:pt x="3333" y="10000"/>
                  </a:cubicBezTo>
                  <a:cubicBezTo>
                    <a:pt x="2857" y="10000"/>
                    <a:pt x="2381" y="9600"/>
                    <a:pt x="2381" y="9200"/>
                  </a:cubicBezTo>
                  <a:cubicBezTo>
                    <a:pt x="1905" y="9200"/>
                    <a:pt x="1429" y="9200"/>
                    <a:pt x="952" y="8400"/>
                  </a:cubicBezTo>
                  <a:lnTo>
                    <a:pt x="952" y="7600"/>
                  </a:lnTo>
                  <a:lnTo>
                    <a:pt x="1429" y="7600"/>
                  </a:lnTo>
                  <a:cubicBezTo>
                    <a:pt x="2381" y="7600"/>
                    <a:pt x="1905" y="6800"/>
                    <a:pt x="1905" y="6000"/>
                  </a:cubicBezTo>
                  <a:cubicBezTo>
                    <a:pt x="1905" y="5600"/>
                    <a:pt x="1429" y="6400"/>
                    <a:pt x="952" y="6000"/>
                  </a:cubicBezTo>
                  <a:cubicBezTo>
                    <a:pt x="952" y="6000"/>
                    <a:pt x="0" y="6000"/>
                    <a:pt x="0" y="560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3" name="Freeform 6487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2422601" y="4063015"/>
              <a:ext cx="303110" cy="468815"/>
            </a:xfrm>
            <a:custGeom>
              <a:avLst/>
              <a:gdLst>
                <a:gd name="T0" fmla="*/ 0 w 50"/>
                <a:gd name="T1" fmla="*/ 19 h 73"/>
                <a:gd name="T2" fmla="*/ 1 w 50"/>
                <a:gd name="T3" fmla="*/ 17 h 73"/>
                <a:gd name="T4" fmla="*/ 4 w 50"/>
                <a:gd name="T5" fmla="*/ 15 h 73"/>
                <a:gd name="T6" fmla="*/ 4 w 50"/>
                <a:gd name="T7" fmla="*/ 17 h 73"/>
                <a:gd name="T8" fmla="*/ 7 w 50"/>
                <a:gd name="T9" fmla="*/ 19 h 73"/>
                <a:gd name="T10" fmla="*/ 9 w 50"/>
                <a:gd name="T11" fmla="*/ 20 h 73"/>
                <a:gd name="T12" fmla="*/ 12 w 50"/>
                <a:gd name="T13" fmla="*/ 14 h 73"/>
                <a:gd name="T14" fmla="*/ 19 w 50"/>
                <a:gd name="T15" fmla="*/ 11 h 73"/>
                <a:gd name="T16" fmla="*/ 23 w 50"/>
                <a:gd name="T17" fmla="*/ 6 h 73"/>
                <a:gd name="T18" fmla="*/ 22 w 50"/>
                <a:gd name="T19" fmla="*/ 3 h 73"/>
                <a:gd name="T20" fmla="*/ 22 w 50"/>
                <a:gd name="T21" fmla="*/ 0 h 73"/>
                <a:gd name="T22" fmla="*/ 26 w 50"/>
                <a:gd name="T23" fmla="*/ 2 h 73"/>
                <a:gd name="T24" fmla="*/ 33 w 50"/>
                <a:gd name="T25" fmla="*/ 11 h 73"/>
                <a:gd name="T26" fmla="*/ 42 w 50"/>
                <a:gd name="T27" fmla="*/ 11 h 73"/>
                <a:gd name="T28" fmla="*/ 41 w 50"/>
                <a:gd name="T29" fmla="*/ 15 h 73"/>
                <a:gd name="T30" fmla="*/ 45 w 50"/>
                <a:gd name="T31" fmla="*/ 16 h 73"/>
                <a:gd name="T32" fmla="*/ 44 w 50"/>
                <a:gd name="T33" fmla="*/ 18 h 73"/>
                <a:gd name="T34" fmla="*/ 35 w 50"/>
                <a:gd name="T35" fmla="*/ 20 h 73"/>
                <a:gd name="T36" fmla="*/ 31 w 50"/>
                <a:gd name="T37" fmla="*/ 23 h 73"/>
                <a:gd name="T38" fmla="*/ 32 w 50"/>
                <a:gd name="T39" fmla="*/ 26 h 73"/>
                <a:gd name="T40" fmla="*/ 29 w 50"/>
                <a:gd name="T41" fmla="*/ 29 h 73"/>
                <a:gd name="T42" fmla="*/ 32 w 50"/>
                <a:gd name="T43" fmla="*/ 37 h 73"/>
                <a:gd name="T44" fmla="*/ 36 w 50"/>
                <a:gd name="T45" fmla="*/ 39 h 73"/>
                <a:gd name="T46" fmla="*/ 42 w 50"/>
                <a:gd name="T47" fmla="*/ 37 h 73"/>
                <a:gd name="T48" fmla="*/ 43 w 50"/>
                <a:gd name="T49" fmla="*/ 43 h 73"/>
                <a:gd name="T50" fmla="*/ 46 w 50"/>
                <a:gd name="T51" fmla="*/ 44 h 73"/>
                <a:gd name="T52" fmla="*/ 47 w 50"/>
                <a:gd name="T53" fmla="*/ 45 h 73"/>
                <a:gd name="T54" fmla="*/ 50 w 50"/>
                <a:gd name="T55" fmla="*/ 50 h 73"/>
                <a:gd name="T56" fmla="*/ 48 w 50"/>
                <a:gd name="T57" fmla="*/ 52 h 73"/>
                <a:gd name="T58" fmla="*/ 49 w 50"/>
                <a:gd name="T59" fmla="*/ 57 h 73"/>
                <a:gd name="T60" fmla="*/ 47 w 50"/>
                <a:gd name="T61" fmla="*/ 62 h 73"/>
                <a:gd name="T62" fmla="*/ 49 w 50"/>
                <a:gd name="T63" fmla="*/ 65 h 73"/>
                <a:gd name="T64" fmla="*/ 46 w 50"/>
                <a:gd name="T65" fmla="*/ 70 h 73"/>
                <a:gd name="T66" fmla="*/ 45 w 50"/>
                <a:gd name="T67" fmla="*/ 72 h 73"/>
                <a:gd name="T68" fmla="*/ 43 w 50"/>
                <a:gd name="T69" fmla="*/ 73 h 73"/>
                <a:gd name="T70" fmla="*/ 37 w 50"/>
                <a:gd name="T71" fmla="*/ 68 h 73"/>
                <a:gd name="T72" fmla="*/ 25 w 50"/>
                <a:gd name="T73" fmla="*/ 62 h 73"/>
                <a:gd name="T74" fmla="*/ 19 w 50"/>
                <a:gd name="T75" fmla="*/ 56 h 73"/>
                <a:gd name="T76" fmla="*/ 20 w 50"/>
                <a:gd name="T77" fmla="*/ 52 h 73"/>
                <a:gd name="T78" fmla="*/ 14 w 50"/>
                <a:gd name="T79" fmla="*/ 45 h 73"/>
                <a:gd name="T80" fmla="*/ 5 w 50"/>
                <a:gd name="T81" fmla="*/ 27 h 73"/>
                <a:gd name="T82" fmla="*/ 1 w 50"/>
                <a:gd name="T83" fmla="*/ 25 h 73"/>
                <a:gd name="T84" fmla="*/ 0 w 50"/>
                <a:gd name="T85" fmla="*/ 22 h 73"/>
                <a:gd name="T86" fmla="*/ 1 w 50"/>
                <a:gd name="T87" fmla="*/ 21 h 73"/>
                <a:gd name="T88" fmla="*/ 0 w 50"/>
                <a:gd name="T89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" h="73">
                  <a:moveTo>
                    <a:pt x="0" y="19"/>
                  </a:moveTo>
                  <a:cubicBezTo>
                    <a:pt x="0" y="18"/>
                    <a:pt x="0" y="17"/>
                    <a:pt x="1" y="17"/>
                  </a:cubicBezTo>
                  <a:cubicBezTo>
                    <a:pt x="1" y="16"/>
                    <a:pt x="3" y="15"/>
                    <a:pt x="4" y="1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8"/>
                    <a:pt x="6" y="18"/>
                    <a:pt x="7" y="19"/>
                  </a:cubicBezTo>
                  <a:cubicBezTo>
                    <a:pt x="7" y="19"/>
                    <a:pt x="8" y="21"/>
                    <a:pt x="9" y="20"/>
                  </a:cubicBezTo>
                  <a:cubicBezTo>
                    <a:pt x="9" y="20"/>
                    <a:pt x="12" y="15"/>
                    <a:pt x="12" y="14"/>
                  </a:cubicBezTo>
                  <a:cubicBezTo>
                    <a:pt x="13" y="13"/>
                    <a:pt x="18" y="12"/>
                    <a:pt x="19" y="11"/>
                  </a:cubicBezTo>
                  <a:cubicBezTo>
                    <a:pt x="20" y="10"/>
                    <a:pt x="23" y="8"/>
                    <a:pt x="23" y="6"/>
                  </a:cubicBezTo>
                  <a:cubicBezTo>
                    <a:pt x="23" y="5"/>
                    <a:pt x="22" y="3"/>
                    <a:pt x="22" y="3"/>
                  </a:cubicBezTo>
                  <a:cubicBezTo>
                    <a:pt x="22" y="2"/>
                    <a:pt x="22" y="0"/>
                    <a:pt x="22" y="0"/>
                  </a:cubicBezTo>
                  <a:cubicBezTo>
                    <a:pt x="24" y="0"/>
                    <a:pt x="25" y="1"/>
                    <a:pt x="26" y="2"/>
                  </a:cubicBezTo>
                  <a:cubicBezTo>
                    <a:pt x="27" y="3"/>
                    <a:pt x="32" y="10"/>
                    <a:pt x="33" y="11"/>
                  </a:cubicBezTo>
                  <a:cubicBezTo>
                    <a:pt x="35" y="12"/>
                    <a:pt x="41" y="10"/>
                    <a:pt x="42" y="11"/>
                  </a:cubicBezTo>
                  <a:cubicBezTo>
                    <a:pt x="43" y="11"/>
                    <a:pt x="41" y="15"/>
                    <a:pt x="41" y="15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17"/>
                    <a:pt x="44" y="18"/>
                    <a:pt x="44" y="18"/>
                  </a:cubicBezTo>
                  <a:cubicBezTo>
                    <a:pt x="43" y="18"/>
                    <a:pt x="36" y="19"/>
                    <a:pt x="35" y="20"/>
                  </a:cubicBezTo>
                  <a:cubicBezTo>
                    <a:pt x="33" y="20"/>
                    <a:pt x="32" y="22"/>
                    <a:pt x="31" y="23"/>
                  </a:cubicBezTo>
                  <a:cubicBezTo>
                    <a:pt x="31" y="24"/>
                    <a:pt x="33" y="25"/>
                    <a:pt x="32" y="26"/>
                  </a:cubicBezTo>
                  <a:cubicBezTo>
                    <a:pt x="32" y="27"/>
                    <a:pt x="30" y="27"/>
                    <a:pt x="29" y="29"/>
                  </a:cubicBezTo>
                  <a:cubicBezTo>
                    <a:pt x="28" y="31"/>
                    <a:pt x="31" y="35"/>
                    <a:pt x="32" y="37"/>
                  </a:cubicBezTo>
                  <a:cubicBezTo>
                    <a:pt x="33" y="38"/>
                    <a:pt x="35" y="39"/>
                    <a:pt x="36" y="39"/>
                  </a:cubicBezTo>
                  <a:cubicBezTo>
                    <a:pt x="37" y="40"/>
                    <a:pt x="41" y="37"/>
                    <a:pt x="42" y="37"/>
                  </a:cubicBezTo>
                  <a:cubicBezTo>
                    <a:pt x="42" y="37"/>
                    <a:pt x="42" y="43"/>
                    <a:pt x="43" y="43"/>
                  </a:cubicBezTo>
                  <a:cubicBezTo>
                    <a:pt x="43" y="43"/>
                    <a:pt x="45" y="43"/>
                    <a:pt x="46" y="44"/>
                  </a:cubicBezTo>
                  <a:cubicBezTo>
                    <a:pt x="46" y="44"/>
                    <a:pt x="47" y="44"/>
                    <a:pt x="47" y="45"/>
                  </a:cubicBezTo>
                  <a:cubicBezTo>
                    <a:pt x="48" y="46"/>
                    <a:pt x="49" y="49"/>
                    <a:pt x="50" y="50"/>
                  </a:cubicBezTo>
                  <a:cubicBezTo>
                    <a:pt x="50" y="50"/>
                    <a:pt x="49" y="51"/>
                    <a:pt x="48" y="52"/>
                  </a:cubicBezTo>
                  <a:cubicBezTo>
                    <a:pt x="48" y="53"/>
                    <a:pt x="49" y="56"/>
                    <a:pt x="49" y="57"/>
                  </a:cubicBezTo>
                  <a:cubicBezTo>
                    <a:pt x="48" y="58"/>
                    <a:pt x="47" y="60"/>
                    <a:pt x="47" y="62"/>
                  </a:cubicBezTo>
                  <a:cubicBezTo>
                    <a:pt x="46" y="63"/>
                    <a:pt x="49" y="64"/>
                    <a:pt x="49" y="65"/>
                  </a:cubicBezTo>
                  <a:cubicBezTo>
                    <a:pt x="48" y="66"/>
                    <a:pt x="47" y="68"/>
                    <a:pt x="46" y="70"/>
                  </a:cubicBezTo>
                  <a:cubicBezTo>
                    <a:pt x="46" y="71"/>
                    <a:pt x="45" y="71"/>
                    <a:pt x="45" y="7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38" y="68"/>
                    <a:pt x="37" y="68"/>
                  </a:cubicBezTo>
                  <a:cubicBezTo>
                    <a:pt x="35" y="67"/>
                    <a:pt x="27" y="63"/>
                    <a:pt x="25" y="62"/>
                  </a:cubicBezTo>
                  <a:cubicBezTo>
                    <a:pt x="23" y="61"/>
                    <a:pt x="20" y="57"/>
                    <a:pt x="19" y="56"/>
                  </a:cubicBezTo>
                  <a:cubicBezTo>
                    <a:pt x="19" y="55"/>
                    <a:pt x="20" y="53"/>
                    <a:pt x="20" y="52"/>
                  </a:cubicBezTo>
                  <a:cubicBezTo>
                    <a:pt x="19" y="51"/>
                    <a:pt x="15" y="46"/>
                    <a:pt x="14" y="45"/>
                  </a:cubicBezTo>
                  <a:cubicBezTo>
                    <a:pt x="14" y="43"/>
                    <a:pt x="6" y="29"/>
                    <a:pt x="5" y="27"/>
                  </a:cubicBezTo>
                  <a:cubicBezTo>
                    <a:pt x="4" y="26"/>
                    <a:pt x="1" y="25"/>
                    <a:pt x="1" y="25"/>
                  </a:cubicBezTo>
                  <a:cubicBezTo>
                    <a:pt x="0" y="25"/>
                    <a:pt x="0" y="23"/>
                    <a:pt x="0" y="22"/>
                  </a:cubicBezTo>
                  <a:cubicBezTo>
                    <a:pt x="0" y="22"/>
                    <a:pt x="1" y="22"/>
                    <a:pt x="1" y="21"/>
                  </a:cubicBezTo>
                  <a:cubicBezTo>
                    <a:pt x="1" y="20"/>
                    <a:pt x="0" y="19"/>
                    <a:pt x="0" y="1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4" name="Freeform 6488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2388228" y="3815213"/>
              <a:ext cx="134369" cy="70322"/>
            </a:xfrm>
            <a:custGeom>
              <a:avLst/>
              <a:gdLst>
                <a:gd name="T0" fmla="*/ 0 w 22"/>
                <a:gd name="T1" fmla="*/ 6 h 11"/>
                <a:gd name="T2" fmla="*/ 1 w 22"/>
                <a:gd name="T3" fmla="*/ 0 h 11"/>
                <a:gd name="T4" fmla="*/ 6 w 22"/>
                <a:gd name="T5" fmla="*/ 4 h 11"/>
                <a:gd name="T6" fmla="*/ 13 w 22"/>
                <a:gd name="T7" fmla="*/ 1 h 11"/>
                <a:gd name="T8" fmla="*/ 21 w 22"/>
                <a:gd name="T9" fmla="*/ 4 h 11"/>
                <a:gd name="T10" fmla="*/ 22 w 22"/>
                <a:gd name="T11" fmla="*/ 5 h 11"/>
                <a:gd name="T12" fmla="*/ 22 w 22"/>
                <a:gd name="T13" fmla="*/ 8 h 11"/>
                <a:gd name="T14" fmla="*/ 19 w 22"/>
                <a:gd name="T15" fmla="*/ 10 h 11"/>
                <a:gd name="T16" fmla="*/ 19 w 22"/>
                <a:gd name="T17" fmla="*/ 10 h 11"/>
                <a:gd name="T18" fmla="*/ 18 w 22"/>
                <a:gd name="T19" fmla="*/ 9 h 11"/>
                <a:gd name="T20" fmla="*/ 19 w 22"/>
                <a:gd name="T21" fmla="*/ 6 h 11"/>
                <a:gd name="T22" fmla="*/ 14 w 22"/>
                <a:gd name="T23" fmla="*/ 4 h 11"/>
                <a:gd name="T24" fmla="*/ 12 w 22"/>
                <a:gd name="T25" fmla="*/ 5 h 11"/>
                <a:gd name="T26" fmla="*/ 10 w 22"/>
                <a:gd name="T27" fmla="*/ 7 h 11"/>
                <a:gd name="T28" fmla="*/ 11 w 22"/>
                <a:gd name="T29" fmla="*/ 10 h 11"/>
                <a:gd name="T30" fmla="*/ 8 w 22"/>
                <a:gd name="T31" fmla="*/ 11 h 11"/>
                <a:gd name="T32" fmla="*/ 6 w 22"/>
                <a:gd name="T33" fmla="*/ 9 h 11"/>
                <a:gd name="T34" fmla="*/ 3 w 22"/>
                <a:gd name="T35" fmla="*/ 7 h 11"/>
                <a:gd name="T36" fmla="*/ 0 w 22"/>
                <a:gd name="T3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11">
                  <a:moveTo>
                    <a:pt x="0" y="6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5" y="3"/>
                    <a:pt x="6" y="4"/>
                  </a:cubicBezTo>
                  <a:cubicBezTo>
                    <a:pt x="7" y="5"/>
                    <a:pt x="11" y="1"/>
                    <a:pt x="13" y="1"/>
                  </a:cubicBezTo>
                  <a:cubicBezTo>
                    <a:pt x="16" y="1"/>
                    <a:pt x="19" y="2"/>
                    <a:pt x="21" y="4"/>
                  </a:cubicBezTo>
                  <a:cubicBezTo>
                    <a:pt x="21" y="4"/>
                    <a:pt x="22" y="5"/>
                    <a:pt x="22" y="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8" y="9"/>
                    <a:pt x="18" y="9"/>
                  </a:cubicBezTo>
                  <a:cubicBezTo>
                    <a:pt x="17" y="8"/>
                    <a:pt x="19" y="7"/>
                    <a:pt x="19" y="6"/>
                  </a:cubicBezTo>
                  <a:cubicBezTo>
                    <a:pt x="19" y="6"/>
                    <a:pt x="15" y="4"/>
                    <a:pt x="14" y="4"/>
                  </a:cubicBezTo>
                  <a:cubicBezTo>
                    <a:pt x="13" y="4"/>
                    <a:pt x="13" y="5"/>
                    <a:pt x="12" y="5"/>
                  </a:cubicBezTo>
                  <a:cubicBezTo>
                    <a:pt x="12" y="5"/>
                    <a:pt x="10" y="6"/>
                    <a:pt x="10" y="7"/>
                  </a:cubicBezTo>
                  <a:cubicBezTo>
                    <a:pt x="9" y="7"/>
                    <a:pt x="12" y="9"/>
                    <a:pt x="11" y="10"/>
                  </a:cubicBezTo>
                  <a:cubicBezTo>
                    <a:pt x="10" y="10"/>
                    <a:pt x="8" y="11"/>
                    <a:pt x="8" y="11"/>
                  </a:cubicBezTo>
                  <a:cubicBezTo>
                    <a:pt x="7" y="11"/>
                    <a:pt x="7" y="9"/>
                    <a:pt x="6" y="9"/>
                  </a:cubicBezTo>
                  <a:cubicBezTo>
                    <a:pt x="5" y="8"/>
                    <a:pt x="4" y="7"/>
                    <a:pt x="3" y="7"/>
                  </a:cubicBezTo>
                  <a:cubicBezTo>
                    <a:pt x="2" y="7"/>
                    <a:pt x="1" y="7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5" name="Freeform 6489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2344480" y="3476996"/>
              <a:ext cx="246863" cy="90414"/>
            </a:xfrm>
            <a:custGeom>
              <a:avLst/>
              <a:gdLst>
                <a:gd name="T0" fmla="*/ 1 w 41"/>
                <a:gd name="T1" fmla="*/ 6 h 14"/>
                <a:gd name="T2" fmla="*/ 1 w 41"/>
                <a:gd name="T3" fmla="*/ 5 h 14"/>
                <a:gd name="T4" fmla="*/ 1 w 41"/>
                <a:gd name="T5" fmla="*/ 4 h 14"/>
                <a:gd name="T6" fmla="*/ 3 w 41"/>
                <a:gd name="T7" fmla="*/ 2 h 14"/>
                <a:gd name="T8" fmla="*/ 13 w 41"/>
                <a:gd name="T9" fmla="*/ 0 h 14"/>
                <a:gd name="T10" fmla="*/ 14 w 41"/>
                <a:gd name="T11" fmla="*/ 0 h 14"/>
                <a:gd name="T12" fmla="*/ 18 w 41"/>
                <a:gd name="T13" fmla="*/ 0 h 14"/>
                <a:gd name="T14" fmla="*/ 21 w 41"/>
                <a:gd name="T15" fmla="*/ 2 h 14"/>
                <a:gd name="T16" fmla="*/ 26 w 41"/>
                <a:gd name="T17" fmla="*/ 3 h 14"/>
                <a:gd name="T18" fmla="*/ 33 w 41"/>
                <a:gd name="T19" fmla="*/ 7 h 14"/>
                <a:gd name="T20" fmla="*/ 41 w 41"/>
                <a:gd name="T21" fmla="*/ 11 h 14"/>
                <a:gd name="T22" fmla="*/ 38 w 41"/>
                <a:gd name="T23" fmla="*/ 13 h 14"/>
                <a:gd name="T24" fmla="*/ 27 w 41"/>
                <a:gd name="T25" fmla="*/ 14 h 14"/>
                <a:gd name="T26" fmla="*/ 29 w 41"/>
                <a:gd name="T27" fmla="*/ 10 h 14"/>
                <a:gd name="T28" fmla="*/ 25 w 41"/>
                <a:gd name="T29" fmla="*/ 9 h 14"/>
                <a:gd name="T30" fmla="*/ 23 w 41"/>
                <a:gd name="T31" fmla="*/ 6 h 14"/>
                <a:gd name="T32" fmla="*/ 19 w 41"/>
                <a:gd name="T33" fmla="*/ 5 h 14"/>
                <a:gd name="T34" fmla="*/ 12 w 41"/>
                <a:gd name="T35" fmla="*/ 4 h 14"/>
                <a:gd name="T36" fmla="*/ 8 w 41"/>
                <a:gd name="T37" fmla="*/ 3 h 14"/>
                <a:gd name="T38" fmla="*/ 4 w 41"/>
                <a:gd name="T39" fmla="*/ 5 h 14"/>
                <a:gd name="T40" fmla="*/ 1 w 41"/>
                <a:gd name="T4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" h="14">
                  <a:moveTo>
                    <a:pt x="1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0" y="4"/>
                    <a:pt x="2" y="2"/>
                    <a:pt x="3" y="2"/>
                  </a:cubicBezTo>
                  <a:cubicBezTo>
                    <a:pt x="4" y="1"/>
                    <a:pt x="11" y="0"/>
                    <a:pt x="13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2"/>
                    <a:pt x="21" y="2"/>
                  </a:cubicBezTo>
                  <a:cubicBezTo>
                    <a:pt x="22" y="2"/>
                    <a:pt x="24" y="2"/>
                    <a:pt x="26" y="3"/>
                  </a:cubicBezTo>
                  <a:cubicBezTo>
                    <a:pt x="28" y="4"/>
                    <a:pt x="32" y="7"/>
                    <a:pt x="33" y="7"/>
                  </a:cubicBezTo>
                  <a:cubicBezTo>
                    <a:pt x="35" y="8"/>
                    <a:pt x="41" y="10"/>
                    <a:pt x="41" y="11"/>
                  </a:cubicBezTo>
                  <a:cubicBezTo>
                    <a:pt x="41" y="12"/>
                    <a:pt x="39" y="13"/>
                    <a:pt x="38" y="13"/>
                  </a:cubicBezTo>
                  <a:cubicBezTo>
                    <a:pt x="36" y="13"/>
                    <a:pt x="28" y="14"/>
                    <a:pt x="27" y="14"/>
                  </a:cubicBezTo>
                  <a:cubicBezTo>
                    <a:pt x="26" y="13"/>
                    <a:pt x="30" y="10"/>
                    <a:pt x="29" y="10"/>
                  </a:cubicBezTo>
                  <a:cubicBezTo>
                    <a:pt x="28" y="9"/>
                    <a:pt x="26" y="10"/>
                    <a:pt x="25" y="9"/>
                  </a:cubicBezTo>
                  <a:cubicBezTo>
                    <a:pt x="24" y="8"/>
                    <a:pt x="25" y="6"/>
                    <a:pt x="23" y="6"/>
                  </a:cubicBezTo>
                  <a:cubicBezTo>
                    <a:pt x="22" y="6"/>
                    <a:pt x="20" y="6"/>
                    <a:pt x="19" y="5"/>
                  </a:cubicBezTo>
                  <a:cubicBezTo>
                    <a:pt x="17" y="5"/>
                    <a:pt x="13" y="5"/>
                    <a:pt x="12" y="4"/>
                  </a:cubicBezTo>
                  <a:cubicBezTo>
                    <a:pt x="12" y="4"/>
                    <a:pt x="10" y="3"/>
                    <a:pt x="8" y="3"/>
                  </a:cubicBezTo>
                  <a:cubicBezTo>
                    <a:pt x="7" y="4"/>
                    <a:pt x="5" y="4"/>
                    <a:pt x="4" y="5"/>
                  </a:cubicBezTo>
                  <a:cubicBezTo>
                    <a:pt x="3" y="5"/>
                    <a:pt x="2" y="6"/>
                    <a:pt x="1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6" name="Freeform 6490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2316356" y="3788423"/>
              <a:ext cx="78121" cy="63625"/>
            </a:xfrm>
            <a:custGeom>
              <a:avLst/>
              <a:gdLst>
                <a:gd name="T0" fmla="*/ 4 w 13"/>
                <a:gd name="T1" fmla="*/ 7 h 10"/>
                <a:gd name="T2" fmla="*/ 1 w 13"/>
                <a:gd name="T3" fmla="*/ 4 h 10"/>
                <a:gd name="T4" fmla="*/ 1 w 13"/>
                <a:gd name="T5" fmla="*/ 1 h 10"/>
                <a:gd name="T6" fmla="*/ 1 w 13"/>
                <a:gd name="T7" fmla="*/ 0 h 10"/>
                <a:gd name="T8" fmla="*/ 9 w 13"/>
                <a:gd name="T9" fmla="*/ 0 h 10"/>
                <a:gd name="T10" fmla="*/ 13 w 13"/>
                <a:gd name="T11" fmla="*/ 4 h 10"/>
                <a:gd name="T12" fmla="*/ 12 w 13"/>
                <a:gd name="T13" fmla="*/ 10 h 10"/>
                <a:gd name="T14" fmla="*/ 10 w 13"/>
                <a:gd name="T15" fmla="*/ 10 h 10"/>
                <a:gd name="T16" fmla="*/ 9 w 13"/>
                <a:gd name="T17" fmla="*/ 7 h 10"/>
                <a:gd name="T18" fmla="*/ 5 w 13"/>
                <a:gd name="T19" fmla="*/ 4 h 10"/>
                <a:gd name="T20" fmla="*/ 4 w 13"/>
                <a:gd name="T2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0">
                  <a:moveTo>
                    <a:pt x="4" y="7"/>
                  </a:moveTo>
                  <a:cubicBezTo>
                    <a:pt x="3" y="6"/>
                    <a:pt x="2" y="5"/>
                    <a:pt x="1" y="4"/>
                  </a:cubicBezTo>
                  <a:cubicBezTo>
                    <a:pt x="0" y="3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2"/>
                    <a:pt x="13" y="4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0" y="10"/>
                    <a:pt x="10" y="10"/>
                  </a:cubicBezTo>
                  <a:cubicBezTo>
                    <a:pt x="9" y="9"/>
                    <a:pt x="10" y="8"/>
                    <a:pt x="9" y="7"/>
                  </a:cubicBezTo>
                  <a:cubicBezTo>
                    <a:pt x="8" y="6"/>
                    <a:pt x="5" y="4"/>
                    <a:pt x="5" y="4"/>
                  </a:cubicBezTo>
                  <a:cubicBezTo>
                    <a:pt x="4" y="3"/>
                    <a:pt x="4" y="7"/>
                    <a:pt x="4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7" name="Freeform 6491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2285108" y="3681265"/>
              <a:ext cx="96870" cy="107157"/>
            </a:xfrm>
            <a:custGeom>
              <a:avLst/>
              <a:gdLst>
                <a:gd name="T0" fmla="*/ 0 w 16"/>
                <a:gd name="T1" fmla="*/ 10 h 17"/>
                <a:gd name="T2" fmla="*/ 3 w 16"/>
                <a:gd name="T3" fmla="*/ 9 h 17"/>
                <a:gd name="T4" fmla="*/ 3 w 16"/>
                <a:gd name="T5" fmla="*/ 6 h 17"/>
                <a:gd name="T6" fmla="*/ 8 w 16"/>
                <a:gd name="T7" fmla="*/ 4 h 17"/>
                <a:gd name="T8" fmla="*/ 10 w 16"/>
                <a:gd name="T9" fmla="*/ 2 h 17"/>
                <a:gd name="T10" fmla="*/ 13 w 16"/>
                <a:gd name="T11" fmla="*/ 2 h 17"/>
                <a:gd name="T12" fmla="*/ 16 w 16"/>
                <a:gd name="T13" fmla="*/ 0 h 17"/>
                <a:gd name="T14" fmla="*/ 16 w 16"/>
                <a:gd name="T15" fmla="*/ 4 h 17"/>
                <a:gd name="T16" fmla="*/ 15 w 16"/>
                <a:gd name="T17" fmla="*/ 6 h 17"/>
                <a:gd name="T18" fmla="*/ 15 w 16"/>
                <a:gd name="T19" fmla="*/ 11 h 17"/>
                <a:gd name="T20" fmla="*/ 14 w 16"/>
                <a:gd name="T21" fmla="*/ 17 h 17"/>
                <a:gd name="T22" fmla="*/ 6 w 16"/>
                <a:gd name="T23" fmla="*/ 17 h 17"/>
                <a:gd name="T24" fmla="*/ 5 w 16"/>
                <a:gd name="T25" fmla="*/ 16 h 17"/>
                <a:gd name="T26" fmla="*/ 0 w 16"/>
                <a:gd name="T27" fmla="*/ 11 h 17"/>
                <a:gd name="T28" fmla="*/ 0 w 16"/>
                <a:gd name="T2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2" y="6"/>
                    <a:pt x="3" y="6"/>
                  </a:cubicBezTo>
                  <a:cubicBezTo>
                    <a:pt x="4" y="6"/>
                    <a:pt x="7" y="5"/>
                    <a:pt x="8" y="4"/>
                  </a:cubicBezTo>
                  <a:cubicBezTo>
                    <a:pt x="8" y="4"/>
                    <a:pt x="9" y="2"/>
                    <a:pt x="10" y="2"/>
                  </a:cubicBezTo>
                  <a:cubicBezTo>
                    <a:pt x="10" y="2"/>
                    <a:pt x="13" y="2"/>
                    <a:pt x="13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"/>
                    <a:pt x="16" y="3"/>
                    <a:pt x="16" y="4"/>
                  </a:cubicBezTo>
                  <a:cubicBezTo>
                    <a:pt x="16" y="5"/>
                    <a:pt x="15" y="6"/>
                    <a:pt x="15" y="6"/>
                  </a:cubicBezTo>
                  <a:cubicBezTo>
                    <a:pt x="15" y="7"/>
                    <a:pt x="15" y="10"/>
                    <a:pt x="15" y="11"/>
                  </a:cubicBezTo>
                  <a:cubicBezTo>
                    <a:pt x="15" y="13"/>
                    <a:pt x="14" y="15"/>
                    <a:pt x="14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4" y="15"/>
                    <a:pt x="1" y="11"/>
                    <a:pt x="0" y="11"/>
                  </a:cubicBezTo>
                  <a:cubicBezTo>
                    <a:pt x="0" y="11"/>
                    <a:pt x="0" y="10"/>
                    <a:pt x="0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8" name="Freeform 6492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2241360" y="3661173"/>
              <a:ext cx="140618" cy="80368"/>
            </a:xfrm>
            <a:custGeom>
              <a:avLst/>
              <a:gdLst>
                <a:gd name="T0" fmla="*/ 0 w 23"/>
                <a:gd name="T1" fmla="*/ 6 h 13"/>
                <a:gd name="T2" fmla="*/ 0 w 23"/>
                <a:gd name="T3" fmla="*/ 5 h 13"/>
                <a:gd name="T4" fmla="*/ 4 w 23"/>
                <a:gd name="T5" fmla="*/ 1 h 13"/>
                <a:gd name="T6" fmla="*/ 7 w 23"/>
                <a:gd name="T7" fmla="*/ 1 h 13"/>
                <a:gd name="T8" fmla="*/ 13 w 23"/>
                <a:gd name="T9" fmla="*/ 0 h 13"/>
                <a:gd name="T10" fmla="*/ 19 w 23"/>
                <a:gd name="T11" fmla="*/ 0 h 13"/>
                <a:gd name="T12" fmla="*/ 23 w 23"/>
                <a:gd name="T13" fmla="*/ 3 h 13"/>
                <a:gd name="T14" fmla="*/ 20 w 23"/>
                <a:gd name="T15" fmla="*/ 5 h 13"/>
                <a:gd name="T16" fmla="*/ 17 w 23"/>
                <a:gd name="T17" fmla="*/ 5 h 13"/>
                <a:gd name="T18" fmla="*/ 15 w 23"/>
                <a:gd name="T19" fmla="*/ 7 h 13"/>
                <a:gd name="T20" fmla="*/ 10 w 23"/>
                <a:gd name="T21" fmla="*/ 9 h 13"/>
                <a:gd name="T22" fmla="*/ 10 w 23"/>
                <a:gd name="T23" fmla="*/ 12 h 13"/>
                <a:gd name="T24" fmla="*/ 7 w 23"/>
                <a:gd name="T25" fmla="*/ 13 h 13"/>
                <a:gd name="T26" fmla="*/ 6 w 23"/>
                <a:gd name="T27" fmla="*/ 11 h 13"/>
                <a:gd name="T28" fmla="*/ 5 w 23"/>
                <a:gd name="T29" fmla="*/ 11 h 13"/>
                <a:gd name="T30" fmla="*/ 6 w 23"/>
                <a:gd name="T31" fmla="*/ 7 h 13"/>
                <a:gd name="T32" fmla="*/ 0 w 23"/>
                <a:gd name="T3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4" y="1"/>
                    <a:pt x="4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5" y="0"/>
                    <a:pt x="17" y="0"/>
                    <a:pt x="19" y="0"/>
                  </a:cubicBezTo>
                  <a:cubicBezTo>
                    <a:pt x="20" y="0"/>
                    <a:pt x="22" y="2"/>
                    <a:pt x="23" y="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17" y="5"/>
                    <a:pt x="17" y="5"/>
                  </a:cubicBezTo>
                  <a:cubicBezTo>
                    <a:pt x="16" y="5"/>
                    <a:pt x="15" y="7"/>
                    <a:pt x="15" y="7"/>
                  </a:cubicBezTo>
                  <a:cubicBezTo>
                    <a:pt x="14" y="8"/>
                    <a:pt x="11" y="9"/>
                    <a:pt x="10" y="9"/>
                  </a:cubicBezTo>
                  <a:cubicBezTo>
                    <a:pt x="9" y="9"/>
                    <a:pt x="10" y="11"/>
                    <a:pt x="10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6" y="11"/>
                  </a:cubicBezTo>
                  <a:cubicBezTo>
                    <a:pt x="6" y="11"/>
                    <a:pt x="6" y="11"/>
                    <a:pt x="5" y="11"/>
                  </a:cubicBezTo>
                  <a:cubicBezTo>
                    <a:pt x="5" y="11"/>
                    <a:pt x="7" y="8"/>
                    <a:pt x="6" y="7"/>
                  </a:cubicBezTo>
                  <a:cubicBezTo>
                    <a:pt x="5" y="7"/>
                    <a:pt x="0" y="6"/>
                    <a:pt x="0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29" name="Freeform 6493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2225736" y="3698009"/>
              <a:ext cx="59372" cy="33487"/>
            </a:xfrm>
            <a:custGeom>
              <a:avLst/>
              <a:gdLst>
                <a:gd name="T0" fmla="*/ 0 w 10"/>
                <a:gd name="T1" fmla="*/ 3 h 5"/>
                <a:gd name="T2" fmla="*/ 3 w 10"/>
                <a:gd name="T3" fmla="*/ 0 h 5"/>
                <a:gd name="T4" fmla="*/ 9 w 10"/>
                <a:gd name="T5" fmla="*/ 1 h 5"/>
                <a:gd name="T6" fmla="*/ 8 w 10"/>
                <a:gd name="T7" fmla="*/ 5 h 5"/>
                <a:gd name="T8" fmla="*/ 5 w 10"/>
                <a:gd name="T9" fmla="*/ 5 h 5"/>
                <a:gd name="T10" fmla="*/ 0 w 10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3"/>
                  </a:move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8" y="1"/>
                    <a:pt x="9" y="1"/>
                  </a:cubicBezTo>
                  <a:cubicBezTo>
                    <a:pt x="10" y="2"/>
                    <a:pt x="8" y="5"/>
                    <a:pt x="8" y="5"/>
                  </a:cubicBezTo>
                  <a:cubicBezTo>
                    <a:pt x="7" y="5"/>
                    <a:pt x="6" y="5"/>
                    <a:pt x="5" y="5"/>
                  </a:cubicBezTo>
                  <a:cubicBezTo>
                    <a:pt x="3" y="5"/>
                    <a:pt x="2" y="4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0" name="Freeform 6494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2241035" y="3588298"/>
              <a:ext cx="38181" cy="72875"/>
            </a:xfrm>
            <a:custGeom>
              <a:avLst/>
              <a:gdLst>
                <a:gd name="T0" fmla="*/ 1 w 7"/>
                <a:gd name="T1" fmla="*/ 11 h 11"/>
                <a:gd name="T2" fmla="*/ 1 w 7"/>
                <a:gd name="T3" fmla="*/ 4 h 11"/>
                <a:gd name="T4" fmla="*/ 4 w 7"/>
                <a:gd name="T5" fmla="*/ 0 h 11"/>
                <a:gd name="T6" fmla="*/ 7 w 7"/>
                <a:gd name="T7" fmla="*/ 1 h 11"/>
                <a:gd name="T8" fmla="*/ 5 w 7"/>
                <a:gd name="T9" fmla="*/ 7 h 11"/>
                <a:gd name="T10" fmla="*/ 4 w 7"/>
                <a:gd name="T11" fmla="*/ 10 h 11"/>
                <a:gd name="T12" fmla="*/ 1 w 7"/>
                <a:gd name="T13" fmla="*/ 11 h 11"/>
                <a:gd name="connsiteX0" fmla="*/ 740 w 9399"/>
                <a:gd name="connsiteY0" fmla="*/ 10363 h 10363"/>
                <a:gd name="connsiteX1" fmla="*/ 740 w 9399"/>
                <a:gd name="connsiteY1" fmla="*/ 3999 h 10363"/>
                <a:gd name="connsiteX2" fmla="*/ 3267 w 9399"/>
                <a:gd name="connsiteY2" fmla="*/ 0 h 10363"/>
                <a:gd name="connsiteX3" fmla="*/ 9311 w 9399"/>
                <a:gd name="connsiteY3" fmla="*/ 1272 h 10363"/>
                <a:gd name="connsiteX4" fmla="*/ 6454 w 9399"/>
                <a:gd name="connsiteY4" fmla="*/ 6727 h 10363"/>
                <a:gd name="connsiteX5" fmla="*/ 5025 w 9399"/>
                <a:gd name="connsiteY5" fmla="*/ 9454 h 10363"/>
                <a:gd name="connsiteX6" fmla="*/ 740 w 9399"/>
                <a:gd name="connsiteY6" fmla="*/ 10363 h 10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99" h="10363">
                  <a:moveTo>
                    <a:pt x="740" y="10363"/>
                  </a:moveTo>
                  <a:cubicBezTo>
                    <a:pt x="-689" y="10363"/>
                    <a:pt x="319" y="5726"/>
                    <a:pt x="740" y="3999"/>
                  </a:cubicBezTo>
                  <a:cubicBezTo>
                    <a:pt x="1161" y="2272"/>
                    <a:pt x="3267" y="0"/>
                    <a:pt x="3267" y="0"/>
                  </a:cubicBezTo>
                  <a:cubicBezTo>
                    <a:pt x="7553" y="909"/>
                    <a:pt x="8780" y="151"/>
                    <a:pt x="9311" y="1272"/>
                  </a:cubicBezTo>
                  <a:cubicBezTo>
                    <a:pt x="9842" y="2393"/>
                    <a:pt x="7882" y="5818"/>
                    <a:pt x="6454" y="6727"/>
                  </a:cubicBezTo>
                  <a:cubicBezTo>
                    <a:pt x="6454" y="7636"/>
                    <a:pt x="5025" y="8545"/>
                    <a:pt x="5025" y="9454"/>
                  </a:cubicBezTo>
                  <a:lnTo>
                    <a:pt x="740" y="10363"/>
                  </a:ln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1" name="Freeform 6495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2166364" y="3614292"/>
              <a:ext cx="99995" cy="103809"/>
            </a:xfrm>
            <a:custGeom>
              <a:avLst/>
              <a:gdLst>
                <a:gd name="T0" fmla="*/ 0 w 17"/>
                <a:gd name="T1" fmla="*/ 12 h 16"/>
                <a:gd name="T2" fmla="*/ 2 w 17"/>
                <a:gd name="T3" fmla="*/ 10 h 16"/>
                <a:gd name="T4" fmla="*/ 3 w 17"/>
                <a:gd name="T5" fmla="*/ 8 h 16"/>
                <a:gd name="T6" fmla="*/ 7 w 17"/>
                <a:gd name="T7" fmla="*/ 7 h 16"/>
                <a:gd name="T8" fmla="*/ 7 w 17"/>
                <a:gd name="T9" fmla="*/ 4 h 16"/>
                <a:gd name="T10" fmla="*/ 5 w 17"/>
                <a:gd name="T11" fmla="*/ 1 h 16"/>
                <a:gd name="T12" fmla="*/ 5 w 17"/>
                <a:gd name="T13" fmla="*/ 0 h 16"/>
                <a:gd name="T14" fmla="*/ 12 w 17"/>
                <a:gd name="T15" fmla="*/ 0 h 16"/>
                <a:gd name="T16" fmla="*/ 12 w 17"/>
                <a:gd name="T17" fmla="*/ 7 h 16"/>
                <a:gd name="T18" fmla="*/ 16 w 17"/>
                <a:gd name="T19" fmla="*/ 6 h 16"/>
                <a:gd name="T20" fmla="*/ 16 w 17"/>
                <a:gd name="T21" fmla="*/ 8 h 16"/>
                <a:gd name="T22" fmla="*/ 17 w 17"/>
                <a:gd name="T23" fmla="*/ 8 h 16"/>
                <a:gd name="T24" fmla="*/ 13 w 17"/>
                <a:gd name="T25" fmla="*/ 12 h 16"/>
                <a:gd name="T26" fmla="*/ 12 w 17"/>
                <a:gd name="T27" fmla="*/ 13 h 16"/>
                <a:gd name="T28" fmla="*/ 10 w 17"/>
                <a:gd name="T29" fmla="*/ 16 h 16"/>
                <a:gd name="T30" fmla="*/ 8 w 17"/>
                <a:gd name="T31" fmla="*/ 16 h 16"/>
                <a:gd name="T32" fmla="*/ 5 w 17"/>
                <a:gd name="T33" fmla="*/ 15 h 16"/>
                <a:gd name="T34" fmla="*/ 0 w 17"/>
                <a:gd name="T35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6">
                  <a:moveTo>
                    <a:pt x="0" y="12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7"/>
                    <a:pt x="12" y="7"/>
                  </a:cubicBezTo>
                  <a:cubicBezTo>
                    <a:pt x="13" y="8"/>
                    <a:pt x="16" y="6"/>
                    <a:pt x="16" y="6"/>
                  </a:cubicBezTo>
                  <a:cubicBezTo>
                    <a:pt x="15" y="7"/>
                    <a:pt x="14" y="7"/>
                    <a:pt x="16" y="8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4" y="11"/>
                    <a:pt x="13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1" y="15"/>
                    <a:pt x="10" y="16"/>
                  </a:cubicBezTo>
                  <a:cubicBezTo>
                    <a:pt x="9" y="16"/>
                    <a:pt x="9" y="16"/>
                    <a:pt x="8" y="16"/>
                  </a:cubicBezTo>
                  <a:cubicBezTo>
                    <a:pt x="7" y="15"/>
                    <a:pt x="6" y="16"/>
                    <a:pt x="5" y="15"/>
                  </a:cubicBezTo>
                  <a:cubicBezTo>
                    <a:pt x="4" y="15"/>
                    <a:pt x="1" y="13"/>
                    <a:pt x="0" y="1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2" name="Freeform 6496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1585141" y="3205753"/>
              <a:ext cx="718005" cy="485558"/>
            </a:xfrm>
            <a:custGeom>
              <a:avLst/>
              <a:gdLst>
                <a:gd name="T0" fmla="*/ 0 w 120"/>
                <a:gd name="T1" fmla="*/ 2 h 75"/>
                <a:gd name="T2" fmla="*/ 9 w 120"/>
                <a:gd name="T3" fmla="*/ 0 h 75"/>
                <a:gd name="T4" fmla="*/ 24 w 120"/>
                <a:gd name="T5" fmla="*/ 8 h 75"/>
                <a:gd name="T6" fmla="*/ 35 w 120"/>
                <a:gd name="T7" fmla="*/ 5 h 75"/>
                <a:gd name="T8" fmla="*/ 46 w 120"/>
                <a:gd name="T9" fmla="*/ 10 h 75"/>
                <a:gd name="T10" fmla="*/ 54 w 120"/>
                <a:gd name="T11" fmla="*/ 17 h 75"/>
                <a:gd name="T12" fmla="*/ 62 w 120"/>
                <a:gd name="T13" fmla="*/ 15 h 75"/>
                <a:gd name="T14" fmla="*/ 75 w 120"/>
                <a:gd name="T15" fmla="*/ 31 h 75"/>
                <a:gd name="T16" fmla="*/ 78 w 120"/>
                <a:gd name="T17" fmla="*/ 30 h 75"/>
                <a:gd name="T18" fmla="*/ 76 w 120"/>
                <a:gd name="T19" fmla="*/ 37 h 75"/>
                <a:gd name="T20" fmla="*/ 78 w 120"/>
                <a:gd name="T21" fmla="*/ 48 h 75"/>
                <a:gd name="T22" fmla="*/ 81 w 120"/>
                <a:gd name="T23" fmla="*/ 55 h 75"/>
                <a:gd name="T24" fmla="*/ 87 w 120"/>
                <a:gd name="T25" fmla="*/ 60 h 75"/>
                <a:gd name="T26" fmla="*/ 96 w 120"/>
                <a:gd name="T27" fmla="*/ 60 h 75"/>
                <a:gd name="T28" fmla="*/ 103 w 120"/>
                <a:gd name="T29" fmla="*/ 54 h 75"/>
                <a:gd name="T30" fmla="*/ 112 w 120"/>
                <a:gd name="T31" fmla="*/ 48 h 75"/>
                <a:gd name="T32" fmla="*/ 118 w 120"/>
                <a:gd name="T33" fmla="*/ 48 h 75"/>
                <a:gd name="T34" fmla="*/ 116 w 120"/>
                <a:gd name="T35" fmla="*/ 56 h 75"/>
                <a:gd name="T36" fmla="*/ 112 w 120"/>
                <a:gd name="T37" fmla="*/ 60 h 75"/>
                <a:gd name="T38" fmla="*/ 101 w 120"/>
                <a:gd name="T39" fmla="*/ 63 h 75"/>
                <a:gd name="T40" fmla="*/ 103 w 120"/>
                <a:gd name="T41" fmla="*/ 67 h 75"/>
                <a:gd name="T42" fmla="*/ 99 w 120"/>
                <a:gd name="T43" fmla="*/ 71 h 75"/>
                <a:gd name="T44" fmla="*/ 96 w 120"/>
                <a:gd name="T45" fmla="*/ 75 h 75"/>
                <a:gd name="T46" fmla="*/ 83 w 120"/>
                <a:gd name="T47" fmla="*/ 71 h 75"/>
                <a:gd name="T48" fmla="*/ 66 w 120"/>
                <a:gd name="T49" fmla="*/ 67 h 75"/>
                <a:gd name="T50" fmla="*/ 50 w 120"/>
                <a:gd name="T51" fmla="*/ 58 h 75"/>
                <a:gd name="T52" fmla="*/ 45 w 120"/>
                <a:gd name="T53" fmla="*/ 53 h 75"/>
                <a:gd name="T54" fmla="*/ 44 w 120"/>
                <a:gd name="T55" fmla="*/ 44 h 75"/>
                <a:gd name="T56" fmla="*/ 30 w 120"/>
                <a:gd name="T57" fmla="*/ 31 h 75"/>
                <a:gd name="T58" fmla="*/ 27 w 120"/>
                <a:gd name="T59" fmla="*/ 25 h 75"/>
                <a:gd name="T60" fmla="*/ 23 w 120"/>
                <a:gd name="T61" fmla="*/ 21 h 75"/>
                <a:gd name="T62" fmla="*/ 16 w 120"/>
                <a:gd name="T63" fmla="*/ 8 h 75"/>
                <a:gd name="T64" fmla="*/ 9 w 120"/>
                <a:gd name="T65" fmla="*/ 9 h 75"/>
                <a:gd name="T66" fmla="*/ 13 w 120"/>
                <a:gd name="T67" fmla="*/ 15 h 75"/>
                <a:gd name="T68" fmla="*/ 20 w 120"/>
                <a:gd name="T69" fmla="*/ 24 h 75"/>
                <a:gd name="T70" fmla="*/ 24 w 120"/>
                <a:gd name="T71" fmla="*/ 32 h 75"/>
                <a:gd name="T72" fmla="*/ 28 w 120"/>
                <a:gd name="T73" fmla="*/ 37 h 75"/>
                <a:gd name="T74" fmla="*/ 28 w 120"/>
                <a:gd name="T75" fmla="*/ 43 h 75"/>
                <a:gd name="T76" fmla="*/ 24 w 120"/>
                <a:gd name="T77" fmla="*/ 38 h 75"/>
                <a:gd name="T78" fmla="*/ 20 w 120"/>
                <a:gd name="T79" fmla="*/ 31 h 75"/>
                <a:gd name="T80" fmla="*/ 11 w 120"/>
                <a:gd name="T81" fmla="*/ 26 h 75"/>
                <a:gd name="T82" fmla="*/ 11 w 120"/>
                <a:gd name="T83" fmla="*/ 22 h 75"/>
                <a:gd name="T84" fmla="*/ 6 w 120"/>
                <a:gd name="T85" fmla="*/ 14 h 75"/>
                <a:gd name="connsiteX0" fmla="*/ 167 w 9904"/>
                <a:gd name="connsiteY0" fmla="*/ 933 h 10000"/>
                <a:gd name="connsiteX1" fmla="*/ 0 w 9904"/>
                <a:gd name="connsiteY1" fmla="*/ 267 h 10000"/>
                <a:gd name="connsiteX2" fmla="*/ 333 w 9904"/>
                <a:gd name="connsiteY2" fmla="*/ 133 h 10000"/>
                <a:gd name="connsiteX3" fmla="*/ 750 w 9904"/>
                <a:gd name="connsiteY3" fmla="*/ 0 h 10000"/>
                <a:gd name="connsiteX4" fmla="*/ 750 w 9904"/>
                <a:gd name="connsiteY4" fmla="*/ 267 h 10000"/>
                <a:gd name="connsiteX5" fmla="*/ 1901 w 9904"/>
                <a:gd name="connsiteY5" fmla="*/ 857 h 10000"/>
                <a:gd name="connsiteX6" fmla="*/ 2917 w 9904"/>
                <a:gd name="connsiteY6" fmla="*/ 1067 h 10000"/>
                <a:gd name="connsiteX7" fmla="*/ 2917 w 9904"/>
                <a:gd name="connsiteY7" fmla="*/ 667 h 10000"/>
                <a:gd name="connsiteX8" fmla="*/ 3500 w 9904"/>
                <a:gd name="connsiteY8" fmla="*/ 667 h 10000"/>
                <a:gd name="connsiteX9" fmla="*/ 3833 w 9904"/>
                <a:gd name="connsiteY9" fmla="*/ 1333 h 10000"/>
                <a:gd name="connsiteX10" fmla="*/ 4083 w 9904"/>
                <a:gd name="connsiteY10" fmla="*/ 1733 h 10000"/>
                <a:gd name="connsiteX11" fmla="*/ 4500 w 9904"/>
                <a:gd name="connsiteY11" fmla="*/ 2267 h 10000"/>
                <a:gd name="connsiteX12" fmla="*/ 4750 w 9904"/>
                <a:gd name="connsiteY12" fmla="*/ 1867 h 10000"/>
                <a:gd name="connsiteX13" fmla="*/ 5167 w 9904"/>
                <a:gd name="connsiteY13" fmla="*/ 2000 h 10000"/>
                <a:gd name="connsiteX14" fmla="*/ 5833 w 9904"/>
                <a:gd name="connsiteY14" fmla="*/ 3733 h 10000"/>
                <a:gd name="connsiteX15" fmla="*/ 6250 w 9904"/>
                <a:gd name="connsiteY15" fmla="*/ 4133 h 10000"/>
                <a:gd name="connsiteX16" fmla="*/ 6500 w 9904"/>
                <a:gd name="connsiteY16" fmla="*/ 4000 h 10000"/>
                <a:gd name="connsiteX17" fmla="*/ 6500 w 9904"/>
                <a:gd name="connsiteY17" fmla="*/ 4000 h 10000"/>
                <a:gd name="connsiteX18" fmla="*/ 6500 w 9904"/>
                <a:gd name="connsiteY18" fmla="*/ 4133 h 10000"/>
                <a:gd name="connsiteX19" fmla="*/ 6333 w 9904"/>
                <a:gd name="connsiteY19" fmla="*/ 4933 h 10000"/>
                <a:gd name="connsiteX20" fmla="*/ 6250 w 9904"/>
                <a:gd name="connsiteY20" fmla="*/ 5867 h 10000"/>
                <a:gd name="connsiteX21" fmla="*/ 6500 w 9904"/>
                <a:gd name="connsiteY21" fmla="*/ 6400 h 10000"/>
                <a:gd name="connsiteX22" fmla="*/ 6417 w 9904"/>
                <a:gd name="connsiteY22" fmla="*/ 6667 h 10000"/>
                <a:gd name="connsiteX23" fmla="*/ 6750 w 9904"/>
                <a:gd name="connsiteY23" fmla="*/ 7333 h 10000"/>
                <a:gd name="connsiteX24" fmla="*/ 6833 w 9904"/>
                <a:gd name="connsiteY24" fmla="*/ 7867 h 10000"/>
                <a:gd name="connsiteX25" fmla="*/ 7250 w 9904"/>
                <a:gd name="connsiteY25" fmla="*/ 8000 h 10000"/>
                <a:gd name="connsiteX26" fmla="*/ 7500 w 9904"/>
                <a:gd name="connsiteY26" fmla="*/ 8267 h 10000"/>
                <a:gd name="connsiteX27" fmla="*/ 8000 w 9904"/>
                <a:gd name="connsiteY27" fmla="*/ 8000 h 10000"/>
                <a:gd name="connsiteX28" fmla="*/ 8500 w 9904"/>
                <a:gd name="connsiteY28" fmla="*/ 7733 h 10000"/>
                <a:gd name="connsiteX29" fmla="*/ 8583 w 9904"/>
                <a:gd name="connsiteY29" fmla="*/ 7200 h 10000"/>
                <a:gd name="connsiteX30" fmla="*/ 8750 w 9904"/>
                <a:gd name="connsiteY30" fmla="*/ 6667 h 10000"/>
                <a:gd name="connsiteX31" fmla="*/ 9333 w 9904"/>
                <a:gd name="connsiteY31" fmla="*/ 6400 h 10000"/>
                <a:gd name="connsiteX32" fmla="*/ 9750 w 9904"/>
                <a:gd name="connsiteY32" fmla="*/ 6400 h 10000"/>
                <a:gd name="connsiteX33" fmla="*/ 9833 w 9904"/>
                <a:gd name="connsiteY33" fmla="*/ 6400 h 10000"/>
                <a:gd name="connsiteX34" fmla="*/ 9750 w 9904"/>
                <a:gd name="connsiteY34" fmla="*/ 6933 h 10000"/>
                <a:gd name="connsiteX35" fmla="*/ 9667 w 9904"/>
                <a:gd name="connsiteY35" fmla="*/ 7467 h 10000"/>
                <a:gd name="connsiteX36" fmla="*/ 9583 w 9904"/>
                <a:gd name="connsiteY36" fmla="*/ 8133 h 10000"/>
                <a:gd name="connsiteX37" fmla="*/ 9333 w 9904"/>
                <a:gd name="connsiteY37" fmla="*/ 8000 h 10000"/>
                <a:gd name="connsiteX38" fmla="*/ 9000 w 9904"/>
                <a:gd name="connsiteY38" fmla="*/ 8400 h 10000"/>
                <a:gd name="connsiteX39" fmla="*/ 8417 w 9904"/>
                <a:gd name="connsiteY39" fmla="*/ 8400 h 10000"/>
                <a:gd name="connsiteX40" fmla="*/ 8417 w 9904"/>
                <a:gd name="connsiteY40" fmla="*/ 8667 h 10000"/>
                <a:gd name="connsiteX41" fmla="*/ 8583 w 9904"/>
                <a:gd name="connsiteY41" fmla="*/ 8933 h 10000"/>
                <a:gd name="connsiteX42" fmla="*/ 8583 w 9904"/>
                <a:gd name="connsiteY42" fmla="*/ 9333 h 10000"/>
                <a:gd name="connsiteX43" fmla="*/ 8250 w 9904"/>
                <a:gd name="connsiteY43" fmla="*/ 9467 h 10000"/>
                <a:gd name="connsiteX44" fmla="*/ 8167 w 9904"/>
                <a:gd name="connsiteY44" fmla="*/ 9733 h 10000"/>
                <a:gd name="connsiteX45" fmla="*/ 8000 w 9904"/>
                <a:gd name="connsiteY45" fmla="*/ 10000 h 10000"/>
                <a:gd name="connsiteX46" fmla="*/ 7333 w 9904"/>
                <a:gd name="connsiteY46" fmla="*/ 9200 h 10000"/>
                <a:gd name="connsiteX47" fmla="*/ 6917 w 9904"/>
                <a:gd name="connsiteY47" fmla="*/ 9467 h 10000"/>
                <a:gd name="connsiteX48" fmla="*/ 6500 w 9904"/>
                <a:gd name="connsiteY48" fmla="*/ 9467 h 10000"/>
                <a:gd name="connsiteX49" fmla="*/ 5500 w 9904"/>
                <a:gd name="connsiteY49" fmla="*/ 8933 h 10000"/>
                <a:gd name="connsiteX50" fmla="*/ 4833 w 9904"/>
                <a:gd name="connsiteY50" fmla="*/ 8400 h 10000"/>
                <a:gd name="connsiteX51" fmla="*/ 4167 w 9904"/>
                <a:gd name="connsiteY51" fmla="*/ 7733 h 10000"/>
                <a:gd name="connsiteX52" fmla="*/ 3750 w 9904"/>
                <a:gd name="connsiteY52" fmla="*/ 7333 h 10000"/>
                <a:gd name="connsiteX53" fmla="*/ 3750 w 9904"/>
                <a:gd name="connsiteY53" fmla="*/ 7067 h 10000"/>
                <a:gd name="connsiteX54" fmla="*/ 3833 w 9904"/>
                <a:gd name="connsiteY54" fmla="*/ 6667 h 10000"/>
                <a:gd name="connsiteX55" fmla="*/ 3667 w 9904"/>
                <a:gd name="connsiteY55" fmla="*/ 5867 h 10000"/>
                <a:gd name="connsiteX56" fmla="*/ 3000 w 9904"/>
                <a:gd name="connsiteY56" fmla="*/ 4800 h 10000"/>
                <a:gd name="connsiteX57" fmla="*/ 2500 w 9904"/>
                <a:gd name="connsiteY57" fmla="*/ 4133 h 10000"/>
                <a:gd name="connsiteX58" fmla="*/ 2500 w 9904"/>
                <a:gd name="connsiteY58" fmla="*/ 3733 h 10000"/>
                <a:gd name="connsiteX59" fmla="*/ 2250 w 9904"/>
                <a:gd name="connsiteY59" fmla="*/ 3333 h 10000"/>
                <a:gd name="connsiteX60" fmla="*/ 2167 w 9904"/>
                <a:gd name="connsiteY60" fmla="*/ 2933 h 10000"/>
                <a:gd name="connsiteX61" fmla="*/ 1917 w 9904"/>
                <a:gd name="connsiteY61" fmla="*/ 2800 h 10000"/>
                <a:gd name="connsiteX62" fmla="*/ 1500 w 9904"/>
                <a:gd name="connsiteY62" fmla="*/ 1867 h 10000"/>
                <a:gd name="connsiteX63" fmla="*/ 1333 w 9904"/>
                <a:gd name="connsiteY63" fmla="*/ 1067 h 10000"/>
                <a:gd name="connsiteX64" fmla="*/ 750 w 9904"/>
                <a:gd name="connsiteY64" fmla="*/ 667 h 10000"/>
                <a:gd name="connsiteX65" fmla="*/ 750 w 9904"/>
                <a:gd name="connsiteY65" fmla="*/ 1200 h 10000"/>
                <a:gd name="connsiteX66" fmla="*/ 833 w 9904"/>
                <a:gd name="connsiteY66" fmla="*/ 1733 h 10000"/>
                <a:gd name="connsiteX67" fmla="*/ 1083 w 9904"/>
                <a:gd name="connsiteY67" fmla="*/ 2000 h 10000"/>
                <a:gd name="connsiteX68" fmla="*/ 1333 w 9904"/>
                <a:gd name="connsiteY68" fmla="*/ 2533 h 10000"/>
                <a:gd name="connsiteX69" fmla="*/ 1667 w 9904"/>
                <a:gd name="connsiteY69" fmla="*/ 3200 h 10000"/>
                <a:gd name="connsiteX70" fmla="*/ 1833 w 9904"/>
                <a:gd name="connsiteY70" fmla="*/ 3733 h 10000"/>
                <a:gd name="connsiteX71" fmla="*/ 2000 w 9904"/>
                <a:gd name="connsiteY71" fmla="*/ 4267 h 10000"/>
                <a:gd name="connsiteX72" fmla="*/ 2167 w 9904"/>
                <a:gd name="connsiteY72" fmla="*/ 4667 h 10000"/>
                <a:gd name="connsiteX73" fmla="*/ 2333 w 9904"/>
                <a:gd name="connsiteY73" fmla="*/ 4933 h 10000"/>
                <a:gd name="connsiteX74" fmla="*/ 2583 w 9904"/>
                <a:gd name="connsiteY74" fmla="*/ 5467 h 10000"/>
                <a:gd name="connsiteX75" fmla="*/ 2333 w 9904"/>
                <a:gd name="connsiteY75" fmla="*/ 5733 h 10000"/>
                <a:gd name="connsiteX76" fmla="*/ 2167 w 9904"/>
                <a:gd name="connsiteY76" fmla="*/ 5333 h 10000"/>
                <a:gd name="connsiteX77" fmla="*/ 2000 w 9904"/>
                <a:gd name="connsiteY77" fmla="*/ 5067 h 10000"/>
                <a:gd name="connsiteX78" fmla="*/ 1667 w 9904"/>
                <a:gd name="connsiteY78" fmla="*/ 4800 h 10000"/>
                <a:gd name="connsiteX79" fmla="*/ 1667 w 9904"/>
                <a:gd name="connsiteY79" fmla="*/ 4133 h 10000"/>
                <a:gd name="connsiteX80" fmla="*/ 1333 w 9904"/>
                <a:gd name="connsiteY80" fmla="*/ 3733 h 10000"/>
                <a:gd name="connsiteX81" fmla="*/ 917 w 9904"/>
                <a:gd name="connsiteY81" fmla="*/ 3467 h 10000"/>
                <a:gd name="connsiteX82" fmla="*/ 667 w 9904"/>
                <a:gd name="connsiteY82" fmla="*/ 2933 h 10000"/>
                <a:gd name="connsiteX83" fmla="*/ 917 w 9904"/>
                <a:gd name="connsiteY83" fmla="*/ 2933 h 10000"/>
                <a:gd name="connsiteX84" fmla="*/ 1000 w 9904"/>
                <a:gd name="connsiteY84" fmla="*/ 2533 h 10000"/>
                <a:gd name="connsiteX85" fmla="*/ 500 w 9904"/>
                <a:gd name="connsiteY85" fmla="*/ 1867 h 10000"/>
                <a:gd name="connsiteX86" fmla="*/ 167 w 9904"/>
                <a:gd name="connsiteY86" fmla="*/ 93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9904" h="10000">
                  <a:moveTo>
                    <a:pt x="167" y="933"/>
                  </a:moveTo>
                  <a:cubicBezTo>
                    <a:pt x="167" y="667"/>
                    <a:pt x="83" y="400"/>
                    <a:pt x="0" y="267"/>
                  </a:cubicBezTo>
                  <a:lnTo>
                    <a:pt x="333" y="133"/>
                  </a:lnTo>
                  <a:lnTo>
                    <a:pt x="750" y="0"/>
                  </a:lnTo>
                  <a:cubicBezTo>
                    <a:pt x="750" y="267"/>
                    <a:pt x="558" y="124"/>
                    <a:pt x="750" y="267"/>
                  </a:cubicBezTo>
                  <a:cubicBezTo>
                    <a:pt x="942" y="410"/>
                    <a:pt x="1901" y="857"/>
                    <a:pt x="1901" y="857"/>
                  </a:cubicBezTo>
                  <a:cubicBezTo>
                    <a:pt x="2818" y="857"/>
                    <a:pt x="2748" y="1099"/>
                    <a:pt x="2917" y="1067"/>
                  </a:cubicBezTo>
                  <a:cubicBezTo>
                    <a:pt x="3086" y="1035"/>
                    <a:pt x="2917" y="667"/>
                    <a:pt x="2917" y="667"/>
                  </a:cubicBezTo>
                  <a:lnTo>
                    <a:pt x="3500" y="667"/>
                  </a:lnTo>
                  <a:cubicBezTo>
                    <a:pt x="3500" y="667"/>
                    <a:pt x="3750" y="1200"/>
                    <a:pt x="3833" y="1333"/>
                  </a:cubicBezTo>
                  <a:cubicBezTo>
                    <a:pt x="4000" y="1333"/>
                    <a:pt x="4000" y="1467"/>
                    <a:pt x="4083" y="1733"/>
                  </a:cubicBezTo>
                  <a:cubicBezTo>
                    <a:pt x="4083" y="2000"/>
                    <a:pt x="4333" y="2133"/>
                    <a:pt x="4500" y="2267"/>
                  </a:cubicBezTo>
                  <a:cubicBezTo>
                    <a:pt x="4667" y="2400"/>
                    <a:pt x="4667" y="1867"/>
                    <a:pt x="4750" y="1867"/>
                  </a:cubicBezTo>
                  <a:cubicBezTo>
                    <a:pt x="4833" y="1867"/>
                    <a:pt x="5000" y="1867"/>
                    <a:pt x="5167" y="2000"/>
                  </a:cubicBezTo>
                  <a:cubicBezTo>
                    <a:pt x="5333" y="2133"/>
                    <a:pt x="5833" y="3733"/>
                    <a:pt x="5833" y="3733"/>
                  </a:cubicBezTo>
                  <a:cubicBezTo>
                    <a:pt x="5917" y="3867"/>
                    <a:pt x="6250" y="4133"/>
                    <a:pt x="6250" y="4133"/>
                  </a:cubicBezTo>
                  <a:lnTo>
                    <a:pt x="6500" y="4000"/>
                  </a:lnTo>
                  <a:lnTo>
                    <a:pt x="6500" y="4000"/>
                  </a:lnTo>
                  <a:lnTo>
                    <a:pt x="6500" y="4133"/>
                  </a:lnTo>
                  <a:cubicBezTo>
                    <a:pt x="6500" y="4267"/>
                    <a:pt x="6333" y="4800"/>
                    <a:pt x="6333" y="4933"/>
                  </a:cubicBezTo>
                  <a:cubicBezTo>
                    <a:pt x="6250" y="5067"/>
                    <a:pt x="6250" y="5733"/>
                    <a:pt x="6250" y="5867"/>
                  </a:cubicBezTo>
                  <a:cubicBezTo>
                    <a:pt x="6250" y="6133"/>
                    <a:pt x="6417" y="6267"/>
                    <a:pt x="6500" y="6400"/>
                  </a:cubicBezTo>
                  <a:cubicBezTo>
                    <a:pt x="6500" y="6533"/>
                    <a:pt x="6417" y="6533"/>
                    <a:pt x="6417" y="6667"/>
                  </a:cubicBezTo>
                  <a:cubicBezTo>
                    <a:pt x="6417" y="6800"/>
                    <a:pt x="6583" y="7067"/>
                    <a:pt x="6750" y="7333"/>
                  </a:cubicBezTo>
                  <a:cubicBezTo>
                    <a:pt x="6833" y="7467"/>
                    <a:pt x="6750" y="7600"/>
                    <a:pt x="6833" y="7867"/>
                  </a:cubicBezTo>
                  <a:cubicBezTo>
                    <a:pt x="7000" y="8000"/>
                    <a:pt x="7167" y="7867"/>
                    <a:pt x="7250" y="8000"/>
                  </a:cubicBezTo>
                  <a:cubicBezTo>
                    <a:pt x="7333" y="8133"/>
                    <a:pt x="7333" y="8267"/>
                    <a:pt x="7500" y="8267"/>
                  </a:cubicBezTo>
                  <a:cubicBezTo>
                    <a:pt x="7583" y="8133"/>
                    <a:pt x="7917" y="8133"/>
                    <a:pt x="8000" y="8000"/>
                  </a:cubicBezTo>
                  <a:cubicBezTo>
                    <a:pt x="8167" y="8000"/>
                    <a:pt x="8417" y="7867"/>
                    <a:pt x="8500" y="7733"/>
                  </a:cubicBezTo>
                  <a:cubicBezTo>
                    <a:pt x="8583" y="7600"/>
                    <a:pt x="8583" y="7333"/>
                    <a:pt x="8583" y="7200"/>
                  </a:cubicBezTo>
                  <a:cubicBezTo>
                    <a:pt x="8583" y="7200"/>
                    <a:pt x="8667" y="6800"/>
                    <a:pt x="8750" y="6667"/>
                  </a:cubicBezTo>
                  <a:cubicBezTo>
                    <a:pt x="8833" y="6533"/>
                    <a:pt x="9167" y="6400"/>
                    <a:pt x="9333" y="6400"/>
                  </a:cubicBezTo>
                  <a:cubicBezTo>
                    <a:pt x="9500" y="6400"/>
                    <a:pt x="9583" y="6267"/>
                    <a:pt x="9750" y="6400"/>
                  </a:cubicBezTo>
                  <a:lnTo>
                    <a:pt x="9833" y="6400"/>
                  </a:lnTo>
                  <a:cubicBezTo>
                    <a:pt x="10000" y="6533"/>
                    <a:pt x="9833" y="6800"/>
                    <a:pt x="9750" y="6933"/>
                  </a:cubicBezTo>
                  <a:cubicBezTo>
                    <a:pt x="9750" y="7067"/>
                    <a:pt x="9667" y="7333"/>
                    <a:pt x="9667" y="7467"/>
                  </a:cubicBezTo>
                  <a:cubicBezTo>
                    <a:pt x="9667" y="7600"/>
                    <a:pt x="9583" y="7867"/>
                    <a:pt x="9583" y="8133"/>
                  </a:cubicBezTo>
                  <a:lnTo>
                    <a:pt x="9333" y="8000"/>
                  </a:lnTo>
                  <a:lnTo>
                    <a:pt x="9000" y="8400"/>
                  </a:lnTo>
                  <a:lnTo>
                    <a:pt x="8417" y="8400"/>
                  </a:lnTo>
                  <a:lnTo>
                    <a:pt x="8417" y="8667"/>
                  </a:lnTo>
                  <a:lnTo>
                    <a:pt x="8583" y="8933"/>
                  </a:lnTo>
                  <a:lnTo>
                    <a:pt x="8583" y="9333"/>
                  </a:lnTo>
                  <a:lnTo>
                    <a:pt x="8250" y="9467"/>
                  </a:lnTo>
                  <a:lnTo>
                    <a:pt x="8167" y="9733"/>
                  </a:lnTo>
                  <a:lnTo>
                    <a:pt x="8000" y="10000"/>
                  </a:lnTo>
                  <a:cubicBezTo>
                    <a:pt x="8000" y="10000"/>
                    <a:pt x="7500" y="9333"/>
                    <a:pt x="7333" y="9200"/>
                  </a:cubicBezTo>
                  <a:cubicBezTo>
                    <a:pt x="7167" y="9067"/>
                    <a:pt x="7083" y="9333"/>
                    <a:pt x="6917" y="9467"/>
                  </a:cubicBezTo>
                  <a:cubicBezTo>
                    <a:pt x="6833" y="9600"/>
                    <a:pt x="6667" y="9600"/>
                    <a:pt x="6500" y="9467"/>
                  </a:cubicBezTo>
                  <a:cubicBezTo>
                    <a:pt x="6333" y="9467"/>
                    <a:pt x="5583" y="8933"/>
                    <a:pt x="5500" y="8933"/>
                  </a:cubicBezTo>
                  <a:cubicBezTo>
                    <a:pt x="5417" y="8933"/>
                    <a:pt x="4917" y="8400"/>
                    <a:pt x="4833" y="8400"/>
                  </a:cubicBezTo>
                  <a:cubicBezTo>
                    <a:pt x="4667" y="8400"/>
                    <a:pt x="4333" y="8000"/>
                    <a:pt x="4167" y="7733"/>
                  </a:cubicBezTo>
                  <a:cubicBezTo>
                    <a:pt x="4000" y="7600"/>
                    <a:pt x="3833" y="7467"/>
                    <a:pt x="3750" y="7333"/>
                  </a:cubicBezTo>
                  <a:cubicBezTo>
                    <a:pt x="3750" y="7200"/>
                    <a:pt x="3667" y="7067"/>
                    <a:pt x="3750" y="7067"/>
                  </a:cubicBezTo>
                  <a:cubicBezTo>
                    <a:pt x="3833" y="6933"/>
                    <a:pt x="3833" y="6800"/>
                    <a:pt x="3833" y="6667"/>
                  </a:cubicBezTo>
                  <a:cubicBezTo>
                    <a:pt x="3833" y="6533"/>
                    <a:pt x="3750" y="6133"/>
                    <a:pt x="3667" y="5867"/>
                  </a:cubicBezTo>
                  <a:cubicBezTo>
                    <a:pt x="3667" y="5733"/>
                    <a:pt x="3167" y="4933"/>
                    <a:pt x="3000" y="4800"/>
                  </a:cubicBezTo>
                  <a:cubicBezTo>
                    <a:pt x="2917" y="4667"/>
                    <a:pt x="2583" y="4267"/>
                    <a:pt x="2500" y="4133"/>
                  </a:cubicBezTo>
                  <a:cubicBezTo>
                    <a:pt x="2417" y="4133"/>
                    <a:pt x="2583" y="3867"/>
                    <a:pt x="2500" y="3733"/>
                  </a:cubicBezTo>
                  <a:cubicBezTo>
                    <a:pt x="2500" y="3600"/>
                    <a:pt x="2333" y="3333"/>
                    <a:pt x="2250" y="3333"/>
                  </a:cubicBezTo>
                  <a:cubicBezTo>
                    <a:pt x="2167" y="3333"/>
                    <a:pt x="2167" y="3067"/>
                    <a:pt x="2167" y="2933"/>
                  </a:cubicBezTo>
                  <a:cubicBezTo>
                    <a:pt x="2167" y="2800"/>
                    <a:pt x="2000" y="2800"/>
                    <a:pt x="1917" y="2800"/>
                  </a:cubicBezTo>
                  <a:cubicBezTo>
                    <a:pt x="1833" y="2667"/>
                    <a:pt x="1583" y="2000"/>
                    <a:pt x="1500" y="1867"/>
                  </a:cubicBezTo>
                  <a:cubicBezTo>
                    <a:pt x="1500" y="1867"/>
                    <a:pt x="1417" y="1200"/>
                    <a:pt x="1333" y="1067"/>
                  </a:cubicBezTo>
                  <a:cubicBezTo>
                    <a:pt x="1333" y="1067"/>
                    <a:pt x="833" y="667"/>
                    <a:pt x="750" y="667"/>
                  </a:cubicBezTo>
                  <a:lnTo>
                    <a:pt x="750" y="1200"/>
                  </a:lnTo>
                  <a:cubicBezTo>
                    <a:pt x="750" y="1200"/>
                    <a:pt x="833" y="1600"/>
                    <a:pt x="833" y="1733"/>
                  </a:cubicBezTo>
                  <a:cubicBezTo>
                    <a:pt x="917" y="1867"/>
                    <a:pt x="1000" y="1867"/>
                    <a:pt x="1083" y="2000"/>
                  </a:cubicBezTo>
                  <a:cubicBezTo>
                    <a:pt x="1167" y="2133"/>
                    <a:pt x="1333" y="2400"/>
                    <a:pt x="1333" y="2533"/>
                  </a:cubicBezTo>
                  <a:cubicBezTo>
                    <a:pt x="1417" y="2667"/>
                    <a:pt x="1583" y="3067"/>
                    <a:pt x="1667" y="3200"/>
                  </a:cubicBezTo>
                  <a:cubicBezTo>
                    <a:pt x="1750" y="3333"/>
                    <a:pt x="1750" y="3467"/>
                    <a:pt x="1833" y="3733"/>
                  </a:cubicBezTo>
                  <a:cubicBezTo>
                    <a:pt x="1917" y="3867"/>
                    <a:pt x="1917" y="4133"/>
                    <a:pt x="2000" y="4267"/>
                  </a:cubicBezTo>
                  <a:cubicBezTo>
                    <a:pt x="2083" y="4400"/>
                    <a:pt x="2083" y="4533"/>
                    <a:pt x="2167" y="4667"/>
                  </a:cubicBezTo>
                  <a:cubicBezTo>
                    <a:pt x="2167" y="4933"/>
                    <a:pt x="2333" y="4800"/>
                    <a:pt x="2333" y="4933"/>
                  </a:cubicBezTo>
                  <a:cubicBezTo>
                    <a:pt x="2417" y="5200"/>
                    <a:pt x="2583" y="5200"/>
                    <a:pt x="2583" y="5467"/>
                  </a:cubicBezTo>
                  <a:cubicBezTo>
                    <a:pt x="2500" y="5600"/>
                    <a:pt x="2333" y="5733"/>
                    <a:pt x="2333" y="5733"/>
                  </a:cubicBezTo>
                  <a:cubicBezTo>
                    <a:pt x="2250" y="5733"/>
                    <a:pt x="2250" y="5467"/>
                    <a:pt x="2167" y="5333"/>
                  </a:cubicBezTo>
                  <a:cubicBezTo>
                    <a:pt x="2167" y="5333"/>
                    <a:pt x="2000" y="5200"/>
                    <a:pt x="2000" y="5067"/>
                  </a:cubicBezTo>
                  <a:cubicBezTo>
                    <a:pt x="2000" y="5067"/>
                    <a:pt x="1667" y="4933"/>
                    <a:pt x="1667" y="4800"/>
                  </a:cubicBezTo>
                  <a:cubicBezTo>
                    <a:pt x="1583" y="4667"/>
                    <a:pt x="1667" y="4267"/>
                    <a:pt x="1667" y="4133"/>
                  </a:cubicBezTo>
                  <a:cubicBezTo>
                    <a:pt x="1583" y="3867"/>
                    <a:pt x="1417" y="3867"/>
                    <a:pt x="1333" y="3733"/>
                  </a:cubicBezTo>
                  <a:cubicBezTo>
                    <a:pt x="1250" y="3600"/>
                    <a:pt x="1167" y="3600"/>
                    <a:pt x="917" y="3467"/>
                  </a:cubicBezTo>
                  <a:cubicBezTo>
                    <a:pt x="833" y="3333"/>
                    <a:pt x="583" y="2933"/>
                    <a:pt x="667" y="2933"/>
                  </a:cubicBezTo>
                  <a:lnTo>
                    <a:pt x="917" y="2933"/>
                  </a:lnTo>
                  <a:cubicBezTo>
                    <a:pt x="1000" y="2933"/>
                    <a:pt x="1000" y="2800"/>
                    <a:pt x="1000" y="2533"/>
                  </a:cubicBezTo>
                  <a:cubicBezTo>
                    <a:pt x="1000" y="2400"/>
                    <a:pt x="583" y="2000"/>
                    <a:pt x="500" y="1867"/>
                  </a:cubicBezTo>
                  <a:cubicBezTo>
                    <a:pt x="417" y="1733"/>
                    <a:pt x="250" y="1200"/>
                    <a:pt x="167" y="93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3" name="Freeform 649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2938202" y="2649872"/>
              <a:ext cx="162492" cy="154039"/>
            </a:xfrm>
            <a:custGeom>
              <a:avLst/>
              <a:gdLst>
                <a:gd name="T0" fmla="*/ 1 w 27"/>
                <a:gd name="T1" fmla="*/ 19 h 24"/>
                <a:gd name="T2" fmla="*/ 0 w 27"/>
                <a:gd name="T3" fmla="*/ 17 h 24"/>
                <a:gd name="T4" fmla="*/ 4 w 27"/>
                <a:gd name="T5" fmla="*/ 15 h 24"/>
                <a:gd name="T6" fmla="*/ 3 w 27"/>
                <a:gd name="T7" fmla="*/ 13 h 24"/>
                <a:gd name="T8" fmla="*/ 7 w 27"/>
                <a:gd name="T9" fmla="*/ 7 h 24"/>
                <a:gd name="T10" fmla="*/ 11 w 27"/>
                <a:gd name="T11" fmla="*/ 2 h 24"/>
                <a:gd name="T12" fmla="*/ 15 w 27"/>
                <a:gd name="T13" fmla="*/ 0 h 24"/>
                <a:gd name="T14" fmla="*/ 14 w 27"/>
                <a:gd name="T15" fmla="*/ 3 h 24"/>
                <a:gd name="T16" fmla="*/ 10 w 27"/>
                <a:gd name="T17" fmla="*/ 8 h 24"/>
                <a:gd name="T18" fmla="*/ 15 w 27"/>
                <a:gd name="T19" fmla="*/ 8 h 24"/>
                <a:gd name="T20" fmla="*/ 17 w 27"/>
                <a:gd name="T21" fmla="*/ 10 h 24"/>
                <a:gd name="T22" fmla="*/ 21 w 27"/>
                <a:gd name="T23" fmla="*/ 9 h 24"/>
                <a:gd name="T24" fmla="*/ 23 w 27"/>
                <a:gd name="T25" fmla="*/ 11 h 24"/>
                <a:gd name="T26" fmla="*/ 22 w 27"/>
                <a:gd name="T27" fmla="*/ 14 h 24"/>
                <a:gd name="T28" fmla="*/ 25 w 27"/>
                <a:gd name="T29" fmla="*/ 14 h 24"/>
                <a:gd name="T30" fmla="*/ 23 w 27"/>
                <a:gd name="T31" fmla="*/ 18 h 24"/>
                <a:gd name="T32" fmla="*/ 26 w 27"/>
                <a:gd name="T33" fmla="*/ 18 h 24"/>
                <a:gd name="T34" fmla="*/ 24 w 27"/>
                <a:gd name="T35" fmla="*/ 24 h 24"/>
                <a:gd name="T36" fmla="*/ 21 w 27"/>
                <a:gd name="T37" fmla="*/ 23 h 24"/>
                <a:gd name="T38" fmla="*/ 20 w 27"/>
                <a:gd name="T39" fmla="*/ 20 h 24"/>
                <a:gd name="T40" fmla="*/ 16 w 27"/>
                <a:gd name="T41" fmla="*/ 23 h 24"/>
                <a:gd name="T42" fmla="*/ 13 w 27"/>
                <a:gd name="T43" fmla="*/ 23 h 24"/>
                <a:gd name="T44" fmla="*/ 15 w 27"/>
                <a:gd name="T45" fmla="*/ 19 h 24"/>
                <a:gd name="T46" fmla="*/ 13 w 27"/>
                <a:gd name="T47" fmla="*/ 19 h 24"/>
                <a:gd name="T48" fmla="*/ 9 w 27"/>
                <a:gd name="T49" fmla="*/ 20 h 24"/>
                <a:gd name="T50" fmla="*/ 5 w 27"/>
                <a:gd name="T51" fmla="*/ 19 h 24"/>
                <a:gd name="T52" fmla="*/ 1 w 27"/>
                <a:gd name="T53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" h="24">
                  <a:moveTo>
                    <a:pt x="1" y="19"/>
                  </a:moveTo>
                  <a:cubicBezTo>
                    <a:pt x="0" y="19"/>
                    <a:pt x="0" y="18"/>
                    <a:pt x="0" y="17"/>
                  </a:cubicBezTo>
                  <a:cubicBezTo>
                    <a:pt x="0" y="17"/>
                    <a:pt x="4" y="15"/>
                    <a:pt x="4" y="15"/>
                  </a:cubicBezTo>
                  <a:cubicBezTo>
                    <a:pt x="4" y="14"/>
                    <a:pt x="2" y="14"/>
                    <a:pt x="3" y="13"/>
                  </a:cubicBezTo>
                  <a:cubicBezTo>
                    <a:pt x="3" y="12"/>
                    <a:pt x="6" y="8"/>
                    <a:pt x="7" y="7"/>
                  </a:cubicBezTo>
                  <a:cubicBezTo>
                    <a:pt x="7" y="6"/>
                    <a:pt x="9" y="3"/>
                    <a:pt x="11" y="2"/>
                  </a:cubicBezTo>
                  <a:cubicBezTo>
                    <a:pt x="12" y="2"/>
                    <a:pt x="14" y="0"/>
                    <a:pt x="15" y="0"/>
                  </a:cubicBezTo>
                  <a:cubicBezTo>
                    <a:pt x="16" y="0"/>
                    <a:pt x="15" y="2"/>
                    <a:pt x="14" y="3"/>
                  </a:cubicBezTo>
                  <a:cubicBezTo>
                    <a:pt x="14" y="4"/>
                    <a:pt x="10" y="8"/>
                    <a:pt x="10" y="8"/>
                  </a:cubicBezTo>
                  <a:cubicBezTo>
                    <a:pt x="11" y="9"/>
                    <a:pt x="14" y="7"/>
                    <a:pt x="15" y="8"/>
                  </a:cubicBezTo>
                  <a:cubicBezTo>
                    <a:pt x="16" y="8"/>
                    <a:pt x="16" y="10"/>
                    <a:pt x="17" y="10"/>
                  </a:cubicBezTo>
                  <a:cubicBezTo>
                    <a:pt x="18" y="10"/>
                    <a:pt x="20" y="8"/>
                    <a:pt x="21" y="9"/>
                  </a:cubicBezTo>
                  <a:cubicBezTo>
                    <a:pt x="22" y="9"/>
                    <a:pt x="23" y="10"/>
                    <a:pt x="23" y="11"/>
                  </a:cubicBezTo>
                  <a:cubicBezTo>
                    <a:pt x="23" y="11"/>
                    <a:pt x="21" y="13"/>
                    <a:pt x="22" y="14"/>
                  </a:cubicBezTo>
                  <a:cubicBezTo>
                    <a:pt x="23" y="15"/>
                    <a:pt x="24" y="14"/>
                    <a:pt x="25" y="14"/>
                  </a:cubicBezTo>
                  <a:cubicBezTo>
                    <a:pt x="25" y="14"/>
                    <a:pt x="22" y="18"/>
                    <a:pt x="23" y="18"/>
                  </a:cubicBezTo>
                  <a:cubicBezTo>
                    <a:pt x="24" y="19"/>
                    <a:pt x="26" y="18"/>
                    <a:pt x="26" y="18"/>
                  </a:cubicBezTo>
                  <a:cubicBezTo>
                    <a:pt x="27" y="18"/>
                    <a:pt x="25" y="24"/>
                    <a:pt x="24" y="24"/>
                  </a:cubicBezTo>
                  <a:cubicBezTo>
                    <a:pt x="23" y="24"/>
                    <a:pt x="21" y="24"/>
                    <a:pt x="21" y="23"/>
                  </a:cubicBezTo>
                  <a:cubicBezTo>
                    <a:pt x="21" y="22"/>
                    <a:pt x="21" y="21"/>
                    <a:pt x="20" y="20"/>
                  </a:cubicBezTo>
                  <a:cubicBezTo>
                    <a:pt x="19" y="20"/>
                    <a:pt x="17" y="23"/>
                    <a:pt x="16" y="23"/>
                  </a:cubicBezTo>
                  <a:cubicBezTo>
                    <a:pt x="14" y="23"/>
                    <a:pt x="13" y="23"/>
                    <a:pt x="13" y="23"/>
                  </a:cubicBezTo>
                  <a:cubicBezTo>
                    <a:pt x="13" y="22"/>
                    <a:pt x="16" y="20"/>
                    <a:pt x="15" y="19"/>
                  </a:cubicBezTo>
                  <a:cubicBezTo>
                    <a:pt x="15" y="18"/>
                    <a:pt x="14" y="19"/>
                    <a:pt x="13" y="19"/>
                  </a:cubicBezTo>
                  <a:cubicBezTo>
                    <a:pt x="12" y="19"/>
                    <a:pt x="10" y="20"/>
                    <a:pt x="9" y="20"/>
                  </a:cubicBezTo>
                  <a:cubicBezTo>
                    <a:pt x="7" y="20"/>
                    <a:pt x="6" y="19"/>
                    <a:pt x="5" y="19"/>
                  </a:cubicBezTo>
                  <a:cubicBezTo>
                    <a:pt x="4" y="19"/>
                    <a:pt x="2" y="19"/>
                    <a:pt x="1" y="1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4" name="Freeform 649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2828832" y="2700103"/>
              <a:ext cx="59372" cy="33487"/>
            </a:xfrm>
            <a:custGeom>
              <a:avLst/>
              <a:gdLst>
                <a:gd name="T0" fmla="*/ 0 w 10"/>
                <a:gd name="T1" fmla="*/ 1 h 5"/>
                <a:gd name="T2" fmla="*/ 1 w 10"/>
                <a:gd name="T3" fmla="*/ 0 h 5"/>
                <a:gd name="T4" fmla="*/ 10 w 10"/>
                <a:gd name="T5" fmla="*/ 3 h 5"/>
                <a:gd name="T6" fmla="*/ 7 w 10"/>
                <a:gd name="T7" fmla="*/ 5 h 5"/>
                <a:gd name="T8" fmla="*/ 2 w 10"/>
                <a:gd name="T9" fmla="*/ 3 h 5"/>
                <a:gd name="T10" fmla="*/ 0 w 10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10" y="3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ubicBezTo>
                    <a:pt x="6" y="5"/>
                    <a:pt x="3" y="4"/>
                    <a:pt x="2" y="3"/>
                  </a:cubicBezTo>
                  <a:cubicBezTo>
                    <a:pt x="2" y="2"/>
                    <a:pt x="1" y="1"/>
                    <a:pt x="0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5" name="Freeform 649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2522597" y="2013623"/>
              <a:ext cx="53122" cy="43533"/>
            </a:xfrm>
            <a:custGeom>
              <a:avLst/>
              <a:gdLst>
                <a:gd name="T0" fmla="*/ 1 w 9"/>
                <a:gd name="T1" fmla="*/ 7 h 7"/>
                <a:gd name="T2" fmla="*/ 0 w 9"/>
                <a:gd name="T3" fmla="*/ 3 h 7"/>
                <a:gd name="T4" fmla="*/ 4 w 9"/>
                <a:gd name="T5" fmla="*/ 0 h 7"/>
                <a:gd name="T6" fmla="*/ 8 w 9"/>
                <a:gd name="T7" fmla="*/ 0 h 7"/>
                <a:gd name="T8" fmla="*/ 8 w 9"/>
                <a:gd name="T9" fmla="*/ 4 h 7"/>
                <a:gd name="T10" fmla="*/ 6 w 9"/>
                <a:gd name="T11" fmla="*/ 6 h 7"/>
                <a:gd name="T12" fmla="*/ 1 w 9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7">
                  <a:moveTo>
                    <a:pt x="1" y="7"/>
                  </a:moveTo>
                  <a:cubicBezTo>
                    <a:pt x="0" y="7"/>
                    <a:pt x="0" y="4"/>
                    <a:pt x="0" y="3"/>
                  </a:cubicBezTo>
                  <a:cubicBezTo>
                    <a:pt x="1" y="2"/>
                    <a:pt x="3" y="0"/>
                    <a:pt x="4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9" y="0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5" y="7"/>
                    <a:pt x="2" y="7"/>
                    <a:pt x="1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6" name="Freeform 650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2450725" y="2244682"/>
              <a:ext cx="28124" cy="40184"/>
            </a:xfrm>
            <a:custGeom>
              <a:avLst/>
              <a:gdLst>
                <a:gd name="T0" fmla="*/ 0 w 5"/>
                <a:gd name="T1" fmla="*/ 4 h 6"/>
                <a:gd name="T2" fmla="*/ 2 w 5"/>
                <a:gd name="T3" fmla="*/ 1 h 6"/>
                <a:gd name="T4" fmla="*/ 3 w 5"/>
                <a:gd name="T5" fmla="*/ 0 h 6"/>
                <a:gd name="T6" fmla="*/ 5 w 5"/>
                <a:gd name="T7" fmla="*/ 2 h 6"/>
                <a:gd name="T8" fmla="*/ 5 w 5"/>
                <a:gd name="T9" fmla="*/ 2 h 6"/>
                <a:gd name="T10" fmla="*/ 4 w 5"/>
                <a:gd name="T11" fmla="*/ 5 h 6"/>
                <a:gd name="T12" fmla="*/ 3 w 5"/>
                <a:gd name="T13" fmla="*/ 6 h 6"/>
                <a:gd name="T14" fmla="*/ 0 w 5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3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4" y="4"/>
                    <a:pt x="4" y="5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7" name="Freeform 650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2453850" y="2458997"/>
              <a:ext cx="40623" cy="46882"/>
            </a:xfrm>
            <a:custGeom>
              <a:avLst/>
              <a:gdLst>
                <a:gd name="T0" fmla="*/ 1 w 7"/>
                <a:gd name="T1" fmla="*/ 3 h 7"/>
                <a:gd name="T2" fmla="*/ 3 w 7"/>
                <a:gd name="T3" fmla="*/ 0 h 7"/>
                <a:gd name="T4" fmla="*/ 5 w 7"/>
                <a:gd name="T5" fmla="*/ 2 h 7"/>
                <a:gd name="T6" fmla="*/ 6 w 7"/>
                <a:gd name="T7" fmla="*/ 3 h 7"/>
                <a:gd name="T8" fmla="*/ 4 w 7"/>
                <a:gd name="T9" fmla="*/ 7 h 7"/>
                <a:gd name="T10" fmla="*/ 3 w 7"/>
                <a:gd name="T11" fmla="*/ 5 h 7"/>
                <a:gd name="T12" fmla="*/ 0 w 7"/>
                <a:gd name="T13" fmla="*/ 5 h 7"/>
                <a:gd name="T14" fmla="*/ 1 w 7"/>
                <a:gd name="T1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3"/>
                    <a:pt x="3" y="0"/>
                    <a:pt x="3" y="0"/>
                  </a:cubicBezTo>
                  <a:cubicBezTo>
                    <a:pt x="4" y="0"/>
                    <a:pt x="4" y="1"/>
                    <a:pt x="5" y="2"/>
                  </a:cubicBezTo>
                  <a:cubicBezTo>
                    <a:pt x="5" y="2"/>
                    <a:pt x="7" y="2"/>
                    <a:pt x="6" y="3"/>
                  </a:cubicBezTo>
                  <a:cubicBezTo>
                    <a:pt x="6" y="3"/>
                    <a:pt x="5" y="6"/>
                    <a:pt x="4" y="7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2" y="5"/>
                    <a:pt x="1" y="6"/>
                    <a:pt x="0" y="5"/>
                  </a:cubicBezTo>
                  <a:cubicBezTo>
                    <a:pt x="0" y="5"/>
                    <a:pt x="0" y="3"/>
                    <a:pt x="1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8" name="Freeform 650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2441350" y="1755775"/>
              <a:ext cx="103120" cy="56927"/>
            </a:xfrm>
            <a:custGeom>
              <a:avLst/>
              <a:gdLst>
                <a:gd name="T0" fmla="*/ 3 w 17"/>
                <a:gd name="T1" fmla="*/ 5 h 9"/>
                <a:gd name="T2" fmla="*/ 1 w 17"/>
                <a:gd name="T3" fmla="*/ 4 h 9"/>
                <a:gd name="T4" fmla="*/ 0 w 17"/>
                <a:gd name="T5" fmla="*/ 1 h 9"/>
                <a:gd name="T6" fmla="*/ 2 w 17"/>
                <a:gd name="T7" fmla="*/ 1 h 9"/>
                <a:gd name="T8" fmla="*/ 8 w 17"/>
                <a:gd name="T9" fmla="*/ 2 h 9"/>
                <a:gd name="T10" fmla="*/ 14 w 17"/>
                <a:gd name="T11" fmla="*/ 4 h 9"/>
                <a:gd name="T12" fmla="*/ 17 w 17"/>
                <a:gd name="T13" fmla="*/ 7 h 9"/>
                <a:gd name="T14" fmla="*/ 13 w 17"/>
                <a:gd name="T15" fmla="*/ 7 h 9"/>
                <a:gd name="T16" fmla="*/ 8 w 17"/>
                <a:gd name="T17" fmla="*/ 8 h 9"/>
                <a:gd name="T18" fmla="*/ 4 w 17"/>
                <a:gd name="T19" fmla="*/ 7 h 9"/>
                <a:gd name="T20" fmla="*/ 3 w 17"/>
                <a:gd name="T2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9">
                  <a:moveTo>
                    <a:pt x="3" y="5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4" y="1"/>
                    <a:pt x="7" y="1"/>
                    <a:pt x="8" y="2"/>
                  </a:cubicBezTo>
                  <a:cubicBezTo>
                    <a:pt x="10" y="2"/>
                    <a:pt x="13" y="3"/>
                    <a:pt x="14" y="4"/>
                  </a:cubicBezTo>
                  <a:cubicBezTo>
                    <a:pt x="15" y="5"/>
                    <a:pt x="17" y="6"/>
                    <a:pt x="17" y="7"/>
                  </a:cubicBezTo>
                  <a:cubicBezTo>
                    <a:pt x="16" y="7"/>
                    <a:pt x="14" y="7"/>
                    <a:pt x="13" y="7"/>
                  </a:cubicBezTo>
                  <a:cubicBezTo>
                    <a:pt x="11" y="7"/>
                    <a:pt x="10" y="8"/>
                    <a:pt x="8" y="8"/>
                  </a:cubicBezTo>
                  <a:cubicBezTo>
                    <a:pt x="6" y="8"/>
                    <a:pt x="5" y="9"/>
                    <a:pt x="4" y="7"/>
                  </a:cubicBezTo>
                  <a:cubicBezTo>
                    <a:pt x="3" y="5"/>
                    <a:pt x="3" y="6"/>
                    <a:pt x="3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39" name="Freeform 650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2366354" y="2234636"/>
              <a:ext cx="43748" cy="33487"/>
            </a:xfrm>
            <a:custGeom>
              <a:avLst/>
              <a:gdLst>
                <a:gd name="T0" fmla="*/ 1 w 8"/>
                <a:gd name="T1" fmla="*/ 4 h 5"/>
                <a:gd name="T2" fmla="*/ 1 w 8"/>
                <a:gd name="T3" fmla="*/ 2 h 5"/>
                <a:gd name="T4" fmla="*/ 6 w 8"/>
                <a:gd name="T5" fmla="*/ 0 h 5"/>
                <a:gd name="T6" fmla="*/ 8 w 8"/>
                <a:gd name="T7" fmla="*/ 0 h 5"/>
                <a:gd name="T8" fmla="*/ 8 w 8"/>
                <a:gd name="T9" fmla="*/ 0 h 5"/>
                <a:gd name="T10" fmla="*/ 8 w 8"/>
                <a:gd name="T11" fmla="*/ 2 h 5"/>
                <a:gd name="T12" fmla="*/ 8 w 8"/>
                <a:gd name="T13" fmla="*/ 3 h 5"/>
                <a:gd name="T14" fmla="*/ 4 w 8"/>
                <a:gd name="T15" fmla="*/ 4 h 5"/>
                <a:gd name="T16" fmla="*/ 1 w 8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0" y="4"/>
                    <a:pt x="0" y="2"/>
                    <a:pt x="1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4"/>
                    <a:pt x="4" y="4"/>
                    <a:pt x="4" y="4"/>
                  </a:cubicBezTo>
                  <a:cubicBezTo>
                    <a:pt x="3" y="4"/>
                    <a:pt x="2" y="5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0" name="Freeform 650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2285108" y="2124129"/>
              <a:ext cx="168742" cy="117204"/>
            </a:xfrm>
            <a:custGeom>
              <a:avLst/>
              <a:gdLst>
                <a:gd name="T0" fmla="*/ 1 w 28"/>
                <a:gd name="T1" fmla="*/ 14 h 18"/>
                <a:gd name="T2" fmla="*/ 5 w 28"/>
                <a:gd name="T3" fmla="*/ 10 h 18"/>
                <a:gd name="T4" fmla="*/ 5 w 28"/>
                <a:gd name="T5" fmla="*/ 6 h 18"/>
                <a:gd name="T6" fmla="*/ 5 w 28"/>
                <a:gd name="T7" fmla="*/ 5 h 18"/>
                <a:gd name="T8" fmla="*/ 6 w 28"/>
                <a:gd name="T9" fmla="*/ 1 h 18"/>
                <a:gd name="T10" fmla="*/ 8 w 28"/>
                <a:gd name="T11" fmla="*/ 0 h 18"/>
                <a:gd name="T12" fmla="*/ 10 w 28"/>
                <a:gd name="T13" fmla="*/ 4 h 18"/>
                <a:gd name="T14" fmla="*/ 13 w 28"/>
                <a:gd name="T15" fmla="*/ 2 h 18"/>
                <a:gd name="T16" fmla="*/ 16 w 28"/>
                <a:gd name="T17" fmla="*/ 5 h 18"/>
                <a:gd name="T18" fmla="*/ 21 w 28"/>
                <a:gd name="T19" fmla="*/ 7 h 18"/>
                <a:gd name="T20" fmla="*/ 24 w 28"/>
                <a:gd name="T21" fmla="*/ 10 h 18"/>
                <a:gd name="T22" fmla="*/ 28 w 28"/>
                <a:gd name="T23" fmla="*/ 13 h 18"/>
                <a:gd name="T24" fmla="*/ 25 w 28"/>
                <a:gd name="T25" fmla="*/ 15 h 18"/>
                <a:gd name="T26" fmla="*/ 21 w 28"/>
                <a:gd name="T27" fmla="*/ 14 h 18"/>
                <a:gd name="T28" fmla="*/ 19 w 28"/>
                <a:gd name="T29" fmla="*/ 13 h 18"/>
                <a:gd name="T30" fmla="*/ 17 w 28"/>
                <a:gd name="T31" fmla="*/ 10 h 18"/>
                <a:gd name="T32" fmla="*/ 15 w 28"/>
                <a:gd name="T33" fmla="*/ 13 h 18"/>
                <a:gd name="T34" fmla="*/ 10 w 28"/>
                <a:gd name="T35" fmla="*/ 16 h 18"/>
                <a:gd name="T36" fmla="*/ 8 w 28"/>
                <a:gd name="T37" fmla="*/ 17 h 18"/>
                <a:gd name="T38" fmla="*/ 7 w 28"/>
                <a:gd name="T39" fmla="*/ 13 h 18"/>
                <a:gd name="T40" fmla="*/ 1 w 28"/>
                <a:gd name="T41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8">
                  <a:moveTo>
                    <a:pt x="1" y="14"/>
                  </a:moveTo>
                  <a:cubicBezTo>
                    <a:pt x="0" y="14"/>
                    <a:pt x="4" y="10"/>
                    <a:pt x="5" y="10"/>
                  </a:cubicBezTo>
                  <a:cubicBezTo>
                    <a:pt x="6" y="9"/>
                    <a:pt x="5" y="7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3"/>
                    <a:pt x="6" y="2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10" y="4"/>
                    <a:pt x="10" y="4"/>
                  </a:cubicBezTo>
                  <a:cubicBezTo>
                    <a:pt x="11" y="4"/>
                    <a:pt x="13" y="2"/>
                    <a:pt x="13" y="2"/>
                  </a:cubicBezTo>
                  <a:cubicBezTo>
                    <a:pt x="13" y="2"/>
                    <a:pt x="16" y="3"/>
                    <a:pt x="16" y="5"/>
                  </a:cubicBezTo>
                  <a:cubicBezTo>
                    <a:pt x="16" y="4"/>
                    <a:pt x="19" y="7"/>
                    <a:pt x="21" y="7"/>
                  </a:cubicBezTo>
                  <a:cubicBezTo>
                    <a:pt x="21" y="7"/>
                    <a:pt x="23" y="10"/>
                    <a:pt x="24" y="10"/>
                  </a:cubicBezTo>
                  <a:cubicBezTo>
                    <a:pt x="25" y="10"/>
                    <a:pt x="28" y="12"/>
                    <a:pt x="28" y="13"/>
                  </a:cubicBezTo>
                  <a:cubicBezTo>
                    <a:pt x="28" y="13"/>
                    <a:pt x="26" y="15"/>
                    <a:pt x="25" y="15"/>
                  </a:cubicBezTo>
                  <a:cubicBezTo>
                    <a:pt x="25" y="15"/>
                    <a:pt x="23" y="14"/>
                    <a:pt x="21" y="14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9" y="12"/>
                    <a:pt x="17" y="10"/>
                    <a:pt x="17" y="10"/>
                  </a:cubicBezTo>
                  <a:cubicBezTo>
                    <a:pt x="16" y="10"/>
                    <a:pt x="16" y="12"/>
                    <a:pt x="15" y="13"/>
                  </a:cubicBezTo>
                  <a:cubicBezTo>
                    <a:pt x="13" y="13"/>
                    <a:pt x="11" y="16"/>
                    <a:pt x="10" y="16"/>
                  </a:cubicBezTo>
                  <a:cubicBezTo>
                    <a:pt x="9" y="16"/>
                    <a:pt x="8" y="18"/>
                    <a:pt x="8" y="17"/>
                  </a:cubicBezTo>
                  <a:cubicBezTo>
                    <a:pt x="7" y="16"/>
                    <a:pt x="8" y="13"/>
                    <a:pt x="7" y="13"/>
                  </a:cubicBezTo>
                  <a:cubicBezTo>
                    <a:pt x="6" y="13"/>
                    <a:pt x="3" y="14"/>
                    <a:pt x="1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1" name="Freeform 650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2231985" y="1755775"/>
              <a:ext cx="662468" cy="522394"/>
            </a:xfrm>
            <a:custGeom>
              <a:avLst/>
              <a:gdLst>
                <a:gd name="T0" fmla="*/ 6 w 110"/>
                <a:gd name="T1" fmla="*/ 2 h 81"/>
                <a:gd name="T2" fmla="*/ 18 w 110"/>
                <a:gd name="T3" fmla="*/ 1 h 81"/>
                <a:gd name="T4" fmla="*/ 12 w 110"/>
                <a:gd name="T5" fmla="*/ 11 h 81"/>
                <a:gd name="T6" fmla="*/ 18 w 110"/>
                <a:gd name="T7" fmla="*/ 18 h 81"/>
                <a:gd name="T8" fmla="*/ 16 w 110"/>
                <a:gd name="T9" fmla="*/ 14 h 81"/>
                <a:gd name="T10" fmla="*/ 16 w 110"/>
                <a:gd name="T11" fmla="*/ 10 h 81"/>
                <a:gd name="T12" fmla="*/ 21 w 110"/>
                <a:gd name="T13" fmla="*/ 3 h 81"/>
                <a:gd name="T14" fmla="*/ 32 w 110"/>
                <a:gd name="T15" fmla="*/ 3 h 81"/>
                <a:gd name="T16" fmla="*/ 35 w 110"/>
                <a:gd name="T17" fmla="*/ 9 h 81"/>
                <a:gd name="T18" fmla="*/ 38 w 110"/>
                <a:gd name="T19" fmla="*/ 13 h 81"/>
                <a:gd name="T20" fmla="*/ 44 w 110"/>
                <a:gd name="T21" fmla="*/ 13 h 81"/>
                <a:gd name="T22" fmla="*/ 48 w 110"/>
                <a:gd name="T23" fmla="*/ 9 h 81"/>
                <a:gd name="T24" fmla="*/ 60 w 110"/>
                <a:gd name="T25" fmla="*/ 13 h 81"/>
                <a:gd name="T26" fmla="*/ 59 w 110"/>
                <a:gd name="T27" fmla="*/ 17 h 81"/>
                <a:gd name="T28" fmla="*/ 70 w 110"/>
                <a:gd name="T29" fmla="*/ 18 h 81"/>
                <a:gd name="T30" fmla="*/ 74 w 110"/>
                <a:gd name="T31" fmla="*/ 23 h 81"/>
                <a:gd name="T32" fmla="*/ 82 w 110"/>
                <a:gd name="T33" fmla="*/ 24 h 81"/>
                <a:gd name="T34" fmla="*/ 87 w 110"/>
                <a:gd name="T35" fmla="*/ 28 h 81"/>
                <a:gd name="T36" fmla="*/ 87 w 110"/>
                <a:gd name="T37" fmla="*/ 32 h 81"/>
                <a:gd name="T38" fmla="*/ 87 w 110"/>
                <a:gd name="T39" fmla="*/ 34 h 81"/>
                <a:gd name="T40" fmla="*/ 88 w 110"/>
                <a:gd name="T41" fmla="*/ 39 h 81"/>
                <a:gd name="T42" fmla="*/ 99 w 110"/>
                <a:gd name="T43" fmla="*/ 44 h 81"/>
                <a:gd name="T44" fmla="*/ 106 w 110"/>
                <a:gd name="T45" fmla="*/ 48 h 81"/>
                <a:gd name="T46" fmla="*/ 109 w 110"/>
                <a:gd name="T47" fmla="*/ 53 h 81"/>
                <a:gd name="T48" fmla="*/ 106 w 110"/>
                <a:gd name="T49" fmla="*/ 57 h 81"/>
                <a:gd name="T50" fmla="*/ 102 w 110"/>
                <a:gd name="T51" fmla="*/ 57 h 81"/>
                <a:gd name="T52" fmla="*/ 100 w 110"/>
                <a:gd name="T53" fmla="*/ 61 h 81"/>
                <a:gd name="T54" fmla="*/ 92 w 110"/>
                <a:gd name="T55" fmla="*/ 54 h 81"/>
                <a:gd name="T56" fmla="*/ 88 w 110"/>
                <a:gd name="T57" fmla="*/ 55 h 81"/>
                <a:gd name="T58" fmla="*/ 87 w 110"/>
                <a:gd name="T59" fmla="*/ 59 h 81"/>
                <a:gd name="T60" fmla="*/ 97 w 110"/>
                <a:gd name="T61" fmla="*/ 67 h 81"/>
                <a:gd name="T62" fmla="*/ 96 w 110"/>
                <a:gd name="T63" fmla="*/ 73 h 81"/>
                <a:gd name="T64" fmla="*/ 97 w 110"/>
                <a:gd name="T65" fmla="*/ 78 h 81"/>
                <a:gd name="T66" fmla="*/ 90 w 110"/>
                <a:gd name="T67" fmla="*/ 72 h 81"/>
                <a:gd name="T68" fmla="*/ 81 w 110"/>
                <a:gd name="T69" fmla="*/ 70 h 81"/>
                <a:gd name="T70" fmla="*/ 92 w 110"/>
                <a:gd name="T71" fmla="*/ 78 h 81"/>
                <a:gd name="T72" fmla="*/ 84 w 110"/>
                <a:gd name="T73" fmla="*/ 78 h 81"/>
                <a:gd name="T74" fmla="*/ 71 w 110"/>
                <a:gd name="T75" fmla="*/ 73 h 81"/>
                <a:gd name="T76" fmla="*/ 65 w 110"/>
                <a:gd name="T77" fmla="*/ 66 h 81"/>
                <a:gd name="T78" fmla="*/ 55 w 110"/>
                <a:gd name="T79" fmla="*/ 65 h 81"/>
                <a:gd name="T80" fmla="*/ 45 w 110"/>
                <a:gd name="T81" fmla="*/ 63 h 81"/>
                <a:gd name="T82" fmla="*/ 48 w 110"/>
                <a:gd name="T83" fmla="*/ 59 h 81"/>
                <a:gd name="T84" fmla="*/ 57 w 110"/>
                <a:gd name="T85" fmla="*/ 60 h 81"/>
                <a:gd name="T86" fmla="*/ 59 w 110"/>
                <a:gd name="T87" fmla="*/ 54 h 81"/>
                <a:gd name="T88" fmla="*/ 67 w 110"/>
                <a:gd name="T89" fmla="*/ 47 h 81"/>
                <a:gd name="T90" fmla="*/ 61 w 110"/>
                <a:gd name="T91" fmla="*/ 39 h 81"/>
                <a:gd name="T92" fmla="*/ 57 w 110"/>
                <a:gd name="T93" fmla="*/ 37 h 81"/>
                <a:gd name="T94" fmla="*/ 54 w 110"/>
                <a:gd name="T95" fmla="*/ 35 h 81"/>
                <a:gd name="T96" fmla="*/ 47 w 110"/>
                <a:gd name="T97" fmla="*/ 30 h 81"/>
                <a:gd name="T98" fmla="*/ 42 w 110"/>
                <a:gd name="T99" fmla="*/ 24 h 81"/>
                <a:gd name="T100" fmla="*/ 43 w 110"/>
                <a:gd name="T101" fmla="*/ 29 h 81"/>
                <a:gd name="T102" fmla="*/ 32 w 110"/>
                <a:gd name="T103" fmla="*/ 28 h 81"/>
                <a:gd name="T104" fmla="*/ 25 w 110"/>
                <a:gd name="T105" fmla="*/ 28 h 81"/>
                <a:gd name="T106" fmla="*/ 12 w 110"/>
                <a:gd name="T107" fmla="*/ 26 h 81"/>
                <a:gd name="T108" fmla="*/ 2 w 110"/>
                <a:gd name="T109" fmla="*/ 22 h 81"/>
                <a:gd name="T110" fmla="*/ 8 w 110"/>
                <a:gd name="T111" fmla="*/ 20 h 81"/>
                <a:gd name="T112" fmla="*/ 0 w 110"/>
                <a:gd name="T113" fmla="*/ 1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" h="81">
                  <a:moveTo>
                    <a:pt x="0" y="11"/>
                  </a:moveTo>
                  <a:cubicBezTo>
                    <a:pt x="0" y="10"/>
                    <a:pt x="3" y="4"/>
                    <a:pt x="6" y="2"/>
                  </a:cubicBezTo>
                  <a:cubicBezTo>
                    <a:pt x="10" y="0"/>
                    <a:pt x="14" y="0"/>
                    <a:pt x="15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2"/>
                    <a:pt x="13" y="4"/>
                    <a:pt x="12" y="7"/>
                  </a:cubicBezTo>
                  <a:cubicBezTo>
                    <a:pt x="11" y="9"/>
                    <a:pt x="12" y="10"/>
                    <a:pt x="12" y="11"/>
                  </a:cubicBezTo>
                  <a:cubicBezTo>
                    <a:pt x="13" y="12"/>
                    <a:pt x="11" y="13"/>
                    <a:pt x="12" y="15"/>
                  </a:cubicBezTo>
                  <a:cubicBezTo>
                    <a:pt x="13" y="17"/>
                    <a:pt x="17" y="18"/>
                    <a:pt x="18" y="18"/>
                  </a:cubicBezTo>
                  <a:cubicBezTo>
                    <a:pt x="19" y="19"/>
                    <a:pt x="20" y="19"/>
                    <a:pt x="20" y="17"/>
                  </a:cubicBezTo>
                  <a:cubicBezTo>
                    <a:pt x="20" y="16"/>
                    <a:pt x="16" y="15"/>
                    <a:pt x="16" y="14"/>
                  </a:cubicBezTo>
                  <a:cubicBezTo>
                    <a:pt x="15" y="13"/>
                    <a:pt x="19" y="14"/>
                    <a:pt x="19" y="13"/>
                  </a:cubicBezTo>
                  <a:cubicBezTo>
                    <a:pt x="19" y="13"/>
                    <a:pt x="17" y="11"/>
                    <a:pt x="16" y="10"/>
                  </a:cubicBezTo>
                  <a:cubicBezTo>
                    <a:pt x="16" y="9"/>
                    <a:pt x="17" y="7"/>
                    <a:pt x="17" y="6"/>
                  </a:cubicBezTo>
                  <a:cubicBezTo>
                    <a:pt x="18" y="4"/>
                    <a:pt x="19" y="3"/>
                    <a:pt x="21" y="3"/>
                  </a:cubicBezTo>
                  <a:cubicBezTo>
                    <a:pt x="23" y="3"/>
                    <a:pt x="28" y="1"/>
                    <a:pt x="30" y="1"/>
                  </a:cubicBezTo>
                  <a:cubicBezTo>
                    <a:pt x="31" y="2"/>
                    <a:pt x="32" y="2"/>
                    <a:pt x="32" y="3"/>
                  </a:cubicBezTo>
                  <a:cubicBezTo>
                    <a:pt x="32" y="4"/>
                    <a:pt x="32" y="5"/>
                    <a:pt x="33" y="5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5" y="11"/>
                    <a:pt x="33" y="13"/>
                    <a:pt x="35" y="14"/>
                  </a:cubicBezTo>
                  <a:cubicBezTo>
                    <a:pt x="36" y="15"/>
                    <a:pt x="36" y="13"/>
                    <a:pt x="38" y="13"/>
                  </a:cubicBezTo>
                  <a:cubicBezTo>
                    <a:pt x="38" y="12"/>
                    <a:pt x="39" y="11"/>
                    <a:pt x="40" y="12"/>
                  </a:cubicBezTo>
                  <a:cubicBezTo>
                    <a:pt x="41" y="12"/>
                    <a:pt x="44" y="13"/>
                    <a:pt x="44" y="13"/>
                  </a:cubicBezTo>
                  <a:cubicBezTo>
                    <a:pt x="44" y="13"/>
                    <a:pt x="45" y="12"/>
                    <a:pt x="44" y="11"/>
                  </a:cubicBezTo>
                  <a:cubicBezTo>
                    <a:pt x="44" y="10"/>
                    <a:pt x="47" y="10"/>
                    <a:pt x="48" y="9"/>
                  </a:cubicBezTo>
                  <a:cubicBezTo>
                    <a:pt x="49" y="9"/>
                    <a:pt x="54" y="11"/>
                    <a:pt x="55" y="11"/>
                  </a:cubicBezTo>
                  <a:cubicBezTo>
                    <a:pt x="57" y="11"/>
                    <a:pt x="59" y="12"/>
                    <a:pt x="60" y="13"/>
                  </a:cubicBezTo>
                  <a:cubicBezTo>
                    <a:pt x="61" y="14"/>
                    <a:pt x="58" y="15"/>
                    <a:pt x="57" y="16"/>
                  </a:cubicBezTo>
                  <a:cubicBezTo>
                    <a:pt x="56" y="17"/>
                    <a:pt x="58" y="17"/>
                    <a:pt x="59" y="17"/>
                  </a:cubicBezTo>
                  <a:cubicBezTo>
                    <a:pt x="59" y="17"/>
                    <a:pt x="62" y="17"/>
                    <a:pt x="64" y="17"/>
                  </a:cubicBezTo>
                  <a:cubicBezTo>
                    <a:pt x="65" y="17"/>
                    <a:pt x="68" y="17"/>
                    <a:pt x="70" y="18"/>
                  </a:cubicBezTo>
                  <a:cubicBezTo>
                    <a:pt x="72" y="19"/>
                    <a:pt x="72" y="19"/>
                    <a:pt x="73" y="20"/>
                  </a:cubicBezTo>
                  <a:cubicBezTo>
                    <a:pt x="74" y="22"/>
                    <a:pt x="72" y="22"/>
                    <a:pt x="74" y="23"/>
                  </a:cubicBezTo>
                  <a:cubicBezTo>
                    <a:pt x="75" y="24"/>
                    <a:pt x="76" y="23"/>
                    <a:pt x="78" y="23"/>
                  </a:cubicBezTo>
                  <a:cubicBezTo>
                    <a:pt x="79" y="23"/>
                    <a:pt x="81" y="24"/>
                    <a:pt x="82" y="24"/>
                  </a:cubicBezTo>
                  <a:cubicBezTo>
                    <a:pt x="84" y="24"/>
                    <a:pt x="83" y="26"/>
                    <a:pt x="84" y="26"/>
                  </a:cubicBezTo>
                  <a:cubicBezTo>
                    <a:pt x="85" y="26"/>
                    <a:pt x="87" y="28"/>
                    <a:pt x="87" y="28"/>
                  </a:cubicBezTo>
                  <a:cubicBezTo>
                    <a:pt x="88" y="29"/>
                    <a:pt x="85" y="30"/>
                    <a:pt x="85" y="31"/>
                  </a:cubicBezTo>
                  <a:cubicBezTo>
                    <a:pt x="85" y="31"/>
                    <a:pt x="86" y="31"/>
                    <a:pt x="87" y="32"/>
                  </a:cubicBezTo>
                  <a:cubicBezTo>
                    <a:pt x="88" y="32"/>
                    <a:pt x="90" y="33"/>
                    <a:pt x="89" y="34"/>
                  </a:cubicBezTo>
                  <a:cubicBezTo>
                    <a:pt x="89" y="35"/>
                    <a:pt x="87" y="34"/>
                    <a:pt x="87" y="34"/>
                  </a:cubicBezTo>
                  <a:cubicBezTo>
                    <a:pt x="86" y="34"/>
                    <a:pt x="86" y="35"/>
                    <a:pt x="86" y="36"/>
                  </a:cubicBezTo>
                  <a:cubicBezTo>
                    <a:pt x="86" y="37"/>
                    <a:pt x="87" y="38"/>
                    <a:pt x="88" y="39"/>
                  </a:cubicBezTo>
                  <a:cubicBezTo>
                    <a:pt x="89" y="40"/>
                    <a:pt x="92" y="40"/>
                    <a:pt x="94" y="41"/>
                  </a:cubicBezTo>
                  <a:cubicBezTo>
                    <a:pt x="97" y="42"/>
                    <a:pt x="98" y="43"/>
                    <a:pt x="99" y="44"/>
                  </a:cubicBezTo>
                  <a:cubicBezTo>
                    <a:pt x="100" y="45"/>
                    <a:pt x="101" y="46"/>
                    <a:pt x="102" y="47"/>
                  </a:cubicBezTo>
                  <a:cubicBezTo>
                    <a:pt x="103" y="48"/>
                    <a:pt x="105" y="48"/>
                    <a:pt x="106" y="48"/>
                  </a:cubicBezTo>
                  <a:cubicBezTo>
                    <a:pt x="107" y="48"/>
                    <a:pt x="109" y="50"/>
                    <a:pt x="110" y="51"/>
                  </a:cubicBezTo>
                  <a:cubicBezTo>
                    <a:pt x="110" y="51"/>
                    <a:pt x="109" y="52"/>
                    <a:pt x="109" y="53"/>
                  </a:cubicBezTo>
                  <a:cubicBezTo>
                    <a:pt x="109" y="54"/>
                    <a:pt x="107" y="53"/>
                    <a:pt x="106" y="54"/>
                  </a:cubicBezTo>
                  <a:cubicBezTo>
                    <a:pt x="106" y="54"/>
                    <a:pt x="107" y="56"/>
                    <a:pt x="106" y="57"/>
                  </a:cubicBezTo>
                  <a:cubicBezTo>
                    <a:pt x="106" y="58"/>
                    <a:pt x="105" y="58"/>
                    <a:pt x="105" y="58"/>
                  </a:cubicBezTo>
                  <a:cubicBezTo>
                    <a:pt x="105" y="58"/>
                    <a:pt x="103" y="57"/>
                    <a:pt x="102" y="57"/>
                  </a:cubicBezTo>
                  <a:cubicBezTo>
                    <a:pt x="102" y="58"/>
                    <a:pt x="102" y="61"/>
                    <a:pt x="102" y="61"/>
                  </a:cubicBezTo>
                  <a:cubicBezTo>
                    <a:pt x="102" y="62"/>
                    <a:pt x="101" y="61"/>
                    <a:pt x="100" y="61"/>
                  </a:cubicBezTo>
                  <a:cubicBezTo>
                    <a:pt x="100" y="61"/>
                    <a:pt x="95" y="59"/>
                    <a:pt x="94" y="58"/>
                  </a:cubicBezTo>
                  <a:cubicBezTo>
                    <a:pt x="93" y="58"/>
                    <a:pt x="92" y="55"/>
                    <a:pt x="92" y="54"/>
                  </a:cubicBezTo>
                  <a:cubicBezTo>
                    <a:pt x="91" y="54"/>
                    <a:pt x="89" y="52"/>
                    <a:pt x="88" y="52"/>
                  </a:cubicBezTo>
                  <a:cubicBezTo>
                    <a:pt x="86" y="52"/>
                    <a:pt x="88" y="54"/>
                    <a:pt x="88" y="55"/>
                  </a:cubicBezTo>
                  <a:cubicBezTo>
                    <a:pt x="88" y="55"/>
                    <a:pt x="87" y="55"/>
                    <a:pt x="86" y="56"/>
                  </a:cubicBezTo>
                  <a:cubicBezTo>
                    <a:pt x="85" y="58"/>
                    <a:pt x="87" y="58"/>
                    <a:pt x="87" y="59"/>
                  </a:cubicBezTo>
                  <a:cubicBezTo>
                    <a:pt x="88" y="60"/>
                    <a:pt x="90" y="61"/>
                    <a:pt x="92" y="62"/>
                  </a:cubicBezTo>
                  <a:cubicBezTo>
                    <a:pt x="93" y="63"/>
                    <a:pt x="96" y="66"/>
                    <a:pt x="97" y="67"/>
                  </a:cubicBezTo>
                  <a:cubicBezTo>
                    <a:pt x="97" y="67"/>
                    <a:pt x="99" y="68"/>
                    <a:pt x="99" y="70"/>
                  </a:cubicBezTo>
                  <a:cubicBezTo>
                    <a:pt x="99" y="71"/>
                    <a:pt x="96" y="72"/>
                    <a:pt x="96" y="73"/>
                  </a:cubicBezTo>
                  <a:cubicBezTo>
                    <a:pt x="96" y="73"/>
                    <a:pt x="98" y="75"/>
                    <a:pt x="98" y="76"/>
                  </a:cubicBezTo>
                  <a:cubicBezTo>
                    <a:pt x="98" y="77"/>
                    <a:pt x="97" y="77"/>
                    <a:pt x="97" y="78"/>
                  </a:cubicBezTo>
                  <a:cubicBezTo>
                    <a:pt x="96" y="78"/>
                    <a:pt x="95" y="77"/>
                    <a:pt x="95" y="76"/>
                  </a:cubicBezTo>
                  <a:cubicBezTo>
                    <a:pt x="94" y="75"/>
                    <a:pt x="92" y="73"/>
                    <a:pt x="90" y="72"/>
                  </a:cubicBezTo>
                  <a:cubicBezTo>
                    <a:pt x="89" y="71"/>
                    <a:pt x="86" y="70"/>
                    <a:pt x="85" y="70"/>
                  </a:cubicBezTo>
                  <a:cubicBezTo>
                    <a:pt x="84" y="69"/>
                    <a:pt x="82" y="69"/>
                    <a:pt x="81" y="70"/>
                  </a:cubicBezTo>
                  <a:cubicBezTo>
                    <a:pt x="81" y="70"/>
                    <a:pt x="83" y="72"/>
                    <a:pt x="85" y="73"/>
                  </a:cubicBezTo>
                  <a:cubicBezTo>
                    <a:pt x="86" y="73"/>
                    <a:pt x="92" y="78"/>
                    <a:pt x="92" y="78"/>
                  </a:cubicBezTo>
                  <a:cubicBezTo>
                    <a:pt x="93" y="79"/>
                    <a:pt x="93" y="81"/>
                    <a:pt x="93" y="81"/>
                  </a:cubicBezTo>
                  <a:cubicBezTo>
                    <a:pt x="92" y="81"/>
                    <a:pt x="86" y="78"/>
                    <a:pt x="84" y="78"/>
                  </a:cubicBezTo>
                  <a:cubicBezTo>
                    <a:pt x="83" y="78"/>
                    <a:pt x="78" y="77"/>
                    <a:pt x="76" y="75"/>
                  </a:cubicBezTo>
                  <a:cubicBezTo>
                    <a:pt x="74" y="74"/>
                    <a:pt x="72" y="74"/>
                    <a:pt x="71" y="73"/>
                  </a:cubicBezTo>
                  <a:cubicBezTo>
                    <a:pt x="69" y="72"/>
                    <a:pt x="70" y="71"/>
                    <a:pt x="70" y="70"/>
                  </a:cubicBezTo>
                  <a:cubicBezTo>
                    <a:pt x="70" y="69"/>
                    <a:pt x="66" y="67"/>
                    <a:pt x="65" y="66"/>
                  </a:cubicBezTo>
                  <a:cubicBezTo>
                    <a:pt x="63" y="65"/>
                    <a:pt x="61" y="65"/>
                    <a:pt x="60" y="64"/>
                  </a:cubicBezTo>
                  <a:cubicBezTo>
                    <a:pt x="59" y="63"/>
                    <a:pt x="56" y="64"/>
                    <a:pt x="55" y="65"/>
                  </a:cubicBezTo>
                  <a:cubicBezTo>
                    <a:pt x="54" y="65"/>
                    <a:pt x="51" y="66"/>
                    <a:pt x="49" y="66"/>
                  </a:cubicBezTo>
                  <a:cubicBezTo>
                    <a:pt x="47" y="66"/>
                    <a:pt x="46" y="64"/>
                    <a:pt x="45" y="63"/>
                  </a:cubicBezTo>
                  <a:cubicBezTo>
                    <a:pt x="44" y="63"/>
                    <a:pt x="46" y="61"/>
                    <a:pt x="47" y="60"/>
                  </a:cubicBezTo>
                  <a:cubicBezTo>
                    <a:pt x="48" y="60"/>
                    <a:pt x="47" y="59"/>
                    <a:pt x="48" y="59"/>
                  </a:cubicBezTo>
                  <a:cubicBezTo>
                    <a:pt x="48" y="59"/>
                    <a:pt x="50" y="58"/>
                    <a:pt x="51" y="59"/>
                  </a:cubicBezTo>
                  <a:cubicBezTo>
                    <a:pt x="53" y="59"/>
                    <a:pt x="55" y="59"/>
                    <a:pt x="57" y="60"/>
                  </a:cubicBezTo>
                  <a:cubicBezTo>
                    <a:pt x="58" y="60"/>
                    <a:pt x="62" y="59"/>
                    <a:pt x="62" y="59"/>
                  </a:cubicBezTo>
                  <a:cubicBezTo>
                    <a:pt x="63" y="59"/>
                    <a:pt x="59" y="55"/>
                    <a:pt x="59" y="54"/>
                  </a:cubicBezTo>
                  <a:cubicBezTo>
                    <a:pt x="59" y="54"/>
                    <a:pt x="62" y="51"/>
                    <a:pt x="64" y="51"/>
                  </a:cubicBezTo>
                  <a:cubicBezTo>
                    <a:pt x="65" y="51"/>
                    <a:pt x="66" y="48"/>
                    <a:pt x="67" y="47"/>
                  </a:cubicBezTo>
                  <a:cubicBezTo>
                    <a:pt x="68" y="46"/>
                    <a:pt x="66" y="44"/>
                    <a:pt x="66" y="43"/>
                  </a:cubicBezTo>
                  <a:cubicBezTo>
                    <a:pt x="65" y="43"/>
                    <a:pt x="63" y="40"/>
                    <a:pt x="61" y="39"/>
                  </a:cubicBezTo>
                  <a:cubicBezTo>
                    <a:pt x="59" y="38"/>
                    <a:pt x="61" y="37"/>
                    <a:pt x="59" y="37"/>
                  </a:cubicBezTo>
                  <a:cubicBezTo>
                    <a:pt x="58" y="36"/>
                    <a:pt x="57" y="37"/>
                    <a:pt x="57" y="37"/>
                  </a:cubicBezTo>
                  <a:cubicBezTo>
                    <a:pt x="56" y="37"/>
                    <a:pt x="51" y="37"/>
                    <a:pt x="51" y="36"/>
                  </a:cubicBezTo>
                  <a:cubicBezTo>
                    <a:pt x="51" y="36"/>
                    <a:pt x="53" y="35"/>
                    <a:pt x="54" y="35"/>
                  </a:cubicBezTo>
                  <a:cubicBezTo>
                    <a:pt x="54" y="35"/>
                    <a:pt x="55" y="34"/>
                    <a:pt x="53" y="32"/>
                  </a:cubicBezTo>
                  <a:cubicBezTo>
                    <a:pt x="51" y="31"/>
                    <a:pt x="47" y="31"/>
                    <a:pt x="47" y="30"/>
                  </a:cubicBezTo>
                  <a:cubicBezTo>
                    <a:pt x="47" y="29"/>
                    <a:pt x="46" y="28"/>
                    <a:pt x="46" y="27"/>
                  </a:cubicBezTo>
                  <a:cubicBezTo>
                    <a:pt x="46" y="26"/>
                    <a:pt x="42" y="24"/>
                    <a:pt x="42" y="24"/>
                  </a:cubicBezTo>
                  <a:cubicBezTo>
                    <a:pt x="42" y="24"/>
                    <a:pt x="41" y="25"/>
                    <a:pt x="40" y="25"/>
                  </a:cubicBezTo>
                  <a:cubicBezTo>
                    <a:pt x="40" y="26"/>
                    <a:pt x="43" y="28"/>
                    <a:pt x="43" y="29"/>
                  </a:cubicBezTo>
                  <a:cubicBezTo>
                    <a:pt x="43" y="30"/>
                    <a:pt x="40" y="29"/>
                    <a:pt x="39" y="29"/>
                  </a:cubicBezTo>
                  <a:cubicBezTo>
                    <a:pt x="38" y="29"/>
                    <a:pt x="33" y="28"/>
                    <a:pt x="32" y="28"/>
                  </a:cubicBezTo>
                  <a:cubicBezTo>
                    <a:pt x="31" y="28"/>
                    <a:pt x="30" y="29"/>
                    <a:pt x="29" y="29"/>
                  </a:cubicBezTo>
                  <a:cubicBezTo>
                    <a:pt x="28" y="29"/>
                    <a:pt x="26" y="28"/>
                    <a:pt x="25" y="28"/>
                  </a:cubicBezTo>
                  <a:cubicBezTo>
                    <a:pt x="23" y="28"/>
                    <a:pt x="21" y="27"/>
                    <a:pt x="20" y="27"/>
                  </a:cubicBezTo>
                  <a:cubicBezTo>
                    <a:pt x="18" y="27"/>
                    <a:pt x="13" y="26"/>
                    <a:pt x="12" y="26"/>
                  </a:cubicBezTo>
                  <a:cubicBezTo>
                    <a:pt x="11" y="25"/>
                    <a:pt x="10" y="26"/>
                    <a:pt x="8" y="26"/>
                  </a:cubicBezTo>
                  <a:cubicBezTo>
                    <a:pt x="6" y="26"/>
                    <a:pt x="2" y="23"/>
                    <a:pt x="2" y="22"/>
                  </a:cubicBezTo>
                  <a:cubicBezTo>
                    <a:pt x="2" y="22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19"/>
                    <a:pt x="0" y="18"/>
                    <a:pt x="0" y="18"/>
                  </a:cubicBezTo>
                  <a:cubicBezTo>
                    <a:pt x="0" y="17"/>
                    <a:pt x="0" y="13"/>
                    <a:pt x="0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2" name="Freeform 650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2175738" y="1240079"/>
              <a:ext cx="728090" cy="395144"/>
            </a:xfrm>
            <a:custGeom>
              <a:avLst/>
              <a:gdLst>
                <a:gd name="T0" fmla="*/ 2 w 120"/>
                <a:gd name="T1" fmla="*/ 16 h 61"/>
                <a:gd name="T2" fmla="*/ 2 w 120"/>
                <a:gd name="T3" fmla="*/ 14 h 61"/>
                <a:gd name="T4" fmla="*/ 9 w 120"/>
                <a:gd name="T5" fmla="*/ 13 h 61"/>
                <a:gd name="T6" fmla="*/ 12 w 120"/>
                <a:gd name="T7" fmla="*/ 11 h 61"/>
                <a:gd name="T8" fmla="*/ 19 w 120"/>
                <a:gd name="T9" fmla="*/ 11 h 61"/>
                <a:gd name="T10" fmla="*/ 25 w 120"/>
                <a:gd name="T11" fmla="*/ 9 h 61"/>
                <a:gd name="T12" fmla="*/ 28 w 120"/>
                <a:gd name="T13" fmla="*/ 7 h 61"/>
                <a:gd name="T14" fmla="*/ 35 w 120"/>
                <a:gd name="T15" fmla="*/ 10 h 61"/>
                <a:gd name="T16" fmla="*/ 38 w 120"/>
                <a:gd name="T17" fmla="*/ 9 h 61"/>
                <a:gd name="T18" fmla="*/ 38 w 120"/>
                <a:gd name="T19" fmla="*/ 5 h 61"/>
                <a:gd name="T20" fmla="*/ 47 w 120"/>
                <a:gd name="T21" fmla="*/ 5 h 61"/>
                <a:gd name="T22" fmla="*/ 52 w 120"/>
                <a:gd name="T23" fmla="*/ 2 h 61"/>
                <a:gd name="T24" fmla="*/ 60 w 120"/>
                <a:gd name="T25" fmla="*/ 5 h 61"/>
                <a:gd name="T26" fmla="*/ 59 w 120"/>
                <a:gd name="T27" fmla="*/ 1 h 61"/>
                <a:gd name="T28" fmla="*/ 69 w 120"/>
                <a:gd name="T29" fmla="*/ 2 h 61"/>
                <a:gd name="T30" fmla="*/ 73 w 120"/>
                <a:gd name="T31" fmla="*/ 1 h 61"/>
                <a:gd name="T32" fmla="*/ 85 w 120"/>
                <a:gd name="T33" fmla="*/ 1 h 61"/>
                <a:gd name="T34" fmla="*/ 97 w 120"/>
                <a:gd name="T35" fmla="*/ 3 h 61"/>
                <a:gd name="T36" fmla="*/ 97 w 120"/>
                <a:gd name="T37" fmla="*/ 7 h 61"/>
                <a:gd name="T38" fmla="*/ 109 w 120"/>
                <a:gd name="T39" fmla="*/ 3 h 61"/>
                <a:gd name="T40" fmla="*/ 117 w 120"/>
                <a:gd name="T41" fmla="*/ 7 h 61"/>
                <a:gd name="T42" fmla="*/ 108 w 120"/>
                <a:gd name="T43" fmla="*/ 13 h 61"/>
                <a:gd name="T44" fmla="*/ 88 w 120"/>
                <a:gd name="T45" fmla="*/ 17 h 61"/>
                <a:gd name="T46" fmla="*/ 91 w 120"/>
                <a:gd name="T47" fmla="*/ 19 h 61"/>
                <a:gd name="T48" fmla="*/ 97 w 120"/>
                <a:gd name="T49" fmla="*/ 21 h 61"/>
                <a:gd name="T50" fmla="*/ 81 w 120"/>
                <a:gd name="T51" fmla="*/ 31 h 61"/>
                <a:gd name="T52" fmla="*/ 59 w 120"/>
                <a:gd name="T53" fmla="*/ 34 h 61"/>
                <a:gd name="T54" fmla="*/ 66 w 120"/>
                <a:gd name="T55" fmla="*/ 37 h 61"/>
                <a:gd name="T56" fmla="*/ 66 w 120"/>
                <a:gd name="T57" fmla="*/ 44 h 61"/>
                <a:gd name="T58" fmla="*/ 53 w 120"/>
                <a:gd name="T59" fmla="*/ 47 h 61"/>
                <a:gd name="T60" fmla="*/ 44 w 120"/>
                <a:gd name="T61" fmla="*/ 52 h 61"/>
                <a:gd name="T62" fmla="*/ 51 w 120"/>
                <a:gd name="T63" fmla="*/ 55 h 61"/>
                <a:gd name="T64" fmla="*/ 53 w 120"/>
                <a:gd name="T65" fmla="*/ 59 h 61"/>
                <a:gd name="T66" fmla="*/ 42 w 120"/>
                <a:gd name="T67" fmla="*/ 58 h 61"/>
                <a:gd name="T68" fmla="*/ 28 w 120"/>
                <a:gd name="T69" fmla="*/ 58 h 61"/>
                <a:gd name="T70" fmla="*/ 17 w 120"/>
                <a:gd name="T71" fmla="*/ 59 h 61"/>
                <a:gd name="T72" fmla="*/ 10 w 120"/>
                <a:gd name="T73" fmla="*/ 56 h 61"/>
                <a:gd name="T74" fmla="*/ 17 w 120"/>
                <a:gd name="T75" fmla="*/ 52 h 61"/>
                <a:gd name="T76" fmla="*/ 21 w 120"/>
                <a:gd name="T77" fmla="*/ 49 h 61"/>
                <a:gd name="T78" fmla="*/ 31 w 120"/>
                <a:gd name="T79" fmla="*/ 53 h 61"/>
                <a:gd name="T80" fmla="*/ 27 w 120"/>
                <a:gd name="T81" fmla="*/ 50 h 61"/>
                <a:gd name="T82" fmla="*/ 27 w 120"/>
                <a:gd name="T83" fmla="*/ 44 h 61"/>
                <a:gd name="T84" fmla="*/ 18 w 120"/>
                <a:gd name="T85" fmla="*/ 45 h 61"/>
                <a:gd name="T86" fmla="*/ 24 w 120"/>
                <a:gd name="T87" fmla="*/ 40 h 61"/>
                <a:gd name="T88" fmla="*/ 36 w 120"/>
                <a:gd name="T89" fmla="*/ 40 h 61"/>
                <a:gd name="T90" fmla="*/ 30 w 120"/>
                <a:gd name="T91" fmla="*/ 37 h 61"/>
                <a:gd name="T92" fmla="*/ 24 w 120"/>
                <a:gd name="T93" fmla="*/ 31 h 61"/>
                <a:gd name="T94" fmla="*/ 21 w 120"/>
                <a:gd name="T95" fmla="*/ 27 h 61"/>
                <a:gd name="T96" fmla="*/ 31 w 120"/>
                <a:gd name="T97" fmla="*/ 28 h 61"/>
                <a:gd name="T98" fmla="*/ 40 w 120"/>
                <a:gd name="T99" fmla="*/ 33 h 61"/>
                <a:gd name="T100" fmla="*/ 41 w 120"/>
                <a:gd name="T101" fmla="*/ 30 h 61"/>
                <a:gd name="T102" fmla="*/ 40 w 120"/>
                <a:gd name="T103" fmla="*/ 26 h 61"/>
                <a:gd name="T104" fmla="*/ 51 w 120"/>
                <a:gd name="T105" fmla="*/ 23 h 61"/>
                <a:gd name="T106" fmla="*/ 52 w 120"/>
                <a:gd name="T107" fmla="*/ 19 h 61"/>
                <a:gd name="T108" fmla="*/ 47 w 120"/>
                <a:gd name="T109" fmla="*/ 22 h 61"/>
                <a:gd name="T110" fmla="*/ 20 w 120"/>
                <a:gd name="T111" fmla="*/ 24 h 61"/>
                <a:gd name="T112" fmla="*/ 18 w 120"/>
                <a:gd name="T113" fmla="*/ 21 h 61"/>
                <a:gd name="T114" fmla="*/ 21 w 120"/>
                <a:gd name="T115" fmla="*/ 18 h 61"/>
                <a:gd name="T116" fmla="*/ 6 w 120"/>
                <a:gd name="T117" fmla="*/ 1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61">
                  <a:moveTo>
                    <a:pt x="6" y="17"/>
                  </a:moveTo>
                  <a:cubicBezTo>
                    <a:pt x="4" y="16"/>
                    <a:pt x="4" y="16"/>
                    <a:pt x="2" y="16"/>
                  </a:cubicBezTo>
                  <a:cubicBezTo>
                    <a:pt x="1" y="16"/>
                    <a:pt x="1" y="15"/>
                    <a:pt x="1" y="15"/>
                  </a:cubicBezTo>
                  <a:cubicBezTo>
                    <a:pt x="0" y="15"/>
                    <a:pt x="1" y="14"/>
                    <a:pt x="2" y="14"/>
                  </a:cubicBezTo>
                  <a:cubicBezTo>
                    <a:pt x="2" y="14"/>
                    <a:pt x="5" y="12"/>
                    <a:pt x="5" y="12"/>
                  </a:cubicBezTo>
                  <a:cubicBezTo>
                    <a:pt x="6" y="12"/>
                    <a:pt x="9" y="13"/>
                    <a:pt x="9" y="13"/>
                  </a:cubicBezTo>
                  <a:cubicBezTo>
                    <a:pt x="9" y="13"/>
                    <a:pt x="10" y="13"/>
                    <a:pt x="11" y="13"/>
                  </a:cubicBezTo>
                  <a:cubicBezTo>
                    <a:pt x="11" y="12"/>
                    <a:pt x="12" y="11"/>
                    <a:pt x="12" y="11"/>
                  </a:cubicBezTo>
                  <a:cubicBezTo>
                    <a:pt x="13" y="11"/>
                    <a:pt x="16" y="10"/>
                    <a:pt x="16" y="10"/>
                  </a:cubicBezTo>
                  <a:cubicBezTo>
                    <a:pt x="17" y="11"/>
                    <a:pt x="18" y="11"/>
                    <a:pt x="19" y="11"/>
                  </a:cubicBezTo>
                  <a:cubicBezTo>
                    <a:pt x="20" y="11"/>
                    <a:pt x="20" y="9"/>
                    <a:pt x="20" y="9"/>
                  </a:cubicBezTo>
                  <a:cubicBezTo>
                    <a:pt x="21" y="9"/>
                    <a:pt x="25" y="10"/>
                    <a:pt x="25" y="9"/>
                  </a:cubicBezTo>
                  <a:cubicBezTo>
                    <a:pt x="25" y="9"/>
                    <a:pt x="24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8" y="7"/>
                    <a:pt x="31" y="8"/>
                    <a:pt x="32" y="8"/>
                  </a:cubicBezTo>
                  <a:cubicBezTo>
                    <a:pt x="33" y="9"/>
                    <a:pt x="34" y="10"/>
                    <a:pt x="35" y="10"/>
                  </a:cubicBezTo>
                  <a:cubicBezTo>
                    <a:pt x="36" y="10"/>
                    <a:pt x="38" y="10"/>
                    <a:pt x="38" y="10"/>
                  </a:cubicBezTo>
                  <a:cubicBezTo>
                    <a:pt x="39" y="10"/>
                    <a:pt x="39" y="9"/>
                    <a:pt x="38" y="9"/>
                  </a:cubicBezTo>
                  <a:cubicBezTo>
                    <a:pt x="38" y="9"/>
                    <a:pt x="36" y="8"/>
                    <a:pt x="36" y="7"/>
                  </a:cubicBezTo>
                  <a:cubicBezTo>
                    <a:pt x="37" y="7"/>
                    <a:pt x="38" y="5"/>
                    <a:pt x="38" y="5"/>
                  </a:cubicBezTo>
                  <a:cubicBezTo>
                    <a:pt x="38" y="5"/>
                    <a:pt x="41" y="4"/>
                    <a:pt x="43" y="4"/>
                  </a:cubicBezTo>
                  <a:cubicBezTo>
                    <a:pt x="45" y="3"/>
                    <a:pt x="46" y="5"/>
                    <a:pt x="47" y="5"/>
                  </a:cubicBezTo>
                  <a:cubicBezTo>
                    <a:pt x="48" y="5"/>
                    <a:pt x="46" y="2"/>
                    <a:pt x="47" y="2"/>
                  </a:cubicBezTo>
                  <a:cubicBezTo>
                    <a:pt x="48" y="2"/>
                    <a:pt x="51" y="2"/>
                    <a:pt x="52" y="2"/>
                  </a:cubicBezTo>
                  <a:cubicBezTo>
                    <a:pt x="53" y="3"/>
                    <a:pt x="56" y="3"/>
                    <a:pt x="56" y="3"/>
                  </a:cubicBezTo>
                  <a:cubicBezTo>
                    <a:pt x="57" y="4"/>
                    <a:pt x="59" y="5"/>
                    <a:pt x="60" y="5"/>
                  </a:cubicBezTo>
                  <a:cubicBezTo>
                    <a:pt x="60" y="6"/>
                    <a:pt x="62" y="6"/>
                    <a:pt x="62" y="5"/>
                  </a:cubicBezTo>
                  <a:cubicBezTo>
                    <a:pt x="63" y="5"/>
                    <a:pt x="59" y="2"/>
                    <a:pt x="59" y="1"/>
                  </a:cubicBezTo>
                  <a:cubicBezTo>
                    <a:pt x="59" y="1"/>
                    <a:pt x="64" y="1"/>
                    <a:pt x="65" y="1"/>
                  </a:cubicBezTo>
                  <a:cubicBezTo>
                    <a:pt x="67" y="1"/>
                    <a:pt x="69" y="1"/>
                    <a:pt x="69" y="2"/>
                  </a:cubicBezTo>
                  <a:cubicBezTo>
                    <a:pt x="70" y="2"/>
                    <a:pt x="72" y="3"/>
                    <a:pt x="73" y="3"/>
                  </a:cubicBezTo>
                  <a:cubicBezTo>
                    <a:pt x="74" y="3"/>
                    <a:pt x="73" y="1"/>
                    <a:pt x="73" y="1"/>
                  </a:cubicBezTo>
                  <a:cubicBezTo>
                    <a:pt x="74" y="1"/>
                    <a:pt x="77" y="1"/>
                    <a:pt x="78" y="1"/>
                  </a:cubicBezTo>
                  <a:cubicBezTo>
                    <a:pt x="79" y="1"/>
                    <a:pt x="84" y="0"/>
                    <a:pt x="85" y="1"/>
                  </a:cubicBezTo>
                  <a:cubicBezTo>
                    <a:pt x="86" y="1"/>
                    <a:pt x="94" y="2"/>
                    <a:pt x="95" y="2"/>
                  </a:cubicBezTo>
                  <a:cubicBezTo>
                    <a:pt x="97" y="2"/>
                    <a:pt x="101" y="2"/>
                    <a:pt x="97" y="3"/>
                  </a:cubicBezTo>
                  <a:cubicBezTo>
                    <a:pt x="92" y="5"/>
                    <a:pt x="89" y="5"/>
                    <a:pt x="90" y="6"/>
                  </a:cubicBezTo>
                  <a:cubicBezTo>
                    <a:pt x="91" y="7"/>
                    <a:pt x="95" y="7"/>
                    <a:pt x="97" y="7"/>
                  </a:cubicBezTo>
                  <a:cubicBezTo>
                    <a:pt x="97" y="7"/>
                    <a:pt x="102" y="5"/>
                    <a:pt x="104" y="4"/>
                  </a:cubicBezTo>
                  <a:cubicBezTo>
                    <a:pt x="105" y="3"/>
                    <a:pt x="108" y="3"/>
                    <a:pt x="109" y="3"/>
                  </a:cubicBezTo>
                  <a:cubicBezTo>
                    <a:pt x="110" y="4"/>
                    <a:pt x="111" y="6"/>
                    <a:pt x="112" y="6"/>
                  </a:cubicBezTo>
                  <a:cubicBezTo>
                    <a:pt x="113" y="7"/>
                    <a:pt x="116" y="6"/>
                    <a:pt x="117" y="7"/>
                  </a:cubicBezTo>
                  <a:cubicBezTo>
                    <a:pt x="118" y="8"/>
                    <a:pt x="120" y="8"/>
                    <a:pt x="118" y="10"/>
                  </a:cubicBezTo>
                  <a:cubicBezTo>
                    <a:pt x="117" y="10"/>
                    <a:pt x="110" y="13"/>
                    <a:pt x="108" y="13"/>
                  </a:cubicBezTo>
                  <a:cubicBezTo>
                    <a:pt x="106" y="13"/>
                    <a:pt x="101" y="14"/>
                    <a:pt x="100" y="14"/>
                  </a:cubicBezTo>
                  <a:cubicBezTo>
                    <a:pt x="97" y="14"/>
                    <a:pt x="90" y="17"/>
                    <a:pt x="88" y="17"/>
                  </a:cubicBezTo>
                  <a:cubicBezTo>
                    <a:pt x="85" y="17"/>
                    <a:pt x="85" y="19"/>
                    <a:pt x="86" y="19"/>
                  </a:cubicBezTo>
                  <a:cubicBezTo>
                    <a:pt x="86" y="19"/>
                    <a:pt x="90" y="19"/>
                    <a:pt x="91" y="19"/>
                  </a:cubicBezTo>
                  <a:cubicBezTo>
                    <a:pt x="93" y="19"/>
                    <a:pt x="106" y="16"/>
                    <a:pt x="106" y="16"/>
                  </a:cubicBezTo>
                  <a:cubicBezTo>
                    <a:pt x="106" y="17"/>
                    <a:pt x="100" y="20"/>
                    <a:pt x="97" y="21"/>
                  </a:cubicBezTo>
                  <a:cubicBezTo>
                    <a:pt x="95" y="22"/>
                    <a:pt x="89" y="25"/>
                    <a:pt x="87" y="26"/>
                  </a:cubicBezTo>
                  <a:cubicBezTo>
                    <a:pt x="85" y="27"/>
                    <a:pt x="83" y="30"/>
                    <a:pt x="81" y="31"/>
                  </a:cubicBezTo>
                  <a:cubicBezTo>
                    <a:pt x="80" y="31"/>
                    <a:pt x="75" y="33"/>
                    <a:pt x="73" y="33"/>
                  </a:cubicBezTo>
                  <a:cubicBezTo>
                    <a:pt x="72" y="33"/>
                    <a:pt x="61" y="34"/>
                    <a:pt x="59" y="34"/>
                  </a:cubicBezTo>
                  <a:cubicBezTo>
                    <a:pt x="58" y="34"/>
                    <a:pt x="56" y="35"/>
                    <a:pt x="57" y="35"/>
                  </a:cubicBezTo>
                  <a:cubicBezTo>
                    <a:pt x="58" y="35"/>
                    <a:pt x="65" y="37"/>
                    <a:pt x="66" y="37"/>
                  </a:cubicBezTo>
                  <a:cubicBezTo>
                    <a:pt x="68" y="38"/>
                    <a:pt x="67" y="38"/>
                    <a:pt x="67" y="39"/>
                  </a:cubicBezTo>
                  <a:cubicBezTo>
                    <a:pt x="67" y="40"/>
                    <a:pt x="67" y="42"/>
                    <a:pt x="66" y="44"/>
                  </a:cubicBezTo>
                  <a:cubicBezTo>
                    <a:pt x="64" y="45"/>
                    <a:pt x="62" y="47"/>
                    <a:pt x="62" y="47"/>
                  </a:cubicBezTo>
                  <a:cubicBezTo>
                    <a:pt x="61" y="47"/>
                    <a:pt x="55" y="47"/>
                    <a:pt x="53" y="47"/>
                  </a:cubicBezTo>
                  <a:cubicBezTo>
                    <a:pt x="51" y="47"/>
                    <a:pt x="55" y="50"/>
                    <a:pt x="54" y="50"/>
                  </a:cubicBezTo>
                  <a:cubicBezTo>
                    <a:pt x="53" y="51"/>
                    <a:pt x="46" y="52"/>
                    <a:pt x="44" y="52"/>
                  </a:cubicBezTo>
                  <a:cubicBezTo>
                    <a:pt x="42" y="51"/>
                    <a:pt x="42" y="51"/>
                    <a:pt x="42" y="53"/>
                  </a:cubicBezTo>
                  <a:cubicBezTo>
                    <a:pt x="41" y="54"/>
                    <a:pt x="49" y="54"/>
                    <a:pt x="51" y="55"/>
                  </a:cubicBezTo>
                  <a:cubicBezTo>
                    <a:pt x="52" y="55"/>
                    <a:pt x="53" y="54"/>
                    <a:pt x="54" y="55"/>
                  </a:cubicBezTo>
                  <a:cubicBezTo>
                    <a:pt x="54" y="57"/>
                    <a:pt x="54" y="58"/>
                    <a:pt x="53" y="59"/>
                  </a:cubicBezTo>
                  <a:cubicBezTo>
                    <a:pt x="52" y="59"/>
                    <a:pt x="44" y="61"/>
                    <a:pt x="43" y="61"/>
                  </a:cubicBezTo>
                  <a:cubicBezTo>
                    <a:pt x="42" y="61"/>
                    <a:pt x="45" y="58"/>
                    <a:pt x="42" y="58"/>
                  </a:cubicBezTo>
                  <a:cubicBezTo>
                    <a:pt x="40" y="58"/>
                    <a:pt x="39" y="59"/>
                    <a:pt x="35" y="59"/>
                  </a:cubicBezTo>
                  <a:cubicBezTo>
                    <a:pt x="31" y="59"/>
                    <a:pt x="29" y="58"/>
                    <a:pt x="28" y="58"/>
                  </a:cubicBezTo>
                  <a:cubicBezTo>
                    <a:pt x="27" y="58"/>
                    <a:pt x="31" y="61"/>
                    <a:pt x="27" y="61"/>
                  </a:cubicBezTo>
                  <a:cubicBezTo>
                    <a:pt x="23" y="61"/>
                    <a:pt x="19" y="59"/>
                    <a:pt x="17" y="59"/>
                  </a:cubicBezTo>
                  <a:cubicBezTo>
                    <a:pt x="15" y="59"/>
                    <a:pt x="10" y="59"/>
                    <a:pt x="9" y="58"/>
                  </a:cubicBezTo>
                  <a:cubicBezTo>
                    <a:pt x="8" y="57"/>
                    <a:pt x="8" y="56"/>
                    <a:pt x="10" y="56"/>
                  </a:cubicBezTo>
                  <a:cubicBezTo>
                    <a:pt x="12" y="56"/>
                    <a:pt x="17" y="55"/>
                    <a:pt x="19" y="54"/>
                  </a:cubicBezTo>
                  <a:cubicBezTo>
                    <a:pt x="20" y="53"/>
                    <a:pt x="17" y="53"/>
                    <a:pt x="17" y="52"/>
                  </a:cubicBezTo>
                  <a:cubicBezTo>
                    <a:pt x="16" y="51"/>
                    <a:pt x="14" y="50"/>
                    <a:pt x="15" y="49"/>
                  </a:cubicBezTo>
                  <a:cubicBezTo>
                    <a:pt x="16" y="48"/>
                    <a:pt x="19" y="47"/>
                    <a:pt x="21" y="49"/>
                  </a:cubicBezTo>
                  <a:cubicBezTo>
                    <a:pt x="23" y="50"/>
                    <a:pt x="23" y="52"/>
                    <a:pt x="24" y="52"/>
                  </a:cubicBezTo>
                  <a:cubicBezTo>
                    <a:pt x="26" y="53"/>
                    <a:pt x="29" y="53"/>
                    <a:pt x="31" y="53"/>
                  </a:cubicBezTo>
                  <a:cubicBezTo>
                    <a:pt x="32" y="52"/>
                    <a:pt x="33" y="52"/>
                    <a:pt x="32" y="51"/>
                  </a:cubicBezTo>
                  <a:cubicBezTo>
                    <a:pt x="32" y="50"/>
                    <a:pt x="28" y="51"/>
                    <a:pt x="27" y="50"/>
                  </a:cubicBezTo>
                  <a:cubicBezTo>
                    <a:pt x="26" y="48"/>
                    <a:pt x="25" y="47"/>
                    <a:pt x="26" y="47"/>
                  </a:cubicBezTo>
                  <a:cubicBezTo>
                    <a:pt x="27" y="46"/>
                    <a:pt x="28" y="46"/>
                    <a:pt x="27" y="44"/>
                  </a:cubicBezTo>
                  <a:cubicBezTo>
                    <a:pt x="27" y="43"/>
                    <a:pt x="25" y="45"/>
                    <a:pt x="22" y="45"/>
                  </a:cubicBezTo>
                  <a:cubicBezTo>
                    <a:pt x="19" y="45"/>
                    <a:pt x="18" y="46"/>
                    <a:pt x="18" y="45"/>
                  </a:cubicBezTo>
                  <a:cubicBezTo>
                    <a:pt x="18" y="44"/>
                    <a:pt x="19" y="42"/>
                    <a:pt x="20" y="41"/>
                  </a:cubicBezTo>
                  <a:cubicBezTo>
                    <a:pt x="21" y="41"/>
                    <a:pt x="22" y="40"/>
                    <a:pt x="24" y="40"/>
                  </a:cubicBezTo>
                  <a:cubicBezTo>
                    <a:pt x="26" y="40"/>
                    <a:pt x="31" y="40"/>
                    <a:pt x="33" y="41"/>
                  </a:cubicBezTo>
                  <a:cubicBezTo>
                    <a:pt x="35" y="41"/>
                    <a:pt x="35" y="41"/>
                    <a:pt x="36" y="40"/>
                  </a:cubicBezTo>
                  <a:cubicBezTo>
                    <a:pt x="37" y="38"/>
                    <a:pt x="34" y="38"/>
                    <a:pt x="33" y="38"/>
                  </a:cubicBezTo>
                  <a:cubicBezTo>
                    <a:pt x="31" y="38"/>
                    <a:pt x="30" y="38"/>
                    <a:pt x="30" y="37"/>
                  </a:cubicBezTo>
                  <a:cubicBezTo>
                    <a:pt x="31" y="34"/>
                    <a:pt x="29" y="34"/>
                    <a:pt x="28" y="33"/>
                  </a:cubicBezTo>
                  <a:cubicBezTo>
                    <a:pt x="26" y="32"/>
                    <a:pt x="24" y="31"/>
                    <a:pt x="24" y="31"/>
                  </a:cubicBezTo>
                  <a:cubicBezTo>
                    <a:pt x="23" y="31"/>
                    <a:pt x="22" y="31"/>
                    <a:pt x="22" y="30"/>
                  </a:cubicBezTo>
                  <a:cubicBezTo>
                    <a:pt x="21" y="30"/>
                    <a:pt x="21" y="27"/>
                    <a:pt x="21" y="27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28" y="27"/>
                    <a:pt x="31" y="27"/>
                    <a:pt x="31" y="28"/>
                  </a:cubicBezTo>
                  <a:cubicBezTo>
                    <a:pt x="33" y="29"/>
                    <a:pt x="37" y="30"/>
                    <a:pt x="38" y="31"/>
                  </a:cubicBezTo>
                  <a:cubicBezTo>
                    <a:pt x="38" y="32"/>
                    <a:pt x="39" y="33"/>
                    <a:pt x="40" y="33"/>
                  </a:cubicBezTo>
                  <a:cubicBezTo>
                    <a:pt x="41" y="33"/>
                    <a:pt x="42" y="32"/>
                    <a:pt x="42" y="31"/>
                  </a:cubicBezTo>
                  <a:cubicBezTo>
                    <a:pt x="42" y="31"/>
                    <a:pt x="41" y="30"/>
                    <a:pt x="41" y="30"/>
                  </a:cubicBezTo>
                  <a:cubicBezTo>
                    <a:pt x="41" y="29"/>
                    <a:pt x="36" y="28"/>
                    <a:pt x="36" y="27"/>
                  </a:cubicBezTo>
                  <a:cubicBezTo>
                    <a:pt x="36" y="26"/>
                    <a:pt x="39" y="26"/>
                    <a:pt x="40" y="26"/>
                  </a:cubicBezTo>
                  <a:cubicBezTo>
                    <a:pt x="41" y="26"/>
                    <a:pt x="47" y="25"/>
                    <a:pt x="48" y="25"/>
                  </a:cubicBezTo>
                  <a:cubicBezTo>
                    <a:pt x="49" y="24"/>
                    <a:pt x="51" y="24"/>
                    <a:pt x="51" y="23"/>
                  </a:cubicBezTo>
                  <a:cubicBezTo>
                    <a:pt x="51" y="22"/>
                    <a:pt x="51" y="21"/>
                    <a:pt x="51" y="21"/>
                  </a:cubicBezTo>
                  <a:cubicBezTo>
                    <a:pt x="52" y="20"/>
                    <a:pt x="53" y="19"/>
                    <a:pt x="52" y="19"/>
                  </a:cubicBezTo>
                  <a:cubicBezTo>
                    <a:pt x="52" y="18"/>
                    <a:pt x="49" y="20"/>
                    <a:pt x="48" y="20"/>
                  </a:cubicBezTo>
                  <a:cubicBezTo>
                    <a:pt x="48" y="20"/>
                    <a:pt x="48" y="22"/>
                    <a:pt x="47" y="22"/>
                  </a:cubicBezTo>
                  <a:cubicBezTo>
                    <a:pt x="46" y="22"/>
                    <a:pt x="37" y="24"/>
                    <a:pt x="33" y="24"/>
                  </a:cubicBezTo>
                  <a:cubicBezTo>
                    <a:pt x="29" y="24"/>
                    <a:pt x="22" y="25"/>
                    <a:pt x="20" y="24"/>
                  </a:cubicBezTo>
                  <a:cubicBezTo>
                    <a:pt x="18" y="23"/>
                    <a:pt x="15" y="24"/>
                    <a:pt x="12" y="22"/>
                  </a:cubicBezTo>
                  <a:cubicBezTo>
                    <a:pt x="10" y="20"/>
                    <a:pt x="16" y="21"/>
                    <a:pt x="18" y="21"/>
                  </a:cubicBezTo>
                  <a:cubicBezTo>
                    <a:pt x="21" y="20"/>
                    <a:pt x="24" y="19"/>
                    <a:pt x="25" y="18"/>
                  </a:cubicBezTo>
                  <a:cubicBezTo>
                    <a:pt x="26" y="17"/>
                    <a:pt x="24" y="17"/>
                    <a:pt x="21" y="18"/>
                  </a:cubicBezTo>
                  <a:cubicBezTo>
                    <a:pt x="18" y="18"/>
                    <a:pt x="10" y="19"/>
                    <a:pt x="7" y="18"/>
                  </a:cubicBezTo>
                  <a:cubicBezTo>
                    <a:pt x="4" y="17"/>
                    <a:pt x="8" y="18"/>
                    <a:pt x="6" y="1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3" name="Freeform 650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2181988" y="1558203"/>
              <a:ext cx="56247" cy="33487"/>
            </a:xfrm>
            <a:custGeom>
              <a:avLst/>
              <a:gdLst>
                <a:gd name="T0" fmla="*/ 4 w 9"/>
                <a:gd name="T1" fmla="*/ 5 h 5"/>
                <a:gd name="T2" fmla="*/ 1 w 9"/>
                <a:gd name="T3" fmla="*/ 2 h 5"/>
                <a:gd name="T4" fmla="*/ 3 w 9"/>
                <a:gd name="T5" fmla="*/ 0 h 5"/>
                <a:gd name="T6" fmla="*/ 6 w 9"/>
                <a:gd name="T7" fmla="*/ 0 h 5"/>
                <a:gd name="T8" fmla="*/ 9 w 9"/>
                <a:gd name="T9" fmla="*/ 3 h 5"/>
                <a:gd name="T10" fmla="*/ 4 w 9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cubicBezTo>
                    <a:pt x="3" y="5"/>
                    <a:pt x="1" y="3"/>
                    <a:pt x="1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5" y="0"/>
                    <a:pt x="6" y="0"/>
                  </a:cubicBezTo>
                  <a:cubicBezTo>
                    <a:pt x="7" y="0"/>
                    <a:pt x="9" y="2"/>
                    <a:pt x="9" y="3"/>
                  </a:cubicBezTo>
                  <a:cubicBezTo>
                    <a:pt x="9" y="5"/>
                    <a:pt x="5" y="5"/>
                    <a:pt x="4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4" name="Freeform 650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2153864" y="1618479"/>
              <a:ext cx="318735" cy="107157"/>
            </a:xfrm>
            <a:custGeom>
              <a:avLst/>
              <a:gdLst>
                <a:gd name="T0" fmla="*/ 0 w 53"/>
                <a:gd name="T1" fmla="*/ 2 h 17"/>
                <a:gd name="T2" fmla="*/ 2 w 53"/>
                <a:gd name="T3" fmla="*/ 0 h 17"/>
                <a:gd name="T4" fmla="*/ 7 w 53"/>
                <a:gd name="T5" fmla="*/ 0 h 17"/>
                <a:gd name="T6" fmla="*/ 11 w 53"/>
                <a:gd name="T7" fmla="*/ 3 h 17"/>
                <a:gd name="T8" fmla="*/ 15 w 53"/>
                <a:gd name="T9" fmla="*/ 4 h 17"/>
                <a:gd name="T10" fmla="*/ 11 w 53"/>
                <a:gd name="T11" fmla="*/ 5 h 17"/>
                <a:gd name="T12" fmla="*/ 14 w 53"/>
                <a:gd name="T13" fmla="*/ 7 h 17"/>
                <a:gd name="T14" fmla="*/ 22 w 53"/>
                <a:gd name="T15" fmla="*/ 8 h 17"/>
                <a:gd name="T16" fmla="*/ 27 w 53"/>
                <a:gd name="T17" fmla="*/ 10 h 17"/>
                <a:gd name="T18" fmla="*/ 29 w 53"/>
                <a:gd name="T19" fmla="*/ 8 h 17"/>
                <a:gd name="T20" fmla="*/ 36 w 53"/>
                <a:gd name="T21" fmla="*/ 7 h 17"/>
                <a:gd name="T22" fmla="*/ 44 w 53"/>
                <a:gd name="T23" fmla="*/ 7 h 17"/>
                <a:gd name="T24" fmla="*/ 49 w 53"/>
                <a:gd name="T25" fmla="*/ 7 h 17"/>
                <a:gd name="T26" fmla="*/ 52 w 53"/>
                <a:gd name="T27" fmla="*/ 10 h 17"/>
                <a:gd name="T28" fmla="*/ 50 w 53"/>
                <a:gd name="T29" fmla="*/ 12 h 17"/>
                <a:gd name="T30" fmla="*/ 53 w 53"/>
                <a:gd name="T31" fmla="*/ 13 h 17"/>
                <a:gd name="T32" fmla="*/ 50 w 53"/>
                <a:gd name="T33" fmla="*/ 15 h 17"/>
                <a:gd name="T34" fmla="*/ 43 w 53"/>
                <a:gd name="T35" fmla="*/ 16 h 17"/>
                <a:gd name="T36" fmla="*/ 39 w 53"/>
                <a:gd name="T37" fmla="*/ 15 h 17"/>
                <a:gd name="T38" fmla="*/ 38 w 53"/>
                <a:gd name="T39" fmla="*/ 13 h 17"/>
                <a:gd name="T40" fmla="*/ 34 w 53"/>
                <a:gd name="T41" fmla="*/ 16 h 17"/>
                <a:gd name="T42" fmla="*/ 27 w 53"/>
                <a:gd name="T43" fmla="*/ 16 h 17"/>
                <a:gd name="T44" fmla="*/ 18 w 53"/>
                <a:gd name="T45" fmla="*/ 16 h 17"/>
                <a:gd name="T46" fmla="*/ 17 w 53"/>
                <a:gd name="T47" fmla="*/ 13 h 17"/>
                <a:gd name="T48" fmla="*/ 13 w 53"/>
                <a:gd name="T49" fmla="*/ 16 h 17"/>
                <a:gd name="T50" fmla="*/ 9 w 53"/>
                <a:gd name="T51" fmla="*/ 15 h 17"/>
                <a:gd name="T52" fmla="*/ 4 w 53"/>
                <a:gd name="T53" fmla="*/ 14 h 17"/>
                <a:gd name="T54" fmla="*/ 3 w 53"/>
                <a:gd name="T55" fmla="*/ 11 h 17"/>
                <a:gd name="T56" fmla="*/ 4 w 53"/>
                <a:gd name="T57" fmla="*/ 8 h 17"/>
                <a:gd name="T58" fmla="*/ 2 w 53"/>
                <a:gd name="T59" fmla="*/ 5 h 17"/>
                <a:gd name="T60" fmla="*/ 0 w 53"/>
                <a:gd name="T6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3" h="17">
                  <a:moveTo>
                    <a:pt x="0" y="2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3" y="0"/>
                    <a:pt x="6" y="0"/>
                    <a:pt x="7" y="0"/>
                  </a:cubicBezTo>
                  <a:cubicBezTo>
                    <a:pt x="8" y="0"/>
                    <a:pt x="9" y="3"/>
                    <a:pt x="11" y="3"/>
                  </a:cubicBezTo>
                  <a:cubicBezTo>
                    <a:pt x="13" y="3"/>
                    <a:pt x="15" y="3"/>
                    <a:pt x="15" y="4"/>
                  </a:cubicBezTo>
                  <a:cubicBezTo>
                    <a:pt x="15" y="4"/>
                    <a:pt x="12" y="4"/>
                    <a:pt x="11" y="5"/>
                  </a:cubicBezTo>
                  <a:cubicBezTo>
                    <a:pt x="11" y="5"/>
                    <a:pt x="12" y="7"/>
                    <a:pt x="14" y="7"/>
                  </a:cubicBezTo>
                  <a:cubicBezTo>
                    <a:pt x="16" y="8"/>
                    <a:pt x="21" y="7"/>
                    <a:pt x="22" y="8"/>
                  </a:cubicBezTo>
                  <a:cubicBezTo>
                    <a:pt x="23" y="8"/>
                    <a:pt x="26" y="10"/>
                    <a:pt x="27" y="10"/>
                  </a:cubicBezTo>
                  <a:cubicBezTo>
                    <a:pt x="27" y="10"/>
                    <a:pt x="28" y="8"/>
                    <a:pt x="29" y="8"/>
                  </a:cubicBezTo>
                  <a:cubicBezTo>
                    <a:pt x="30" y="8"/>
                    <a:pt x="35" y="7"/>
                    <a:pt x="36" y="7"/>
                  </a:cubicBezTo>
                  <a:cubicBezTo>
                    <a:pt x="37" y="7"/>
                    <a:pt x="43" y="7"/>
                    <a:pt x="44" y="7"/>
                  </a:cubicBezTo>
                  <a:cubicBezTo>
                    <a:pt x="45" y="7"/>
                    <a:pt x="47" y="7"/>
                    <a:pt x="49" y="7"/>
                  </a:cubicBezTo>
                  <a:cubicBezTo>
                    <a:pt x="50" y="8"/>
                    <a:pt x="53" y="9"/>
                    <a:pt x="52" y="10"/>
                  </a:cubicBezTo>
                  <a:cubicBezTo>
                    <a:pt x="52" y="10"/>
                    <a:pt x="49" y="11"/>
                    <a:pt x="50" y="12"/>
                  </a:cubicBezTo>
                  <a:cubicBezTo>
                    <a:pt x="50" y="13"/>
                    <a:pt x="53" y="13"/>
                    <a:pt x="53" y="13"/>
                  </a:cubicBezTo>
                  <a:cubicBezTo>
                    <a:pt x="53" y="14"/>
                    <a:pt x="50" y="15"/>
                    <a:pt x="50" y="15"/>
                  </a:cubicBezTo>
                  <a:cubicBezTo>
                    <a:pt x="50" y="15"/>
                    <a:pt x="46" y="16"/>
                    <a:pt x="43" y="16"/>
                  </a:cubicBezTo>
                  <a:cubicBezTo>
                    <a:pt x="41" y="16"/>
                    <a:pt x="39" y="15"/>
                    <a:pt x="39" y="15"/>
                  </a:cubicBezTo>
                  <a:cubicBezTo>
                    <a:pt x="39" y="15"/>
                    <a:pt x="39" y="13"/>
                    <a:pt x="38" y="13"/>
                  </a:cubicBezTo>
                  <a:cubicBezTo>
                    <a:pt x="37" y="13"/>
                    <a:pt x="36" y="16"/>
                    <a:pt x="34" y="16"/>
                  </a:cubicBezTo>
                  <a:cubicBezTo>
                    <a:pt x="33" y="16"/>
                    <a:pt x="30" y="17"/>
                    <a:pt x="27" y="16"/>
                  </a:cubicBezTo>
                  <a:cubicBezTo>
                    <a:pt x="23" y="16"/>
                    <a:pt x="19" y="16"/>
                    <a:pt x="18" y="16"/>
                  </a:cubicBezTo>
                  <a:cubicBezTo>
                    <a:pt x="17" y="16"/>
                    <a:pt x="18" y="14"/>
                    <a:pt x="17" y="13"/>
                  </a:cubicBezTo>
                  <a:cubicBezTo>
                    <a:pt x="16" y="13"/>
                    <a:pt x="14" y="16"/>
                    <a:pt x="13" y="16"/>
                  </a:cubicBezTo>
                  <a:cubicBezTo>
                    <a:pt x="12" y="16"/>
                    <a:pt x="10" y="15"/>
                    <a:pt x="9" y="15"/>
                  </a:cubicBezTo>
                  <a:cubicBezTo>
                    <a:pt x="8" y="15"/>
                    <a:pt x="5" y="16"/>
                    <a:pt x="4" y="14"/>
                  </a:cubicBezTo>
                  <a:cubicBezTo>
                    <a:pt x="3" y="13"/>
                    <a:pt x="3" y="12"/>
                    <a:pt x="3" y="11"/>
                  </a:cubicBezTo>
                  <a:cubicBezTo>
                    <a:pt x="3" y="10"/>
                    <a:pt x="4" y="8"/>
                    <a:pt x="4" y="8"/>
                  </a:cubicBezTo>
                  <a:cubicBezTo>
                    <a:pt x="3" y="7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5" name="Freeform 650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2069493" y="1665361"/>
              <a:ext cx="84371" cy="56927"/>
            </a:xfrm>
            <a:custGeom>
              <a:avLst/>
              <a:gdLst>
                <a:gd name="T0" fmla="*/ 0 w 14"/>
                <a:gd name="T1" fmla="*/ 5 h 9"/>
                <a:gd name="T2" fmla="*/ 1 w 14"/>
                <a:gd name="T3" fmla="*/ 2 h 9"/>
                <a:gd name="T4" fmla="*/ 5 w 14"/>
                <a:gd name="T5" fmla="*/ 0 h 9"/>
                <a:gd name="T6" fmla="*/ 10 w 14"/>
                <a:gd name="T7" fmla="*/ 1 h 9"/>
                <a:gd name="T8" fmla="*/ 13 w 14"/>
                <a:gd name="T9" fmla="*/ 5 h 9"/>
                <a:gd name="T10" fmla="*/ 11 w 14"/>
                <a:gd name="T11" fmla="*/ 9 h 9"/>
                <a:gd name="T12" fmla="*/ 5 w 14"/>
                <a:gd name="T13" fmla="*/ 8 h 9"/>
                <a:gd name="T14" fmla="*/ 0 w 14"/>
                <a:gd name="T1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9">
                  <a:moveTo>
                    <a:pt x="0" y="5"/>
                  </a:moveTo>
                  <a:cubicBezTo>
                    <a:pt x="0" y="5"/>
                    <a:pt x="0" y="3"/>
                    <a:pt x="1" y="2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2" y="1"/>
                    <a:pt x="12" y="3"/>
                    <a:pt x="13" y="5"/>
                  </a:cubicBezTo>
                  <a:cubicBezTo>
                    <a:pt x="14" y="6"/>
                    <a:pt x="13" y="9"/>
                    <a:pt x="11" y="9"/>
                  </a:cubicBezTo>
                  <a:cubicBezTo>
                    <a:pt x="9" y="9"/>
                    <a:pt x="7" y="8"/>
                    <a:pt x="5" y="8"/>
                  </a:cubicBezTo>
                  <a:cubicBezTo>
                    <a:pt x="3" y="8"/>
                    <a:pt x="0" y="5"/>
                    <a:pt x="0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6" name="Freeform 651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2060119" y="1350585"/>
              <a:ext cx="278112" cy="190874"/>
            </a:xfrm>
            <a:custGeom>
              <a:avLst/>
              <a:gdLst>
                <a:gd name="T0" fmla="*/ 5 w 46"/>
                <a:gd name="T1" fmla="*/ 17 h 29"/>
                <a:gd name="T2" fmla="*/ 1 w 46"/>
                <a:gd name="T3" fmla="*/ 12 h 29"/>
                <a:gd name="T4" fmla="*/ 3 w 46"/>
                <a:gd name="T5" fmla="*/ 8 h 29"/>
                <a:gd name="T6" fmla="*/ 8 w 46"/>
                <a:gd name="T7" fmla="*/ 8 h 29"/>
                <a:gd name="T8" fmla="*/ 10 w 46"/>
                <a:gd name="T9" fmla="*/ 8 h 29"/>
                <a:gd name="T10" fmla="*/ 9 w 46"/>
                <a:gd name="T11" fmla="*/ 6 h 29"/>
                <a:gd name="T12" fmla="*/ 6 w 46"/>
                <a:gd name="T13" fmla="*/ 4 h 29"/>
                <a:gd name="T14" fmla="*/ 10 w 46"/>
                <a:gd name="T15" fmla="*/ 3 h 29"/>
                <a:gd name="T16" fmla="*/ 14 w 46"/>
                <a:gd name="T17" fmla="*/ 3 h 29"/>
                <a:gd name="T18" fmla="*/ 10 w 46"/>
                <a:gd name="T19" fmla="*/ 1 h 29"/>
                <a:gd name="T20" fmla="*/ 14 w 46"/>
                <a:gd name="T21" fmla="*/ 0 h 29"/>
                <a:gd name="T22" fmla="*/ 20 w 46"/>
                <a:gd name="T23" fmla="*/ 3 h 29"/>
                <a:gd name="T24" fmla="*/ 24 w 46"/>
                <a:gd name="T25" fmla="*/ 8 h 29"/>
                <a:gd name="T26" fmla="*/ 30 w 46"/>
                <a:gd name="T27" fmla="*/ 8 h 29"/>
                <a:gd name="T28" fmla="*/ 30 w 46"/>
                <a:gd name="T29" fmla="*/ 11 h 29"/>
                <a:gd name="T30" fmla="*/ 32 w 46"/>
                <a:gd name="T31" fmla="*/ 11 h 29"/>
                <a:gd name="T32" fmla="*/ 33 w 46"/>
                <a:gd name="T33" fmla="*/ 9 h 29"/>
                <a:gd name="T34" fmla="*/ 36 w 46"/>
                <a:gd name="T35" fmla="*/ 10 h 29"/>
                <a:gd name="T36" fmla="*/ 35 w 46"/>
                <a:gd name="T37" fmla="*/ 12 h 29"/>
                <a:gd name="T38" fmla="*/ 38 w 46"/>
                <a:gd name="T39" fmla="*/ 14 h 29"/>
                <a:gd name="T40" fmla="*/ 36 w 46"/>
                <a:gd name="T41" fmla="*/ 17 h 29"/>
                <a:gd name="T42" fmla="*/ 38 w 46"/>
                <a:gd name="T43" fmla="*/ 18 h 29"/>
                <a:gd name="T44" fmla="*/ 41 w 46"/>
                <a:gd name="T45" fmla="*/ 16 h 29"/>
                <a:gd name="T46" fmla="*/ 44 w 46"/>
                <a:gd name="T47" fmla="*/ 17 h 29"/>
                <a:gd name="T48" fmla="*/ 46 w 46"/>
                <a:gd name="T49" fmla="*/ 19 h 29"/>
                <a:gd name="T50" fmla="*/ 40 w 46"/>
                <a:gd name="T51" fmla="*/ 21 h 29"/>
                <a:gd name="T52" fmla="*/ 35 w 46"/>
                <a:gd name="T53" fmla="*/ 24 h 29"/>
                <a:gd name="T54" fmla="*/ 32 w 46"/>
                <a:gd name="T55" fmla="*/ 28 h 29"/>
                <a:gd name="T56" fmla="*/ 28 w 46"/>
                <a:gd name="T57" fmla="*/ 26 h 29"/>
                <a:gd name="T58" fmla="*/ 26 w 46"/>
                <a:gd name="T59" fmla="*/ 26 h 29"/>
                <a:gd name="T60" fmla="*/ 26 w 46"/>
                <a:gd name="T61" fmla="*/ 27 h 29"/>
                <a:gd name="T62" fmla="*/ 24 w 46"/>
                <a:gd name="T63" fmla="*/ 29 h 29"/>
                <a:gd name="T64" fmla="*/ 18 w 46"/>
                <a:gd name="T65" fmla="*/ 28 h 29"/>
                <a:gd name="T66" fmla="*/ 13 w 46"/>
                <a:gd name="T67" fmla="*/ 24 h 29"/>
                <a:gd name="T68" fmla="*/ 10 w 46"/>
                <a:gd name="T69" fmla="*/ 22 h 29"/>
                <a:gd name="T70" fmla="*/ 14 w 46"/>
                <a:gd name="T71" fmla="*/ 20 h 29"/>
                <a:gd name="T72" fmla="*/ 19 w 46"/>
                <a:gd name="T73" fmla="*/ 20 h 29"/>
                <a:gd name="T74" fmla="*/ 17 w 46"/>
                <a:gd name="T75" fmla="*/ 18 h 29"/>
                <a:gd name="T76" fmla="*/ 14 w 46"/>
                <a:gd name="T77" fmla="*/ 18 h 29"/>
                <a:gd name="T78" fmla="*/ 9 w 46"/>
                <a:gd name="T79" fmla="*/ 19 h 29"/>
                <a:gd name="T80" fmla="*/ 5 w 46"/>
                <a:gd name="T81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29">
                  <a:moveTo>
                    <a:pt x="5" y="17"/>
                  </a:moveTo>
                  <a:cubicBezTo>
                    <a:pt x="4" y="17"/>
                    <a:pt x="0" y="14"/>
                    <a:pt x="1" y="12"/>
                  </a:cubicBezTo>
                  <a:cubicBezTo>
                    <a:pt x="2" y="10"/>
                    <a:pt x="2" y="9"/>
                    <a:pt x="3" y="8"/>
                  </a:cubicBezTo>
                  <a:cubicBezTo>
                    <a:pt x="4" y="8"/>
                    <a:pt x="8" y="8"/>
                    <a:pt x="8" y="8"/>
                  </a:cubicBezTo>
                  <a:cubicBezTo>
                    <a:pt x="9" y="9"/>
                    <a:pt x="10" y="8"/>
                    <a:pt x="10" y="8"/>
                  </a:cubicBezTo>
                  <a:cubicBezTo>
                    <a:pt x="10" y="7"/>
                    <a:pt x="10" y="7"/>
                    <a:pt x="9" y="6"/>
                  </a:cubicBezTo>
                  <a:cubicBezTo>
                    <a:pt x="9" y="6"/>
                    <a:pt x="6" y="5"/>
                    <a:pt x="6" y="4"/>
                  </a:cubicBezTo>
                  <a:cubicBezTo>
                    <a:pt x="7" y="3"/>
                    <a:pt x="10" y="3"/>
                    <a:pt x="10" y="3"/>
                  </a:cubicBezTo>
                  <a:cubicBezTo>
                    <a:pt x="11" y="3"/>
                    <a:pt x="13" y="3"/>
                    <a:pt x="14" y="3"/>
                  </a:cubicBezTo>
                  <a:cubicBezTo>
                    <a:pt x="14" y="3"/>
                    <a:pt x="10" y="1"/>
                    <a:pt x="10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6" y="1"/>
                    <a:pt x="19" y="2"/>
                    <a:pt x="20" y="3"/>
                  </a:cubicBezTo>
                  <a:cubicBezTo>
                    <a:pt x="20" y="3"/>
                    <a:pt x="22" y="8"/>
                    <a:pt x="24" y="8"/>
                  </a:cubicBezTo>
                  <a:cubicBezTo>
                    <a:pt x="26" y="8"/>
                    <a:pt x="29" y="8"/>
                    <a:pt x="30" y="8"/>
                  </a:cubicBezTo>
                  <a:cubicBezTo>
                    <a:pt x="30" y="9"/>
                    <a:pt x="29" y="11"/>
                    <a:pt x="30" y="11"/>
                  </a:cubicBezTo>
                  <a:cubicBezTo>
                    <a:pt x="31" y="12"/>
                    <a:pt x="32" y="12"/>
                    <a:pt x="32" y="11"/>
                  </a:cubicBezTo>
                  <a:cubicBezTo>
                    <a:pt x="33" y="11"/>
                    <a:pt x="32" y="9"/>
                    <a:pt x="33" y="9"/>
                  </a:cubicBezTo>
                  <a:cubicBezTo>
                    <a:pt x="34" y="9"/>
                    <a:pt x="36" y="9"/>
                    <a:pt x="36" y="10"/>
                  </a:cubicBezTo>
                  <a:cubicBezTo>
                    <a:pt x="36" y="11"/>
                    <a:pt x="35" y="12"/>
                    <a:pt x="35" y="12"/>
                  </a:cubicBezTo>
                  <a:cubicBezTo>
                    <a:pt x="35" y="12"/>
                    <a:pt x="38" y="13"/>
                    <a:pt x="38" y="14"/>
                  </a:cubicBezTo>
                  <a:cubicBezTo>
                    <a:pt x="38" y="15"/>
                    <a:pt x="35" y="16"/>
                    <a:pt x="36" y="17"/>
                  </a:cubicBezTo>
                  <a:cubicBezTo>
                    <a:pt x="37" y="17"/>
                    <a:pt x="37" y="18"/>
                    <a:pt x="38" y="18"/>
                  </a:cubicBezTo>
                  <a:cubicBezTo>
                    <a:pt x="39" y="18"/>
                    <a:pt x="40" y="16"/>
                    <a:pt x="41" y="16"/>
                  </a:cubicBezTo>
                  <a:cubicBezTo>
                    <a:pt x="41" y="16"/>
                    <a:pt x="43" y="17"/>
                    <a:pt x="44" y="17"/>
                  </a:cubicBezTo>
                  <a:cubicBezTo>
                    <a:pt x="45" y="18"/>
                    <a:pt x="46" y="18"/>
                    <a:pt x="46" y="19"/>
                  </a:cubicBezTo>
                  <a:cubicBezTo>
                    <a:pt x="46" y="20"/>
                    <a:pt x="41" y="20"/>
                    <a:pt x="40" y="21"/>
                  </a:cubicBezTo>
                  <a:cubicBezTo>
                    <a:pt x="39" y="21"/>
                    <a:pt x="36" y="24"/>
                    <a:pt x="35" y="24"/>
                  </a:cubicBezTo>
                  <a:cubicBezTo>
                    <a:pt x="34" y="24"/>
                    <a:pt x="32" y="28"/>
                    <a:pt x="32" y="28"/>
                  </a:cubicBezTo>
                  <a:cubicBezTo>
                    <a:pt x="31" y="28"/>
                    <a:pt x="29" y="27"/>
                    <a:pt x="28" y="26"/>
                  </a:cubicBezTo>
                  <a:cubicBezTo>
                    <a:pt x="27" y="25"/>
                    <a:pt x="26" y="25"/>
                    <a:pt x="26" y="26"/>
                  </a:cubicBezTo>
                  <a:cubicBezTo>
                    <a:pt x="26" y="26"/>
                    <a:pt x="27" y="27"/>
                    <a:pt x="26" y="27"/>
                  </a:cubicBezTo>
                  <a:cubicBezTo>
                    <a:pt x="26" y="28"/>
                    <a:pt x="26" y="29"/>
                    <a:pt x="24" y="29"/>
                  </a:cubicBezTo>
                  <a:cubicBezTo>
                    <a:pt x="23" y="29"/>
                    <a:pt x="18" y="28"/>
                    <a:pt x="18" y="28"/>
                  </a:cubicBezTo>
                  <a:cubicBezTo>
                    <a:pt x="16" y="27"/>
                    <a:pt x="14" y="25"/>
                    <a:pt x="13" y="24"/>
                  </a:cubicBezTo>
                  <a:cubicBezTo>
                    <a:pt x="12" y="23"/>
                    <a:pt x="11" y="22"/>
                    <a:pt x="10" y="22"/>
                  </a:cubicBezTo>
                  <a:cubicBezTo>
                    <a:pt x="10" y="21"/>
                    <a:pt x="14" y="20"/>
                    <a:pt x="14" y="20"/>
                  </a:cubicBezTo>
                  <a:cubicBezTo>
                    <a:pt x="15" y="20"/>
                    <a:pt x="19" y="21"/>
                    <a:pt x="19" y="20"/>
                  </a:cubicBezTo>
                  <a:cubicBezTo>
                    <a:pt x="19" y="20"/>
                    <a:pt x="17" y="18"/>
                    <a:pt x="17" y="18"/>
                  </a:cubicBezTo>
                  <a:cubicBezTo>
                    <a:pt x="16" y="17"/>
                    <a:pt x="15" y="18"/>
                    <a:pt x="14" y="18"/>
                  </a:cubicBezTo>
                  <a:cubicBezTo>
                    <a:pt x="13" y="18"/>
                    <a:pt x="10" y="19"/>
                    <a:pt x="9" y="19"/>
                  </a:cubicBezTo>
                  <a:cubicBezTo>
                    <a:pt x="7" y="19"/>
                    <a:pt x="6" y="18"/>
                    <a:pt x="5" y="1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7" name="Freeform 651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2053869" y="1584993"/>
              <a:ext cx="84371" cy="50230"/>
            </a:xfrm>
            <a:custGeom>
              <a:avLst/>
              <a:gdLst>
                <a:gd name="T0" fmla="*/ 4 w 14"/>
                <a:gd name="T1" fmla="*/ 6 h 8"/>
                <a:gd name="T2" fmla="*/ 0 w 14"/>
                <a:gd name="T3" fmla="*/ 2 h 8"/>
                <a:gd name="T4" fmla="*/ 6 w 14"/>
                <a:gd name="T5" fmla="*/ 1 h 8"/>
                <a:gd name="T6" fmla="*/ 11 w 14"/>
                <a:gd name="T7" fmla="*/ 2 h 8"/>
                <a:gd name="T8" fmla="*/ 14 w 14"/>
                <a:gd name="T9" fmla="*/ 4 h 8"/>
                <a:gd name="T10" fmla="*/ 11 w 14"/>
                <a:gd name="T11" fmla="*/ 8 h 8"/>
                <a:gd name="T12" fmla="*/ 4 w 14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4" y="6"/>
                  </a:moveTo>
                  <a:cubicBezTo>
                    <a:pt x="3" y="6"/>
                    <a:pt x="0" y="3"/>
                    <a:pt x="0" y="2"/>
                  </a:cubicBezTo>
                  <a:cubicBezTo>
                    <a:pt x="0" y="0"/>
                    <a:pt x="5" y="1"/>
                    <a:pt x="6" y="1"/>
                  </a:cubicBezTo>
                  <a:cubicBezTo>
                    <a:pt x="6" y="1"/>
                    <a:pt x="9" y="2"/>
                    <a:pt x="11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4" y="6"/>
                    <a:pt x="13" y="8"/>
                    <a:pt x="11" y="8"/>
                  </a:cubicBezTo>
                  <a:cubicBezTo>
                    <a:pt x="10" y="8"/>
                    <a:pt x="5" y="6"/>
                    <a:pt x="4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8" name="Freeform 651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2025745" y="1494579"/>
              <a:ext cx="84371" cy="60276"/>
            </a:xfrm>
            <a:custGeom>
              <a:avLst/>
              <a:gdLst>
                <a:gd name="T0" fmla="*/ 0 w 14"/>
                <a:gd name="T1" fmla="*/ 2 h 9"/>
                <a:gd name="T2" fmla="*/ 4 w 14"/>
                <a:gd name="T3" fmla="*/ 0 h 9"/>
                <a:gd name="T4" fmla="*/ 13 w 14"/>
                <a:gd name="T5" fmla="*/ 4 h 9"/>
                <a:gd name="T6" fmla="*/ 13 w 14"/>
                <a:gd name="T7" fmla="*/ 7 h 9"/>
                <a:gd name="T8" fmla="*/ 10 w 14"/>
                <a:gd name="T9" fmla="*/ 9 h 9"/>
                <a:gd name="T10" fmla="*/ 5 w 14"/>
                <a:gd name="T11" fmla="*/ 9 h 9"/>
                <a:gd name="T12" fmla="*/ 0 w 14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9">
                  <a:moveTo>
                    <a:pt x="0" y="2"/>
                  </a:moveTo>
                  <a:cubicBezTo>
                    <a:pt x="0" y="1"/>
                    <a:pt x="3" y="0"/>
                    <a:pt x="4" y="0"/>
                  </a:cubicBezTo>
                  <a:cubicBezTo>
                    <a:pt x="6" y="1"/>
                    <a:pt x="13" y="3"/>
                    <a:pt x="13" y="4"/>
                  </a:cubicBezTo>
                  <a:cubicBezTo>
                    <a:pt x="14" y="5"/>
                    <a:pt x="13" y="7"/>
                    <a:pt x="13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9" y="9"/>
                    <a:pt x="5" y="9"/>
                    <a:pt x="5" y="9"/>
                  </a:cubicBezTo>
                  <a:cubicBezTo>
                    <a:pt x="4" y="8"/>
                    <a:pt x="0" y="3"/>
                    <a:pt x="0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49" name="Freeform 651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1922625" y="1749078"/>
              <a:ext cx="149993" cy="133947"/>
            </a:xfrm>
            <a:custGeom>
              <a:avLst/>
              <a:gdLst>
                <a:gd name="T0" fmla="*/ 2 w 25"/>
                <a:gd name="T1" fmla="*/ 11 h 21"/>
                <a:gd name="T2" fmla="*/ 0 w 25"/>
                <a:gd name="T3" fmla="*/ 10 h 21"/>
                <a:gd name="T4" fmla="*/ 1 w 25"/>
                <a:gd name="T5" fmla="*/ 8 h 21"/>
                <a:gd name="T6" fmla="*/ 6 w 25"/>
                <a:gd name="T7" fmla="*/ 10 h 21"/>
                <a:gd name="T8" fmla="*/ 9 w 25"/>
                <a:gd name="T9" fmla="*/ 10 h 21"/>
                <a:gd name="T10" fmla="*/ 10 w 25"/>
                <a:gd name="T11" fmla="*/ 8 h 21"/>
                <a:gd name="T12" fmla="*/ 9 w 25"/>
                <a:gd name="T13" fmla="*/ 6 h 21"/>
                <a:gd name="T14" fmla="*/ 5 w 25"/>
                <a:gd name="T15" fmla="*/ 4 h 21"/>
                <a:gd name="T16" fmla="*/ 8 w 25"/>
                <a:gd name="T17" fmla="*/ 1 h 21"/>
                <a:gd name="T18" fmla="*/ 14 w 25"/>
                <a:gd name="T19" fmla="*/ 1 h 21"/>
                <a:gd name="T20" fmla="*/ 20 w 25"/>
                <a:gd name="T21" fmla="*/ 0 h 21"/>
                <a:gd name="T22" fmla="*/ 23 w 25"/>
                <a:gd name="T23" fmla="*/ 3 h 21"/>
                <a:gd name="T24" fmla="*/ 21 w 25"/>
                <a:gd name="T25" fmla="*/ 5 h 21"/>
                <a:gd name="T26" fmla="*/ 24 w 25"/>
                <a:gd name="T27" fmla="*/ 8 h 21"/>
                <a:gd name="T28" fmla="*/ 25 w 25"/>
                <a:gd name="T29" fmla="*/ 12 h 21"/>
                <a:gd name="T30" fmla="*/ 24 w 25"/>
                <a:gd name="T31" fmla="*/ 14 h 21"/>
                <a:gd name="T32" fmla="*/ 24 w 25"/>
                <a:gd name="T33" fmla="*/ 17 h 21"/>
                <a:gd name="T34" fmla="*/ 18 w 25"/>
                <a:gd name="T35" fmla="*/ 18 h 21"/>
                <a:gd name="T36" fmla="*/ 18 w 25"/>
                <a:gd name="T37" fmla="*/ 20 h 21"/>
                <a:gd name="T38" fmla="*/ 15 w 25"/>
                <a:gd name="T39" fmla="*/ 20 h 21"/>
                <a:gd name="T40" fmla="*/ 12 w 25"/>
                <a:gd name="T41" fmla="*/ 17 h 21"/>
                <a:gd name="T42" fmla="*/ 10 w 25"/>
                <a:gd name="T43" fmla="*/ 16 h 21"/>
                <a:gd name="T44" fmla="*/ 6 w 25"/>
                <a:gd name="T45" fmla="*/ 13 h 21"/>
                <a:gd name="T46" fmla="*/ 4 w 25"/>
                <a:gd name="T47" fmla="*/ 13 h 21"/>
                <a:gd name="T48" fmla="*/ 2 w 25"/>
                <a:gd name="T4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1">
                  <a:moveTo>
                    <a:pt x="2" y="11"/>
                  </a:moveTo>
                  <a:cubicBezTo>
                    <a:pt x="1" y="11"/>
                    <a:pt x="0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3" y="7"/>
                    <a:pt x="6" y="9"/>
                    <a:pt x="6" y="10"/>
                  </a:cubicBezTo>
                  <a:cubicBezTo>
                    <a:pt x="6" y="10"/>
                    <a:pt x="8" y="10"/>
                    <a:pt x="9" y="10"/>
                  </a:cubicBezTo>
                  <a:cubicBezTo>
                    <a:pt x="9" y="10"/>
                    <a:pt x="10" y="9"/>
                    <a:pt x="10" y="8"/>
                  </a:cubicBezTo>
                  <a:cubicBezTo>
                    <a:pt x="9" y="7"/>
                    <a:pt x="10" y="6"/>
                    <a:pt x="9" y="6"/>
                  </a:cubicBezTo>
                  <a:cubicBezTo>
                    <a:pt x="9" y="6"/>
                    <a:pt x="5" y="5"/>
                    <a:pt x="5" y="4"/>
                  </a:cubicBezTo>
                  <a:cubicBezTo>
                    <a:pt x="5" y="4"/>
                    <a:pt x="7" y="1"/>
                    <a:pt x="8" y="1"/>
                  </a:cubicBezTo>
                  <a:cubicBezTo>
                    <a:pt x="10" y="1"/>
                    <a:pt x="13" y="1"/>
                    <a:pt x="14" y="1"/>
                  </a:cubicBezTo>
                  <a:cubicBezTo>
                    <a:pt x="15" y="1"/>
                    <a:pt x="20" y="0"/>
                    <a:pt x="20" y="0"/>
                  </a:cubicBezTo>
                  <a:cubicBezTo>
                    <a:pt x="21" y="0"/>
                    <a:pt x="22" y="2"/>
                    <a:pt x="23" y="3"/>
                  </a:cubicBezTo>
                  <a:cubicBezTo>
                    <a:pt x="23" y="3"/>
                    <a:pt x="20" y="4"/>
                    <a:pt x="21" y="5"/>
                  </a:cubicBezTo>
                  <a:cubicBezTo>
                    <a:pt x="21" y="6"/>
                    <a:pt x="24" y="7"/>
                    <a:pt x="24" y="8"/>
                  </a:cubicBezTo>
                  <a:cubicBezTo>
                    <a:pt x="24" y="9"/>
                    <a:pt x="25" y="11"/>
                    <a:pt x="25" y="12"/>
                  </a:cubicBezTo>
                  <a:cubicBezTo>
                    <a:pt x="25" y="12"/>
                    <a:pt x="23" y="13"/>
                    <a:pt x="24" y="14"/>
                  </a:cubicBezTo>
                  <a:cubicBezTo>
                    <a:pt x="24" y="14"/>
                    <a:pt x="24" y="16"/>
                    <a:pt x="24" y="17"/>
                  </a:cubicBezTo>
                  <a:cubicBezTo>
                    <a:pt x="24" y="17"/>
                    <a:pt x="19" y="18"/>
                    <a:pt x="18" y="18"/>
                  </a:cubicBezTo>
                  <a:cubicBezTo>
                    <a:pt x="17" y="17"/>
                    <a:pt x="18" y="19"/>
                    <a:pt x="18" y="20"/>
                  </a:cubicBezTo>
                  <a:cubicBezTo>
                    <a:pt x="17" y="20"/>
                    <a:pt x="16" y="21"/>
                    <a:pt x="15" y="20"/>
                  </a:cubicBezTo>
                  <a:cubicBezTo>
                    <a:pt x="13" y="20"/>
                    <a:pt x="13" y="17"/>
                    <a:pt x="12" y="17"/>
                  </a:cubicBezTo>
                  <a:cubicBezTo>
                    <a:pt x="12" y="16"/>
                    <a:pt x="10" y="16"/>
                    <a:pt x="10" y="16"/>
                  </a:cubicBezTo>
                  <a:cubicBezTo>
                    <a:pt x="10" y="15"/>
                    <a:pt x="7" y="13"/>
                    <a:pt x="6" y="13"/>
                  </a:cubicBezTo>
                  <a:cubicBezTo>
                    <a:pt x="5" y="14"/>
                    <a:pt x="5" y="14"/>
                    <a:pt x="4" y="13"/>
                  </a:cubicBezTo>
                  <a:cubicBezTo>
                    <a:pt x="3" y="13"/>
                    <a:pt x="3" y="12"/>
                    <a:pt x="2" y="1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0" name="Freeform 651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1882002" y="1611782"/>
              <a:ext cx="168742" cy="90414"/>
            </a:xfrm>
            <a:custGeom>
              <a:avLst/>
              <a:gdLst>
                <a:gd name="T0" fmla="*/ 0 w 28"/>
                <a:gd name="T1" fmla="*/ 4 h 14"/>
                <a:gd name="T2" fmla="*/ 0 w 28"/>
                <a:gd name="T3" fmla="*/ 1 h 14"/>
                <a:gd name="T4" fmla="*/ 6 w 28"/>
                <a:gd name="T5" fmla="*/ 2 h 14"/>
                <a:gd name="T6" fmla="*/ 9 w 28"/>
                <a:gd name="T7" fmla="*/ 6 h 14"/>
                <a:gd name="T8" fmla="*/ 12 w 28"/>
                <a:gd name="T9" fmla="*/ 7 h 14"/>
                <a:gd name="T10" fmla="*/ 11 w 28"/>
                <a:gd name="T11" fmla="*/ 3 h 14"/>
                <a:gd name="T12" fmla="*/ 13 w 28"/>
                <a:gd name="T13" fmla="*/ 3 h 14"/>
                <a:gd name="T14" fmla="*/ 18 w 28"/>
                <a:gd name="T15" fmla="*/ 7 h 14"/>
                <a:gd name="T16" fmla="*/ 18 w 28"/>
                <a:gd name="T17" fmla="*/ 4 h 14"/>
                <a:gd name="T18" fmla="*/ 15 w 28"/>
                <a:gd name="T19" fmla="*/ 1 h 14"/>
                <a:gd name="T20" fmla="*/ 18 w 28"/>
                <a:gd name="T21" fmla="*/ 0 h 14"/>
                <a:gd name="T22" fmla="*/ 23 w 28"/>
                <a:gd name="T23" fmla="*/ 1 h 14"/>
                <a:gd name="T24" fmla="*/ 27 w 28"/>
                <a:gd name="T25" fmla="*/ 3 h 14"/>
                <a:gd name="T26" fmla="*/ 27 w 28"/>
                <a:gd name="T27" fmla="*/ 7 h 14"/>
                <a:gd name="T28" fmla="*/ 28 w 28"/>
                <a:gd name="T29" fmla="*/ 9 h 14"/>
                <a:gd name="T30" fmla="*/ 28 w 28"/>
                <a:gd name="T31" fmla="*/ 11 h 14"/>
                <a:gd name="T32" fmla="*/ 25 w 28"/>
                <a:gd name="T33" fmla="*/ 11 h 14"/>
                <a:gd name="T34" fmla="*/ 26 w 28"/>
                <a:gd name="T35" fmla="*/ 13 h 14"/>
                <a:gd name="T36" fmla="*/ 17 w 28"/>
                <a:gd name="T37" fmla="*/ 14 h 14"/>
                <a:gd name="T38" fmla="*/ 16 w 28"/>
                <a:gd name="T39" fmla="*/ 11 h 14"/>
                <a:gd name="T40" fmla="*/ 18 w 28"/>
                <a:gd name="T41" fmla="*/ 9 h 14"/>
                <a:gd name="T42" fmla="*/ 12 w 28"/>
                <a:gd name="T43" fmla="*/ 10 h 14"/>
                <a:gd name="T44" fmla="*/ 8 w 28"/>
                <a:gd name="T45" fmla="*/ 10 h 14"/>
                <a:gd name="T46" fmla="*/ 7 w 28"/>
                <a:gd name="T47" fmla="*/ 8 h 14"/>
                <a:gd name="T48" fmla="*/ 2 w 28"/>
                <a:gd name="T49" fmla="*/ 7 h 14"/>
                <a:gd name="T50" fmla="*/ 2 w 28"/>
                <a:gd name="T51" fmla="*/ 5 h 14"/>
                <a:gd name="T52" fmla="*/ 0 w 28"/>
                <a:gd name="T53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" h="14">
                  <a:moveTo>
                    <a:pt x="0" y="4"/>
                  </a:moveTo>
                  <a:cubicBezTo>
                    <a:pt x="0" y="3"/>
                    <a:pt x="0" y="1"/>
                    <a:pt x="0" y="1"/>
                  </a:cubicBezTo>
                  <a:cubicBezTo>
                    <a:pt x="1" y="1"/>
                    <a:pt x="5" y="1"/>
                    <a:pt x="6" y="2"/>
                  </a:cubicBezTo>
                  <a:cubicBezTo>
                    <a:pt x="6" y="3"/>
                    <a:pt x="8" y="5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7"/>
                    <a:pt x="10" y="3"/>
                    <a:pt x="11" y="3"/>
                  </a:cubicBezTo>
                  <a:cubicBezTo>
                    <a:pt x="11" y="2"/>
                    <a:pt x="13" y="3"/>
                    <a:pt x="13" y="3"/>
                  </a:cubicBezTo>
                  <a:cubicBezTo>
                    <a:pt x="14" y="4"/>
                    <a:pt x="18" y="7"/>
                    <a:pt x="18" y="7"/>
                  </a:cubicBezTo>
                  <a:cubicBezTo>
                    <a:pt x="19" y="7"/>
                    <a:pt x="19" y="5"/>
                    <a:pt x="18" y="4"/>
                  </a:cubicBezTo>
                  <a:cubicBezTo>
                    <a:pt x="18" y="3"/>
                    <a:pt x="15" y="2"/>
                    <a:pt x="15" y="1"/>
                  </a:cubicBezTo>
                  <a:cubicBezTo>
                    <a:pt x="16" y="0"/>
                    <a:pt x="18" y="0"/>
                    <a:pt x="18" y="0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24" y="1"/>
                    <a:pt x="26" y="2"/>
                    <a:pt x="27" y="3"/>
                  </a:cubicBezTo>
                  <a:cubicBezTo>
                    <a:pt x="27" y="4"/>
                    <a:pt x="27" y="7"/>
                    <a:pt x="27" y="7"/>
                  </a:cubicBezTo>
                  <a:cubicBezTo>
                    <a:pt x="26" y="8"/>
                    <a:pt x="28" y="8"/>
                    <a:pt x="28" y="9"/>
                  </a:cubicBezTo>
                  <a:cubicBezTo>
                    <a:pt x="28" y="9"/>
                    <a:pt x="28" y="11"/>
                    <a:pt x="28" y="11"/>
                  </a:cubicBezTo>
                  <a:cubicBezTo>
                    <a:pt x="27" y="11"/>
                    <a:pt x="25" y="10"/>
                    <a:pt x="25" y="11"/>
                  </a:cubicBezTo>
                  <a:cubicBezTo>
                    <a:pt x="25" y="12"/>
                    <a:pt x="26" y="13"/>
                    <a:pt x="26" y="13"/>
                  </a:cubicBezTo>
                  <a:cubicBezTo>
                    <a:pt x="25" y="14"/>
                    <a:pt x="18" y="14"/>
                    <a:pt x="17" y="14"/>
                  </a:cubicBezTo>
                  <a:cubicBezTo>
                    <a:pt x="16" y="13"/>
                    <a:pt x="15" y="11"/>
                    <a:pt x="16" y="11"/>
                  </a:cubicBezTo>
                  <a:cubicBezTo>
                    <a:pt x="16" y="11"/>
                    <a:pt x="19" y="9"/>
                    <a:pt x="18" y="9"/>
                  </a:cubicBezTo>
                  <a:cubicBezTo>
                    <a:pt x="16" y="8"/>
                    <a:pt x="13" y="10"/>
                    <a:pt x="12" y="10"/>
                  </a:cubicBezTo>
                  <a:cubicBezTo>
                    <a:pt x="11" y="10"/>
                    <a:pt x="8" y="10"/>
                    <a:pt x="8" y="10"/>
                  </a:cubicBezTo>
                  <a:cubicBezTo>
                    <a:pt x="7" y="9"/>
                    <a:pt x="8" y="8"/>
                    <a:pt x="7" y="8"/>
                  </a:cubicBezTo>
                  <a:cubicBezTo>
                    <a:pt x="6" y="7"/>
                    <a:pt x="3" y="7"/>
                    <a:pt x="2" y="7"/>
                  </a:cubicBezTo>
                  <a:cubicBezTo>
                    <a:pt x="2" y="6"/>
                    <a:pt x="3" y="5"/>
                    <a:pt x="2" y="5"/>
                  </a:cubicBezTo>
                  <a:cubicBezTo>
                    <a:pt x="2" y="4"/>
                    <a:pt x="0" y="4"/>
                    <a:pt x="0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1" name="Freeform 651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1850754" y="1467789"/>
              <a:ext cx="162492" cy="90414"/>
            </a:xfrm>
            <a:custGeom>
              <a:avLst/>
              <a:gdLst>
                <a:gd name="T0" fmla="*/ 4 w 27"/>
                <a:gd name="T1" fmla="*/ 5 h 14"/>
                <a:gd name="T2" fmla="*/ 1 w 27"/>
                <a:gd name="T3" fmla="*/ 3 h 14"/>
                <a:gd name="T4" fmla="*/ 2 w 27"/>
                <a:gd name="T5" fmla="*/ 0 h 14"/>
                <a:gd name="T6" fmla="*/ 6 w 27"/>
                <a:gd name="T7" fmla="*/ 0 h 14"/>
                <a:gd name="T8" fmla="*/ 11 w 27"/>
                <a:gd name="T9" fmla="*/ 1 h 14"/>
                <a:gd name="T10" fmla="*/ 13 w 27"/>
                <a:gd name="T11" fmla="*/ 4 h 14"/>
                <a:gd name="T12" fmla="*/ 15 w 27"/>
                <a:gd name="T13" fmla="*/ 3 h 14"/>
                <a:gd name="T14" fmla="*/ 19 w 27"/>
                <a:gd name="T15" fmla="*/ 4 h 14"/>
                <a:gd name="T16" fmla="*/ 24 w 27"/>
                <a:gd name="T17" fmla="*/ 7 h 14"/>
                <a:gd name="T18" fmla="*/ 24 w 27"/>
                <a:gd name="T19" fmla="*/ 9 h 14"/>
                <a:gd name="T20" fmla="*/ 27 w 27"/>
                <a:gd name="T21" fmla="*/ 11 h 14"/>
                <a:gd name="T22" fmla="*/ 26 w 27"/>
                <a:gd name="T23" fmla="*/ 14 h 14"/>
                <a:gd name="T24" fmla="*/ 22 w 27"/>
                <a:gd name="T25" fmla="*/ 14 h 14"/>
                <a:gd name="T26" fmla="*/ 20 w 27"/>
                <a:gd name="T27" fmla="*/ 13 h 14"/>
                <a:gd name="T28" fmla="*/ 18 w 27"/>
                <a:gd name="T29" fmla="*/ 11 h 14"/>
                <a:gd name="T30" fmla="*/ 13 w 27"/>
                <a:gd name="T31" fmla="*/ 10 h 14"/>
                <a:gd name="T32" fmla="*/ 7 w 27"/>
                <a:gd name="T33" fmla="*/ 10 h 14"/>
                <a:gd name="T34" fmla="*/ 3 w 27"/>
                <a:gd name="T35" fmla="*/ 8 h 14"/>
                <a:gd name="T36" fmla="*/ 9 w 27"/>
                <a:gd name="T37" fmla="*/ 7 h 14"/>
                <a:gd name="T38" fmla="*/ 8 w 27"/>
                <a:gd name="T39" fmla="*/ 5 h 14"/>
                <a:gd name="T40" fmla="*/ 4 w 27"/>
                <a:gd name="T4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14">
                  <a:moveTo>
                    <a:pt x="4" y="5"/>
                  </a:moveTo>
                  <a:cubicBezTo>
                    <a:pt x="4" y="5"/>
                    <a:pt x="1" y="4"/>
                    <a:pt x="1" y="3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9" y="0"/>
                    <a:pt x="11" y="0"/>
                    <a:pt x="11" y="1"/>
                  </a:cubicBezTo>
                  <a:cubicBezTo>
                    <a:pt x="12" y="1"/>
                    <a:pt x="13" y="4"/>
                    <a:pt x="13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7" y="3"/>
                    <a:pt x="18" y="4"/>
                    <a:pt x="19" y="4"/>
                  </a:cubicBezTo>
                  <a:cubicBezTo>
                    <a:pt x="20" y="4"/>
                    <a:pt x="23" y="7"/>
                    <a:pt x="24" y="7"/>
                  </a:cubicBezTo>
                  <a:cubicBezTo>
                    <a:pt x="25" y="7"/>
                    <a:pt x="23" y="9"/>
                    <a:pt x="24" y="9"/>
                  </a:cubicBezTo>
                  <a:cubicBezTo>
                    <a:pt x="24" y="10"/>
                    <a:pt x="27" y="11"/>
                    <a:pt x="27" y="11"/>
                  </a:cubicBezTo>
                  <a:cubicBezTo>
                    <a:pt x="27" y="12"/>
                    <a:pt x="27" y="13"/>
                    <a:pt x="26" y="14"/>
                  </a:cubicBezTo>
                  <a:cubicBezTo>
                    <a:pt x="25" y="14"/>
                    <a:pt x="23" y="14"/>
                    <a:pt x="22" y="14"/>
                  </a:cubicBezTo>
                  <a:cubicBezTo>
                    <a:pt x="21" y="14"/>
                    <a:pt x="20" y="13"/>
                    <a:pt x="20" y="13"/>
                  </a:cubicBezTo>
                  <a:cubicBezTo>
                    <a:pt x="19" y="12"/>
                    <a:pt x="20" y="11"/>
                    <a:pt x="18" y="11"/>
                  </a:cubicBezTo>
                  <a:cubicBezTo>
                    <a:pt x="17" y="10"/>
                    <a:pt x="14" y="10"/>
                    <a:pt x="13" y="10"/>
                  </a:cubicBezTo>
                  <a:cubicBezTo>
                    <a:pt x="13" y="10"/>
                    <a:pt x="8" y="11"/>
                    <a:pt x="7" y="10"/>
                  </a:cubicBezTo>
                  <a:cubicBezTo>
                    <a:pt x="4" y="9"/>
                    <a:pt x="2" y="8"/>
                    <a:pt x="3" y="8"/>
                  </a:cubicBezTo>
                  <a:cubicBezTo>
                    <a:pt x="4" y="7"/>
                    <a:pt x="8" y="7"/>
                    <a:pt x="9" y="7"/>
                  </a:cubicBezTo>
                  <a:cubicBezTo>
                    <a:pt x="10" y="7"/>
                    <a:pt x="9" y="5"/>
                    <a:pt x="8" y="5"/>
                  </a:cubicBezTo>
                  <a:cubicBezTo>
                    <a:pt x="7" y="4"/>
                    <a:pt x="5" y="5"/>
                    <a:pt x="4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2" name="Freeform 651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1838254" y="1554855"/>
              <a:ext cx="53122" cy="43533"/>
            </a:xfrm>
            <a:custGeom>
              <a:avLst/>
              <a:gdLst>
                <a:gd name="T0" fmla="*/ 3 w 9"/>
                <a:gd name="T1" fmla="*/ 6 h 7"/>
                <a:gd name="T2" fmla="*/ 1 w 9"/>
                <a:gd name="T3" fmla="*/ 1 h 7"/>
                <a:gd name="T4" fmla="*/ 4 w 9"/>
                <a:gd name="T5" fmla="*/ 1 h 7"/>
                <a:gd name="T6" fmla="*/ 6 w 9"/>
                <a:gd name="T7" fmla="*/ 3 h 7"/>
                <a:gd name="T8" fmla="*/ 8 w 9"/>
                <a:gd name="T9" fmla="*/ 6 h 7"/>
                <a:gd name="T10" fmla="*/ 3 w 9"/>
                <a:gd name="T1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7">
                  <a:moveTo>
                    <a:pt x="3" y="6"/>
                  </a:moveTo>
                  <a:cubicBezTo>
                    <a:pt x="2" y="5"/>
                    <a:pt x="0" y="2"/>
                    <a:pt x="1" y="1"/>
                  </a:cubicBezTo>
                  <a:cubicBezTo>
                    <a:pt x="1" y="0"/>
                    <a:pt x="3" y="1"/>
                    <a:pt x="4" y="1"/>
                  </a:cubicBezTo>
                  <a:cubicBezTo>
                    <a:pt x="5" y="2"/>
                    <a:pt x="6" y="3"/>
                    <a:pt x="6" y="3"/>
                  </a:cubicBezTo>
                  <a:cubicBezTo>
                    <a:pt x="6" y="4"/>
                    <a:pt x="9" y="5"/>
                    <a:pt x="8" y="6"/>
                  </a:cubicBezTo>
                  <a:cubicBezTo>
                    <a:pt x="8" y="6"/>
                    <a:pt x="5" y="7"/>
                    <a:pt x="3" y="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3" name="Freeform 6517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1685137" y="1541459"/>
              <a:ext cx="71872" cy="36835"/>
            </a:xfrm>
            <a:custGeom>
              <a:avLst/>
              <a:gdLst>
                <a:gd name="T0" fmla="*/ 0 w 12"/>
                <a:gd name="T1" fmla="*/ 3 h 6"/>
                <a:gd name="T2" fmla="*/ 2 w 12"/>
                <a:gd name="T3" fmla="*/ 1 h 6"/>
                <a:gd name="T4" fmla="*/ 9 w 12"/>
                <a:gd name="T5" fmla="*/ 0 h 6"/>
                <a:gd name="T6" fmla="*/ 12 w 12"/>
                <a:gd name="T7" fmla="*/ 1 h 6"/>
                <a:gd name="T8" fmla="*/ 7 w 12"/>
                <a:gd name="T9" fmla="*/ 3 h 6"/>
                <a:gd name="T10" fmla="*/ 11 w 12"/>
                <a:gd name="T11" fmla="*/ 4 h 6"/>
                <a:gd name="T12" fmla="*/ 9 w 12"/>
                <a:gd name="T13" fmla="*/ 5 h 6"/>
                <a:gd name="T14" fmla="*/ 3 w 12"/>
                <a:gd name="T15" fmla="*/ 6 h 6"/>
                <a:gd name="T16" fmla="*/ 0 w 12"/>
                <a:gd name="T17" fmla="*/ 5 h 6"/>
                <a:gd name="T18" fmla="*/ 0 w 12"/>
                <a:gd name="T1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6">
                  <a:moveTo>
                    <a:pt x="0" y="3"/>
                  </a:moveTo>
                  <a:cubicBezTo>
                    <a:pt x="0" y="2"/>
                    <a:pt x="1" y="1"/>
                    <a:pt x="2" y="1"/>
                  </a:cubicBezTo>
                  <a:cubicBezTo>
                    <a:pt x="2" y="1"/>
                    <a:pt x="7" y="0"/>
                    <a:pt x="9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2"/>
                    <a:pt x="7" y="2"/>
                    <a:pt x="7" y="3"/>
                  </a:cubicBezTo>
                  <a:cubicBezTo>
                    <a:pt x="8" y="4"/>
                    <a:pt x="11" y="3"/>
                    <a:pt x="11" y="4"/>
                  </a:cubicBezTo>
                  <a:cubicBezTo>
                    <a:pt x="11" y="4"/>
                    <a:pt x="11" y="5"/>
                    <a:pt x="9" y="5"/>
                  </a:cubicBezTo>
                  <a:cubicBezTo>
                    <a:pt x="8" y="6"/>
                    <a:pt x="4" y="6"/>
                    <a:pt x="3" y="6"/>
                  </a:cubicBezTo>
                  <a:cubicBezTo>
                    <a:pt x="2" y="6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4" name="Freeform 651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1669512" y="1494579"/>
              <a:ext cx="103120" cy="33487"/>
            </a:xfrm>
            <a:custGeom>
              <a:avLst/>
              <a:gdLst>
                <a:gd name="T0" fmla="*/ 1 w 17"/>
                <a:gd name="T1" fmla="*/ 3 h 5"/>
                <a:gd name="T2" fmla="*/ 9 w 17"/>
                <a:gd name="T3" fmla="*/ 1 h 5"/>
                <a:gd name="T4" fmla="*/ 14 w 17"/>
                <a:gd name="T5" fmla="*/ 1 h 5"/>
                <a:gd name="T6" fmla="*/ 17 w 17"/>
                <a:gd name="T7" fmla="*/ 3 h 5"/>
                <a:gd name="T8" fmla="*/ 16 w 17"/>
                <a:gd name="T9" fmla="*/ 4 h 5"/>
                <a:gd name="T10" fmla="*/ 10 w 17"/>
                <a:gd name="T11" fmla="*/ 4 h 5"/>
                <a:gd name="T12" fmla="*/ 5 w 17"/>
                <a:gd name="T13" fmla="*/ 5 h 5"/>
                <a:gd name="T14" fmla="*/ 1 w 17"/>
                <a:gd name="T15" fmla="*/ 5 h 5"/>
                <a:gd name="T16" fmla="*/ 1 w 17"/>
                <a:gd name="T1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">
                  <a:moveTo>
                    <a:pt x="1" y="3"/>
                  </a:moveTo>
                  <a:cubicBezTo>
                    <a:pt x="2" y="2"/>
                    <a:pt x="8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5" y="1"/>
                    <a:pt x="17" y="2"/>
                    <a:pt x="17" y="3"/>
                  </a:cubicBezTo>
                  <a:cubicBezTo>
                    <a:pt x="17" y="3"/>
                    <a:pt x="17" y="4"/>
                    <a:pt x="16" y="4"/>
                  </a:cubicBezTo>
                  <a:cubicBezTo>
                    <a:pt x="15" y="4"/>
                    <a:pt x="11" y="4"/>
                    <a:pt x="10" y="4"/>
                  </a:cubicBezTo>
                  <a:cubicBezTo>
                    <a:pt x="9" y="4"/>
                    <a:pt x="7" y="4"/>
                    <a:pt x="5" y="5"/>
                  </a:cubicBezTo>
                  <a:cubicBezTo>
                    <a:pt x="4" y="5"/>
                    <a:pt x="2" y="5"/>
                    <a:pt x="1" y="5"/>
                  </a:cubicBezTo>
                  <a:cubicBezTo>
                    <a:pt x="0" y="4"/>
                    <a:pt x="1" y="3"/>
                    <a:pt x="1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5" name="Freeform 651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1632014" y="1541459"/>
              <a:ext cx="37498" cy="23441"/>
            </a:xfrm>
            <a:custGeom>
              <a:avLst/>
              <a:gdLst>
                <a:gd name="T0" fmla="*/ 0 w 6"/>
                <a:gd name="T1" fmla="*/ 1 h 4"/>
                <a:gd name="T2" fmla="*/ 3 w 6"/>
                <a:gd name="T3" fmla="*/ 0 h 4"/>
                <a:gd name="T4" fmla="*/ 6 w 6"/>
                <a:gd name="T5" fmla="*/ 2 h 4"/>
                <a:gd name="T6" fmla="*/ 3 w 6"/>
                <a:gd name="T7" fmla="*/ 3 h 4"/>
                <a:gd name="T8" fmla="*/ 1 w 6"/>
                <a:gd name="T9" fmla="*/ 3 h 4"/>
                <a:gd name="T10" fmla="*/ 0 w 6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0" y="1"/>
                  </a:moveTo>
                  <a:cubicBezTo>
                    <a:pt x="0" y="1"/>
                    <a:pt x="3" y="0"/>
                    <a:pt x="3" y="0"/>
                  </a:cubicBezTo>
                  <a:cubicBezTo>
                    <a:pt x="4" y="0"/>
                    <a:pt x="6" y="2"/>
                    <a:pt x="6" y="2"/>
                  </a:cubicBezTo>
                  <a:cubicBezTo>
                    <a:pt x="6" y="3"/>
                    <a:pt x="4" y="4"/>
                    <a:pt x="3" y="3"/>
                  </a:cubicBezTo>
                  <a:cubicBezTo>
                    <a:pt x="3" y="3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6" name="Freeform 652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1575767" y="1605085"/>
              <a:ext cx="284361" cy="133947"/>
            </a:xfrm>
            <a:custGeom>
              <a:avLst/>
              <a:gdLst>
                <a:gd name="T0" fmla="*/ 0 w 47"/>
                <a:gd name="T1" fmla="*/ 13 h 21"/>
                <a:gd name="T2" fmla="*/ 3 w 47"/>
                <a:gd name="T3" fmla="*/ 10 h 21"/>
                <a:gd name="T4" fmla="*/ 5 w 47"/>
                <a:gd name="T5" fmla="*/ 6 h 21"/>
                <a:gd name="T6" fmla="*/ 9 w 47"/>
                <a:gd name="T7" fmla="*/ 3 h 21"/>
                <a:gd name="T8" fmla="*/ 12 w 47"/>
                <a:gd name="T9" fmla="*/ 3 h 21"/>
                <a:gd name="T10" fmla="*/ 14 w 47"/>
                <a:gd name="T11" fmla="*/ 6 h 21"/>
                <a:gd name="T12" fmla="*/ 18 w 47"/>
                <a:gd name="T13" fmla="*/ 5 h 21"/>
                <a:gd name="T14" fmla="*/ 23 w 47"/>
                <a:gd name="T15" fmla="*/ 9 h 21"/>
                <a:gd name="T16" fmla="*/ 24 w 47"/>
                <a:gd name="T17" fmla="*/ 11 h 21"/>
                <a:gd name="T18" fmla="*/ 33 w 47"/>
                <a:gd name="T19" fmla="*/ 11 h 21"/>
                <a:gd name="T20" fmla="*/ 33 w 47"/>
                <a:gd name="T21" fmla="*/ 9 h 21"/>
                <a:gd name="T22" fmla="*/ 30 w 47"/>
                <a:gd name="T23" fmla="*/ 8 h 21"/>
                <a:gd name="T24" fmla="*/ 31 w 47"/>
                <a:gd name="T25" fmla="*/ 6 h 21"/>
                <a:gd name="T26" fmla="*/ 27 w 47"/>
                <a:gd name="T27" fmla="*/ 4 h 21"/>
                <a:gd name="T28" fmla="*/ 32 w 47"/>
                <a:gd name="T29" fmla="*/ 1 h 21"/>
                <a:gd name="T30" fmla="*/ 34 w 47"/>
                <a:gd name="T31" fmla="*/ 0 h 21"/>
                <a:gd name="T32" fmla="*/ 35 w 47"/>
                <a:gd name="T33" fmla="*/ 3 h 21"/>
                <a:gd name="T34" fmla="*/ 36 w 47"/>
                <a:gd name="T35" fmla="*/ 5 h 21"/>
                <a:gd name="T36" fmla="*/ 36 w 47"/>
                <a:gd name="T37" fmla="*/ 7 h 21"/>
                <a:gd name="T38" fmla="*/ 40 w 47"/>
                <a:gd name="T39" fmla="*/ 8 h 21"/>
                <a:gd name="T40" fmla="*/ 41 w 47"/>
                <a:gd name="T41" fmla="*/ 6 h 21"/>
                <a:gd name="T42" fmla="*/ 45 w 47"/>
                <a:gd name="T43" fmla="*/ 7 h 21"/>
                <a:gd name="T44" fmla="*/ 46 w 47"/>
                <a:gd name="T45" fmla="*/ 11 h 21"/>
                <a:gd name="T46" fmla="*/ 43 w 47"/>
                <a:gd name="T47" fmla="*/ 15 h 21"/>
                <a:gd name="T48" fmla="*/ 33 w 47"/>
                <a:gd name="T49" fmla="*/ 15 h 21"/>
                <a:gd name="T50" fmla="*/ 24 w 47"/>
                <a:gd name="T51" fmla="*/ 18 h 21"/>
                <a:gd name="T52" fmla="*/ 16 w 47"/>
                <a:gd name="T53" fmla="*/ 20 h 21"/>
                <a:gd name="T54" fmla="*/ 12 w 47"/>
                <a:gd name="T55" fmla="*/ 17 h 21"/>
                <a:gd name="T56" fmla="*/ 17 w 47"/>
                <a:gd name="T57" fmla="*/ 16 h 21"/>
                <a:gd name="T58" fmla="*/ 23 w 47"/>
                <a:gd name="T59" fmla="*/ 15 h 21"/>
                <a:gd name="T60" fmla="*/ 25 w 47"/>
                <a:gd name="T61" fmla="*/ 13 h 21"/>
                <a:gd name="T62" fmla="*/ 20 w 47"/>
                <a:gd name="T63" fmla="*/ 13 h 21"/>
                <a:gd name="T64" fmla="*/ 14 w 47"/>
                <a:gd name="T65" fmla="*/ 13 h 21"/>
                <a:gd name="T66" fmla="*/ 14 w 47"/>
                <a:gd name="T67" fmla="*/ 11 h 21"/>
                <a:gd name="T68" fmla="*/ 12 w 47"/>
                <a:gd name="T69" fmla="*/ 11 h 21"/>
                <a:gd name="T70" fmla="*/ 11 w 47"/>
                <a:gd name="T71" fmla="*/ 14 h 21"/>
                <a:gd name="T72" fmla="*/ 7 w 47"/>
                <a:gd name="T73" fmla="*/ 15 h 21"/>
                <a:gd name="T74" fmla="*/ 6 w 47"/>
                <a:gd name="T75" fmla="*/ 14 h 21"/>
                <a:gd name="T76" fmla="*/ 0 w 47"/>
                <a:gd name="T77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" h="21">
                  <a:moveTo>
                    <a:pt x="0" y="13"/>
                  </a:moveTo>
                  <a:cubicBezTo>
                    <a:pt x="1" y="12"/>
                    <a:pt x="3" y="10"/>
                    <a:pt x="3" y="10"/>
                  </a:cubicBezTo>
                  <a:cubicBezTo>
                    <a:pt x="4" y="9"/>
                    <a:pt x="5" y="6"/>
                    <a:pt x="5" y="6"/>
                  </a:cubicBezTo>
                  <a:cubicBezTo>
                    <a:pt x="5" y="5"/>
                    <a:pt x="8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4"/>
                    <a:pt x="12" y="6"/>
                    <a:pt x="14" y="6"/>
                  </a:cubicBezTo>
                  <a:cubicBezTo>
                    <a:pt x="15" y="6"/>
                    <a:pt x="16" y="4"/>
                    <a:pt x="18" y="5"/>
                  </a:cubicBezTo>
                  <a:cubicBezTo>
                    <a:pt x="20" y="6"/>
                    <a:pt x="22" y="8"/>
                    <a:pt x="23" y="9"/>
                  </a:cubicBezTo>
                  <a:cubicBezTo>
                    <a:pt x="24" y="9"/>
                    <a:pt x="23" y="11"/>
                    <a:pt x="24" y="11"/>
                  </a:cubicBezTo>
                  <a:cubicBezTo>
                    <a:pt x="25" y="11"/>
                    <a:pt x="32" y="11"/>
                    <a:pt x="33" y="11"/>
                  </a:cubicBezTo>
                  <a:cubicBezTo>
                    <a:pt x="33" y="10"/>
                    <a:pt x="34" y="10"/>
                    <a:pt x="33" y="9"/>
                  </a:cubicBezTo>
                  <a:cubicBezTo>
                    <a:pt x="31" y="8"/>
                    <a:pt x="31" y="8"/>
                    <a:pt x="30" y="8"/>
                  </a:cubicBezTo>
                  <a:cubicBezTo>
                    <a:pt x="29" y="7"/>
                    <a:pt x="32" y="6"/>
                    <a:pt x="31" y="6"/>
                  </a:cubicBezTo>
                  <a:cubicBezTo>
                    <a:pt x="31" y="5"/>
                    <a:pt x="27" y="4"/>
                    <a:pt x="27" y="4"/>
                  </a:cubicBezTo>
                  <a:cubicBezTo>
                    <a:pt x="27" y="3"/>
                    <a:pt x="31" y="2"/>
                    <a:pt x="32" y="1"/>
                  </a:cubicBezTo>
                  <a:cubicBezTo>
                    <a:pt x="33" y="0"/>
                    <a:pt x="34" y="0"/>
                    <a:pt x="34" y="0"/>
                  </a:cubicBezTo>
                  <a:cubicBezTo>
                    <a:pt x="35" y="0"/>
                    <a:pt x="34" y="2"/>
                    <a:pt x="35" y="3"/>
                  </a:cubicBezTo>
                  <a:cubicBezTo>
                    <a:pt x="35" y="3"/>
                    <a:pt x="36" y="4"/>
                    <a:pt x="36" y="5"/>
                  </a:cubicBezTo>
                  <a:cubicBezTo>
                    <a:pt x="37" y="5"/>
                    <a:pt x="35" y="6"/>
                    <a:pt x="36" y="7"/>
                  </a:cubicBezTo>
                  <a:cubicBezTo>
                    <a:pt x="37" y="7"/>
                    <a:pt x="39" y="8"/>
                    <a:pt x="40" y="8"/>
                  </a:cubicBezTo>
                  <a:cubicBezTo>
                    <a:pt x="41" y="8"/>
                    <a:pt x="40" y="6"/>
                    <a:pt x="41" y="6"/>
                  </a:cubicBezTo>
                  <a:cubicBezTo>
                    <a:pt x="42" y="6"/>
                    <a:pt x="44" y="6"/>
                    <a:pt x="45" y="7"/>
                  </a:cubicBezTo>
                  <a:cubicBezTo>
                    <a:pt x="47" y="8"/>
                    <a:pt x="47" y="10"/>
                    <a:pt x="46" y="11"/>
                  </a:cubicBezTo>
                  <a:cubicBezTo>
                    <a:pt x="45" y="12"/>
                    <a:pt x="45" y="15"/>
                    <a:pt x="43" y="15"/>
                  </a:cubicBezTo>
                  <a:cubicBezTo>
                    <a:pt x="42" y="15"/>
                    <a:pt x="34" y="14"/>
                    <a:pt x="33" y="15"/>
                  </a:cubicBezTo>
                  <a:cubicBezTo>
                    <a:pt x="32" y="15"/>
                    <a:pt x="26" y="18"/>
                    <a:pt x="24" y="18"/>
                  </a:cubicBezTo>
                  <a:cubicBezTo>
                    <a:pt x="23" y="18"/>
                    <a:pt x="19" y="21"/>
                    <a:pt x="16" y="20"/>
                  </a:cubicBezTo>
                  <a:cubicBezTo>
                    <a:pt x="13" y="19"/>
                    <a:pt x="12" y="18"/>
                    <a:pt x="12" y="17"/>
                  </a:cubicBezTo>
                  <a:cubicBezTo>
                    <a:pt x="12" y="17"/>
                    <a:pt x="15" y="16"/>
                    <a:pt x="17" y="16"/>
                  </a:cubicBezTo>
                  <a:cubicBezTo>
                    <a:pt x="18" y="16"/>
                    <a:pt x="22" y="15"/>
                    <a:pt x="23" y="15"/>
                  </a:cubicBezTo>
                  <a:cubicBezTo>
                    <a:pt x="24" y="14"/>
                    <a:pt x="25" y="14"/>
                    <a:pt x="25" y="13"/>
                  </a:cubicBezTo>
                  <a:cubicBezTo>
                    <a:pt x="24" y="13"/>
                    <a:pt x="21" y="13"/>
                    <a:pt x="20" y="13"/>
                  </a:cubicBezTo>
                  <a:cubicBezTo>
                    <a:pt x="18" y="13"/>
                    <a:pt x="15" y="14"/>
                    <a:pt x="14" y="13"/>
                  </a:cubicBezTo>
                  <a:cubicBezTo>
                    <a:pt x="14" y="13"/>
                    <a:pt x="15" y="11"/>
                    <a:pt x="14" y="11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1" y="14"/>
                    <a:pt x="11" y="14"/>
                  </a:cubicBezTo>
                  <a:cubicBezTo>
                    <a:pt x="10" y="14"/>
                    <a:pt x="7" y="15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0" y="13"/>
                    <a:pt x="0" y="1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7" name="Freeform 652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1535144" y="1759124"/>
              <a:ext cx="434354" cy="241105"/>
            </a:xfrm>
            <a:custGeom>
              <a:avLst/>
              <a:gdLst>
                <a:gd name="T0" fmla="*/ 1 w 72"/>
                <a:gd name="T1" fmla="*/ 15 h 37"/>
                <a:gd name="T2" fmla="*/ 8 w 72"/>
                <a:gd name="T3" fmla="*/ 9 h 37"/>
                <a:gd name="T4" fmla="*/ 20 w 72"/>
                <a:gd name="T5" fmla="*/ 4 h 37"/>
                <a:gd name="T6" fmla="*/ 23 w 72"/>
                <a:gd name="T7" fmla="*/ 9 h 37"/>
                <a:gd name="T8" fmla="*/ 31 w 72"/>
                <a:gd name="T9" fmla="*/ 8 h 37"/>
                <a:gd name="T10" fmla="*/ 32 w 72"/>
                <a:gd name="T11" fmla="*/ 11 h 37"/>
                <a:gd name="T12" fmla="*/ 34 w 72"/>
                <a:gd name="T13" fmla="*/ 5 h 37"/>
                <a:gd name="T14" fmla="*/ 41 w 72"/>
                <a:gd name="T15" fmla="*/ 9 h 37"/>
                <a:gd name="T16" fmla="*/ 47 w 72"/>
                <a:gd name="T17" fmla="*/ 14 h 37"/>
                <a:gd name="T18" fmla="*/ 43 w 72"/>
                <a:gd name="T19" fmla="*/ 4 h 37"/>
                <a:gd name="T20" fmla="*/ 50 w 72"/>
                <a:gd name="T21" fmla="*/ 4 h 37"/>
                <a:gd name="T22" fmla="*/ 54 w 72"/>
                <a:gd name="T23" fmla="*/ 0 h 37"/>
                <a:gd name="T24" fmla="*/ 55 w 72"/>
                <a:gd name="T25" fmla="*/ 6 h 37"/>
                <a:gd name="T26" fmla="*/ 58 w 72"/>
                <a:gd name="T27" fmla="*/ 16 h 37"/>
                <a:gd name="T28" fmla="*/ 62 w 72"/>
                <a:gd name="T29" fmla="*/ 23 h 37"/>
                <a:gd name="T30" fmla="*/ 71 w 72"/>
                <a:gd name="T31" fmla="*/ 29 h 37"/>
                <a:gd name="T32" fmla="*/ 65 w 72"/>
                <a:gd name="T33" fmla="*/ 29 h 37"/>
                <a:gd name="T34" fmla="*/ 63 w 72"/>
                <a:gd name="T35" fmla="*/ 32 h 37"/>
                <a:gd name="T36" fmla="*/ 68 w 72"/>
                <a:gd name="T37" fmla="*/ 33 h 37"/>
                <a:gd name="T38" fmla="*/ 56 w 72"/>
                <a:gd name="T39" fmla="*/ 34 h 37"/>
                <a:gd name="T40" fmla="*/ 50 w 72"/>
                <a:gd name="T41" fmla="*/ 31 h 37"/>
                <a:gd name="T42" fmla="*/ 46 w 72"/>
                <a:gd name="T43" fmla="*/ 33 h 37"/>
                <a:gd name="T44" fmla="*/ 34 w 72"/>
                <a:gd name="T45" fmla="*/ 36 h 37"/>
                <a:gd name="T46" fmla="*/ 23 w 72"/>
                <a:gd name="T47" fmla="*/ 34 h 37"/>
                <a:gd name="T48" fmla="*/ 14 w 72"/>
                <a:gd name="T49" fmla="*/ 31 h 37"/>
                <a:gd name="T50" fmla="*/ 10 w 72"/>
                <a:gd name="T51" fmla="*/ 27 h 37"/>
                <a:gd name="T52" fmla="*/ 27 w 72"/>
                <a:gd name="T53" fmla="*/ 26 h 37"/>
                <a:gd name="T54" fmla="*/ 26 w 72"/>
                <a:gd name="T55" fmla="*/ 23 h 37"/>
                <a:gd name="T56" fmla="*/ 11 w 72"/>
                <a:gd name="T57" fmla="*/ 23 h 37"/>
                <a:gd name="T58" fmla="*/ 4 w 72"/>
                <a:gd name="T59" fmla="*/ 20 h 37"/>
                <a:gd name="T60" fmla="*/ 16 w 72"/>
                <a:gd name="T61" fmla="*/ 17 h 37"/>
                <a:gd name="T62" fmla="*/ 6 w 72"/>
                <a:gd name="T63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" h="37">
                  <a:moveTo>
                    <a:pt x="3" y="16"/>
                  </a:moveTo>
                  <a:cubicBezTo>
                    <a:pt x="2" y="15"/>
                    <a:pt x="0" y="16"/>
                    <a:pt x="1" y="15"/>
                  </a:cubicBezTo>
                  <a:cubicBezTo>
                    <a:pt x="2" y="13"/>
                    <a:pt x="4" y="13"/>
                    <a:pt x="5" y="12"/>
                  </a:cubicBezTo>
                  <a:cubicBezTo>
                    <a:pt x="5" y="12"/>
                    <a:pt x="2" y="10"/>
                    <a:pt x="8" y="9"/>
                  </a:cubicBezTo>
                  <a:cubicBezTo>
                    <a:pt x="9" y="8"/>
                    <a:pt x="13" y="6"/>
                    <a:pt x="14" y="5"/>
                  </a:cubicBezTo>
                  <a:cubicBezTo>
                    <a:pt x="16" y="5"/>
                    <a:pt x="19" y="3"/>
                    <a:pt x="20" y="4"/>
                  </a:cubicBezTo>
                  <a:cubicBezTo>
                    <a:pt x="21" y="5"/>
                    <a:pt x="19" y="9"/>
                    <a:pt x="19" y="9"/>
                  </a:cubicBezTo>
                  <a:cubicBezTo>
                    <a:pt x="20" y="9"/>
                    <a:pt x="23" y="9"/>
                    <a:pt x="23" y="9"/>
                  </a:cubicBezTo>
                  <a:cubicBezTo>
                    <a:pt x="23" y="8"/>
                    <a:pt x="24" y="5"/>
                    <a:pt x="24" y="5"/>
                  </a:cubicBezTo>
                  <a:cubicBezTo>
                    <a:pt x="25" y="5"/>
                    <a:pt x="31" y="7"/>
                    <a:pt x="31" y="8"/>
                  </a:cubicBezTo>
                  <a:cubicBezTo>
                    <a:pt x="31" y="9"/>
                    <a:pt x="29" y="10"/>
                    <a:pt x="30" y="11"/>
                  </a:cubicBezTo>
                  <a:cubicBezTo>
                    <a:pt x="30" y="11"/>
                    <a:pt x="31" y="11"/>
                    <a:pt x="32" y="11"/>
                  </a:cubicBezTo>
                  <a:cubicBezTo>
                    <a:pt x="33" y="11"/>
                    <a:pt x="35" y="9"/>
                    <a:pt x="35" y="9"/>
                  </a:cubicBezTo>
                  <a:cubicBezTo>
                    <a:pt x="36" y="8"/>
                    <a:pt x="33" y="6"/>
                    <a:pt x="34" y="5"/>
                  </a:cubicBezTo>
                  <a:cubicBezTo>
                    <a:pt x="35" y="5"/>
                    <a:pt x="36" y="5"/>
                    <a:pt x="37" y="6"/>
                  </a:cubicBezTo>
                  <a:cubicBezTo>
                    <a:pt x="38" y="6"/>
                    <a:pt x="41" y="8"/>
                    <a:pt x="41" y="9"/>
                  </a:cubicBezTo>
                  <a:cubicBezTo>
                    <a:pt x="41" y="10"/>
                    <a:pt x="42" y="16"/>
                    <a:pt x="43" y="16"/>
                  </a:cubicBezTo>
                  <a:cubicBezTo>
                    <a:pt x="44" y="16"/>
                    <a:pt x="47" y="15"/>
                    <a:pt x="47" y="14"/>
                  </a:cubicBezTo>
                  <a:cubicBezTo>
                    <a:pt x="48" y="13"/>
                    <a:pt x="46" y="12"/>
                    <a:pt x="46" y="11"/>
                  </a:cubicBezTo>
                  <a:cubicBezTo>
                    <a:pt x="46" y="10"/>
                    <a:pt x="43" y="4"/>
                    <a:pt x="43" y="4"/>
                  </a:cubicBezTo>
                  <a:cubicBezTo>
                    <a:pt x="44" y="3"/>
                    <a:pt x="46" y="3"/>
                    <a:pt x="47" y="4"/>
                  </a:cubicBezTo>
                  <a:cubicBezTo>
                    <a:pt x="48" y="4"/>
                    <a:pt x="50" y="4"/>
                    <a:pt x="50" y="4"/>
                  </a:cubicBezTo>
                  <a:cubicBezTo>
                    <a:pt x="50" y="4"/>
                    <a:pt x="48" y="1"/>
                    <a:pt x="49" y="1"/>
                  </a:cubicBezTo>
                  <a:cubicBezTo>
                    <a:pt x="51" y="0"/>
                    <a:pt x="52" y="0"/>
                    <a:pt x="54" y="0"/>
                  </a:cubicBezTo>
                  <a:cubicBezTo>
                    <a:pt x="56" y="0"/>
                    <a:pt x="57" y="1"/>
                    <a:pt x="58" y="2"/>
                  </a:cubicBezTo>
                  <a:cubicBezTo>
                    <a:pt x="58" y="3"/>
                    <a:pt x="56" y="6"/>
                    <a:pt x="55" y="6"/>
                  </a:cubicBezTo>
                  <a:cubicBezTo>
                    <a:pt x="54" y="6"/>
                    <a:pt x="54" y="8"/>
                    <a:pt x="54" y="8"/>
                  </a:cubicBezTo>
                  <a:cubicBezTo>
                    <a:pt x="54" y="8"/>
                    <a:pt x="58" y="15"/>
                    <a:pt x="58" y="16"/>
                  </a:cubicBezTo>
                  <a:cubicBezTo>
                    <a:pt x="58" y="17"/>
                    <a:pt x="56" y="19"/>
                    <a:pt x="57" y="20"/>
                  </a:cubicBezTo>
                  <a:cubicBezTo>
                    <a:pt x="58" y="21"/>
                    <a:pt x="60" y="22"/>
                    <a:pt x="62" y="23"/>
                  </a:cubicBezTo>
                  <a:cubicBezTo>
                    <a:pt x="63" y="23"/>
                    <a:pt x="70" y="25"/>
                    <a:pt x="71" y="26"/>
                  </a:cubicBezTo>
                  <a:cubicBezTo>
                    <a:pt x="71" y="27"/>
                    <a:pt x="72" y="29"/>
                    <a:pt x="71" y="29"/>
                  </a:cubicBezTo>
                  <a:cubicBezTo>
                    <a:pt x="71" y="30"/>
                    <a:pt x="68" y="28"/>
                    <a:pt x="67" y="28"/>
                  </a:cubicBezTo>
                  <a:cubicBezTo>
                    <a:pt x="66" y="28"/>
                    <a:pt x="65" y="29"/>
                    <a:pt x="65" y="29"/>
                  </a:cubicBezTo>
                  <a:cubicBezTo>
                    <a:pt x="64" y="30"/>
                    <a:pt x="63" y="30"/>
                    <a:pt x="63" y="30"/>
                  </a:cubicBezTo>
                  <a:cubicBezTo>
                    <a:pt x="62" y="30"/>
                    <a:pt x="62" y="32"/>
                    <a:pt x="63" y="32"/>
                  </a:cubicBezTo>
                  <a:cubicBezTo>
                    <a:pt x="64" y="32"/>
                    <a:pt x="66" y="30"/>
                    <a:pt x="67" y="31"/>
                  </a:cubicBezTo>
                  <a:cubicBezTo>
                    <a:pt x="68" y="32"/>
                    <a:pt x="69" y="32"/>
                    <a:pt x="68" y="33"/>
                  </a:cubicBezTo>
                  <a:cubicBezTo>
                    <a:pt x="68" y="34"/>
                    <a:pt x="66" y="35"/>
                    <a:pt x="64" y="35"/>
                  </a:cubicBezTo>
                  <a:cubicBezTo>
                    <a:pt x="62" y="35"/>
                    <a:pt x="57" y="35"/>
                    <a:pt x="56" y="34"/>
                  </a:cubicBezTo>
                  <a:cubicBezTo>
                    <a:pt x="56" y="33"/>
                    <a:pt x="54" y="33"/>
                    <a:pt x="53" y="33"/>
                  </a:cubicBezTo>
                  <a:cubicBezTo>
                    <a:pt x="52" y="33"/>
                    <a:pt x="51" y="31"/>
                    <a:pt x="50" y="31"/>
                  </a:cubicBezTo>
                  <a:cubicBezTo>
                    <a:pt x="49" y="31"/>
                    <a:pt x="48" y="31"/>
                    <a:pt x="48" y="32"/>
                  </a:cubicBezTo>
                  <a:cubicBezTo>
                    <a:pt x="47" y="32"/>
                    <a:pt x="48" y="33"/>
                    <a:pt x="46" y="33"/>
                  </a:cubicBezTo>
                  <a:cubicBezTo>
                    <a:pt x="44" y="33"/>
                    <a:pt x="42" y="34"/>
                    <a:pt x="41" y="35"/>
                  </a:cubicBezTo>
                  <a:cubicBezTo>
                    <a:pt x="40" y="35"/>
                    <a:pt x="36" y="36"/>
                    <a:pt x="34" y="36"/>
                  </a:cubicBezTo>
                  <a:cubicBezTo>
                    <a:pt x="32" y="36"/>
                    <a:pt x="26" y="37"/>
                    <a:pt x="25" y="37"/>
                  </a:cubicBezTo>
                  <a:cubicBezTo>
                    <a:pt x="24" y="36"/>
                    <a:pt x="23" y="36"/>
                    <a:pt x="23" y="34"/>
                  </a:cubicBezTo>
                  <a:cubicBezTo>
                    <a:pt x="23" y="33"/>
                    <a:pt x="23" y="32"/>
                    <a:pt x="22" y="32"/>
                  </a:cubicBezTo>
                  <a:cubicBezTo>
                    <a:pt x="21" y="32"/>
                    <a:pt x="16" y="32"/>
                    <a:pt x="14" y="31"/>
                  </a:cubicBezTo>
                  <a:cubicBezTo>
                    <a:pt x="12" y="31"/>
                    <a:pt x="8" y="30"/>
                    <a:pt x="8" y="28"/>
                  </a:cubicBezTo>
                  <a:cubicBezTo>
                    <a:pt x="7" y="27"/>
                    <a:pt x="9" y="27"/>
                    <a:pt x="10" y="27"/>
                  </a:cubicBezTo>
                  <a:cubicBezTo>
                    <a:pt x="11" y="26"/>
                    <a:pt x="18" y="26"/>
                    <a:pt x="20" y="26"/>
                  </a:cubicBezTo>
                  <a:cubicBezTo>
                    <a:pt x="21" y="26"/>
                    <a:pt x="25" y="26"/>
                    <a:pt x="27" y="26"/>
                  </a:cubicBezTo>
                  <a:cubicBezTo>
                    <a:pt x="28" y="26"/>
                    <a:pt x="29" y="25"/>
                    <a:pt x="29" y="24"/>
                  </a:cubicBezTo>
                  <a:cubicBezTo>
                    <a:pt x="29" y="24"/>
                    <a:pt x="28" y="23"/>
                    <a:pt x="26" y="23"/>
                  </a:cubicBezTo>
                  <a:cubicBezTo>
                    <a:pt x="24" y="23"/>
                    <a:pt x="21" y="22"/>
                    <a:pt x="20" y="22"/>
                  </a:cubicBezTo>
                  <a:cubicBezTo>
                    <a:pt x="18" y="22"/>
                    <a:pt x="12" y="23"/>
                    <a:pt x="11" y="23"/>
                  </a:cubicBezTo>
                  <a:cubicBezTo>
                    <a:pt x="10" y="23"/>
                    <a:pt x="7" y="23"/>
                    <a:pt x="6" y="22"/>
                  </a:cubicBezTo>
                  <a:cubicBezTo>
                    <a:pt x="4" y="21"/>
                    <a:pt x="3" y="21"/>
                    <a:pt x="4" y="20"/>
                  </a:cubicBezTo>
                  <a:cubicBezTo>
                    <a:pt x="5" y="20"/>
                    <a:pt x="11" y="19"/>
                    <a:pt x="12" y="18"/>
                  </a:cubicBezTo>
                  <a:cubicBezTo>
                    <a:pt x="14" y="18"/>
                    <a:pt x="16" y="18"/>
                    <a:pt x="16" y="17"/>
                  </a:cubicBezTo>
                  <a:cubicBezTo>
                    <a:pt x="15" y="16"/>
                    <a:pt x="14" y="16"/>
                    <a:pt x="12" y="16"/>
                  </a:cubicBezTo>
                  <a:cubicBezTo>
                    <a:pt x="11" y="16"/>
                    <a:pt x="7" y="17"/>
                    <a:pt x="6" y="17"/>
                  </a:cubicBezTo>
                  <a:cubicBezTo>
                    <a:pt x="4" y="16"/>
                    <a:pt x="4" y="17"/>
                    <a:pt x="3" y="1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8" name="Freeform 652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1532019" y="1645269"/>
              <a:ext cx="53122" cy="36835"/>
            </a:xfrm>
            <a:custGeom>
              <a:avLst/>
              <a:gdLst>
                <a:gd name="T0" fmla="*/ 6 w 9"/>
                <a:gd name="T1" fmla="*/ 4 h 6"/>
                <a:gd name="T2" fmla="*/ 3 w 9"/>
                <a:gd name="T3" fmla="*/ 6 h 6"/>
                <a:gd name="T4" fmla="*/ 0 w 9"/>
                <a:gd name="T5" fmla="*/ 4 h 6"/>
                <a:gd name="T6" fmla="*/ 6 w 9"/>
                <a:gd name="T7" fmla="*/ 1 h 6"/>
                <a:gd name="T8" fmla="*/ 8 w 9"/>
                <a:gd name="T9" fmla="*/ 1 h 6"/>
                <a:gd name="T10" fmla="*/ 6 w 9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6" y="4"/>
                  </a:moveTo>
                  <a:cubicBezTo>
                    <a:pt x="6" y="5"/>
                    <a:pt x="4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4"/>
                    <a:pt x="5" y="1"/>
                    <a:pt x="6" y="1"/>
                  </a:cubicBezTo>
                  <a:cubicBezTo>
                    <a:pt x="6" y="1"/>
                    <a:pt x="7" y="0"/>
                    <a:pt x="8" y="1"/>
                  </a:cubicBezTo>
                  <a:cubicBezTo>
                    <a:pt x="9" y="1"/>
                    <a:pt x="7" y="3"/>
                    <a:pt x="6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59" name="Freeform 652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1375777" y="1722288"/>
              <a:ext cx="249988" cy="170782"/>
            </a:xfrm>
            <a:custGeom>
              <a:avLst/>
              <a:gdLst>
                <a:gd name="T0" fmla="*/ 4 w 41"/>
                <a:gd name="T1" fmla="*/ 14 h 26"/>
                <a:gd name="T2" fmla="*/ 8 w 41"/>
                <a:gd name="T3" fmla="*/ 8 h 26"/>
                <a:gd name="T4" fmla="*/ 9 w 41"/>
                <a:gd name="T5" fmla="*/ 6 h 26"/>
                <a:gd name="T6" fmla="*/ 5 w 41"/>
                <a:gd name="T7" fmla="*/ 5 h 26"/>
                <a:gd name="T8" fmla="*/ 4 w 41"/>
                <a:gd name="T9" fmla="*/ 1 h 26"/>
                <a:gd name="T10" fmla="*/ 12 w 41"/>
                <a:gd name="T11" fmla="*/ 0 h 26"/>
                <a:gd name="T12" fmla="*/ 18 w 41"/>
                <a:gd name="T13" fmla="*/ 0 h 26"/>
                <a:gd name="T14" fmla="*/ 24 w 41"/>
                <a:gd name="T15" fmla="*/ 3 h 26"/>
                <a:gd name="T16" fmla="*/ 32 w 41"/>
                <a:gd name="T17" fmla="*/ 2 h 26"/>
                <a:gd name="T18" fmla="*/ 41 w 41"/>
                <a:gd name="T19" fmla="*/ 8 h 26"/>
                <a:gd name="T20" fmla="*/ 27 w 41"/>
                <a:gd name="T21" fmla="*/ 14 h 26"/>
                <a:gd name="T22" fmla="*/ 25 w 41"/>
                <a:gd name="T23" fmla="*/ 17 h 26"/>
                <a:gd name="T24" fmla="*/ 22 w 41"/>
                <a:gd name="T25" fmla="*/ 18 h 26"/>
                <a:gd name="T26" fmla="*/ 21 w 41"/>
                <a:gd name="T27" fmla="*/ 22 h 26"/>
                <a:gd name="T28" fmla="*/ 17 w 41"/>
                <a:gd name="T29" fmla="*/ 23 h 26"/>
                <a:gd name="T30" fmla="*/ 12 w 41"/>
                <a:gd name="T31" fmla="*/ 26 h 26"/>
                <a:gd name="T32" fmla="*/ 10 w 41"/>
                <a:gd name="T33" fmla="*/ 25 h 26"/>
                <a:gd name="T34" fmla="*/ 9 w 41"/>
                <a:gd name="T35" fmla="*/ 23 h 26"/>
                <a:gd name="T36" fmla="*/ 1 w 41"/>
                <a:gd name="T37" fmla="*/ 19 h 26"/>
                <a:gd name="T38" fmla="*/ 4 w 41"/>
                <a:gd name="T3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" h="26">
                  <a:moveTo>
                    <a:pt x="4" y="14"/>
                  </a:moveTo>
                  <a:cubicBezTo>
                    <a:pt x="4" y="13"/>
                    <a:pt x="7" y="9"/>
                    <a:pt x="8" y="8"/>
                  </a:cubicBezTo>
                  <a:cubicBezTo>
                    <a:pt x="8" y="8"/>
                    <a:pt x="9" y="7"/>
                    <a:pt x="9" y="6"/>
                  </a:cubicBezTo>
                  <a:cubicBezTo>
                    <a:pt x="9" y="6"/>
                    <a:pt x="6" y="6"/>
                    <a:pt x="5" y="5"/>
                  </a:cubicBezTo>
                  <a:cubicBezTo>
                    <a:pt x="5" y="4"/>
                    <a:pt x="4" y="2"/>
                    <a:pt x="4" y="1"/>
                  </a:cubicBezTo>
                  <a:cubicBezTo>
                    <a:pt x="5" y="1"/>
                    <a:pt x="11" y="0"/>
                    <a:pt x="12" y="0"/>
                  </a:cubicBezTo>
                  <a:cubicBezTo>
                    <a:pt x="14" y="0"/>
                    <a:pt x="17" y="0"/>
                    <a:pt x="18" y="0"/>
                  </a:cubicBezTo>
                  <a:cubicBezTo>
                    <a:pt x="18" y="0"/>
                    <a:pt x="23" y="3"/>
                    <a:pt x="24" y="3"/>
                  </a:cubicBezTo>
                  <a:cubicBezTo>
                    <a:pt x="25" y="3"/>
                    <a:pt x="31" y="2"/>
                    <a:pt x="32" y="2"/>
                  </a:cubicBezTo>
                  <a:cubicBezTo>
                    <a:pt x="33" y="2"/>
                    <a:pt x="41" y="7"/>
                    <a:pt x="41" y="8"/>
                  </a:cubicBezTo>
                  <a:cubicBezTo>
                    <a:pt x="41" y="9"/>
                    <a:pt x="28" y="14"/>
                    <a:pt x="27" y="14"/>
                  </a:cubicBezTo>
                  <a:cubicBezTo>
                    <a:pt x="26" y="14"/>
                    <a:pt x="26" y="17"/>
                    <a:pt x="25" y="17"/>
                  </a:cubicBezTo>
                  <a:cubicBezTo>
                    <a:pt x="24" y="17"/>
                    <a:pt x="22" y="17"/>
                    <a:pt x="22" y="18"/>
                  </a:cubicBezTo>
                  <a:cubicBezTo>
                    <a:pt x="22" y="18"/>
                    <a:pt x="23" y="22"/>
                    <a:pt x="21" y="22"/>
                  </a:cubicBezTo>
                  <a:cubicBezTo>
                    <a:pt x="19" y="23"/>
                    <a:pt x="17" y="23"/>
                    <a:pt x="17" y="23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0" y="26"/>
                    <a:pt x="10" y="25"/>
                  </a:cubicBezTo>
                  <a:cubicBezTo>
                    <a:pt x="9" y="24"/>
                    <a:pt x="9" y="23"/>
                    <a:pt x="9" y="23"/>
                  </a:cubicBezTo>
                  <a:cubicBezTo>
                    <a:pt x="7" y="22"/>
                    <a:pt x="2" y="19"/>
                    <a:pt x="1" y="19"/>
                  </a:cubicBezTo>
                  <a:cubicBezTo>
                    <a:pt x="0" y="19"/>
                    <a:pt x="3" y="15"/>
                    <a:pt x="4" y="1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0" name="Freeform 652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1450773" y="1564900"/>
              <a:ext cx="174992" cy="90414"/>
            </a:xfrm>
            <a:custGeom>
              <a:avLst/>
              <a:gdLst>
                <a:gd name="T0" fmla="*/ 2 w 29"/>
                <a:gd name="T1" fmla="*/ 10 h 14"/>
                <a:gd name="T2" fmla="*/ 6 w 29"/>
                <a:gd name="T3" fmla="*/ 9 h 14"/>
                <a:gd name="T4" fmla="*/ 8 w 29"/>
                <a:gd name="T5" fmla="*/ 7 h 14"/>
                <a:gd name="T6" fmla="*/ 15 w 29"/>
                <a:gd name="T7" fmla="*/ 2 h 14"/>
                <a:gd name="T8" fmla="*/ 22 w 29"/>
                <a:gd name="T9" fmla="*/ 3 h 14"/>
                <a:gd name="T10" fmla="*/ 24 w 29"/>
                <a:gd name="T11" fmla="*/ 0 h 14"/>
                <a:gd name="T12" fmla="*/ 29 w 29"/>
                <a:gd name="T13" fmla="*/ 2 h 14"/>
                <a:gd name="T14" fmla="*/ 25 w 29"/>
                <a:gd name="T15" fmla="*/ 4 h 14"/>
                <a:gd name="T16" fmla="*/ 27 w 29"/>
                <a:gd name="T17" fmla="*/ 7 h 14"/>
                <a:gd name="T18" fmla="*/ 24 w 29"/>
                <a:gd name="T19" fmla="*/ 8 h 14"/>
                <a:gd name="T20" fmla="*/ 21 w 29"/>
                <a:gd name="T21" fmla="*/ 10 h 14"/>
                <a:gd name="T22" fmla="*/ 19 w 29"/>
                <a:gd name="T23" fmla="*/ 7 h 14"/>
                <a:gd name="T24" fmla="*/ 17 w 29"/>
                <a:gd name="T25" fmla="*/ 7 h 14"/>
                <a:gd name="T26" fmla="*/ 16 w 29"/>
                <a:gd name="T27" fmla="*/ 10 h 14"/>
                <a:gd name="T28" fmla="*/ 13 w 29"/>
                <a:gd name="T29" fmla="*/ 12 h 14"/>
                <a:gd name="T30" fmla="*/ 10 w 29"/>
                <a:gd name="T31" fmla="*/ 14 h 14"/>
                <a:gd name="T32" fmla="*/ 8 w 29"/>
                <a:gd name="T33" fmla="*/ 11 h 14"/>
                <a:gd name="T34" fmla="*/ 6 w 29"/>
                <a:gd name="T35" fmla="*/ 14 h 14"/>
                <a:gd name="T36" fmla="*/ 3 w 29"/>
                <a:gd name="T37" fmla="*/ 13 h 14"/>
                <a:gd name="T38" fmla="*/ 2 w 29"/>
                <a:gd name="T39" fmla="*/ 14 h 14"/>
                <a:gd name="T40" fmla="*/ 0 w 29"/>
                <a:gd name="T41" fmla="*/ 13 h 14"/>
                <a:gd name="T42" fmla="*/ 2 w 29"/>
                <a:gd name="T4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14">
                  <a:moveTo>
                    <a:pt x="2" y="10"/>
                  </a:moveTo>
                  <a:cubicBezTo>
                    <a:pt x="3" y="9"/>
                    <a:pt x="5" y="10"/>
                    <a:pt x="6" y="9"/>
                  </a:cubicBezTo>
                  <a:cubicBezTo>
                    <a:pt x="7" y="9"/>
                    <a:pt x="7" y="8"/>
                    <a:pt x="8" y="7"/>
                  </a:cubicBezTo>
                  <a:cubicBezTo>
                    <a:pt x="8" y="6"/>
                    <a:pt x="14" y="3"/>
                    <a:pt x="15" y="2"/>
                  </a:cubicBezTo>
                  <a:cubicBezTo>
                    <a:pt x="16" y="2"/>
                    <a:pt x="22" y="3"/>
                    <a:pt x="22" y="3"/>
                  </a:cubicBezTo>
                  <a:cubicBezTo>
                    <a:pt x="23" y="2"/>
                    <a:pt x="23" y="0"/>
                    <a:pt x="24" y="0"/>
                  </a:cubicBezTo>
                  <a:cubicBezTo>
                    <a:pt x="26" y="0"/>
                    <a:pt x="29" y="2"/>
                    <a:pt x="29" y="2"/>
                  </a:cubicBezTo>
                  <a:cubicBezTo>
                    <a:pt x="29" y="3"/>
                    <a:pt x="25" y="3"/>
                    <a:pt x="25" y="4"/>
                  </a:cubicBezTo>
                  <a:cubicBezTo>
                    <a:pt x="25" y="4"/>
                    <a:pt x="28" y="6"/>
                    <a:pt x="27" y="7"/>
                  </a:cubicBezTo>
                  <a:cubicBezTo>
                    <a:pt x="27" y="7"/>
                    <a:pt x="25" y="8"/>
                    <a:pt x="24" y="8"/>
                  </a:cubicBezTo>
                  <a:cubicBezTo>
                    <a:pt x="23" y="8"/>
                    <a:pt x="23" y="10"/>
                    <a:pt x="21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9" y="6"/>
                    <a:pt x="18" y="7"/>
                    <a:pt x="17" y="7"/>
                  </a:cubicBezTo>
                  <a:cubicBezTo>
                    <a:pt x="16" y="8"/>
                    <a:pt x="17" y="10"/>
                    <a:pt x="16" y="10"/>
                  </a:cubicBezTo>
                  <a:cubicBezTo>
                    <a:pt x="14" y="11"/>
                    <a:pt x="14" y="12"/>
                    <a:pt x="13" y="12"/>
                  </a:cubicBezTo>
                  <a:cubicBezTo>
                    <a:pt x="12" y="12"/>
                    <a:pt x="11" y="14"/>
                    <a:pt x="10" y="14"/>
                  </a:cubicBezTo>
                  <a:cubicBezTo>
                    <a:pt x="10" y="14"/>
                    <a:pt x="9" y="11"/>
                    <a:pt x="8" y="11"/>
                  </a:cubicBezTo>
                  <a:cubicBezTo>
                    <a:pt x="7" y="12"/>
                    <a:pt x="7" y="14"/>
                    <a:pt x="6" y="14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1" y="13"/>
                    <a:pt x="0" y="13"/>
                    <a:pt x="0" y="13"/>
                  </a:cubicBezTo>
                  <a:cubicBezTo>
                    <a:pt x="0" y="12"/>
                    <a:pt x="1" y="10"/>
                    <a:pt x="2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1" name="Freeform 652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1319529" y="2673313"/>
              <a:ext cx="124994" cy="70322"/>
            </a:xfrm>
            <a:custGeom>
              <a:avLst/>
              <a:gdLst>
                <a:gd name="T0" fmla="*/ 1 w 21"/>
                <a:gd name="T1" fmla="*/ 0 h 11"/>
                <a:gd name="T2" fmla="*/ 3 w 21"/>
                <a:gd name="T3" fmla="*/ 0 h 11"/>
                <a:gd name="T4" fmla="*/ 7 w 21"/>
                <a:gd name="T5" fmla="*/ 2 h 11"/>
                <a:gd name="T6" fmla="*/ 10 w 21"/>
                <a:gd name="T7" fmla="*/ 4 h 11"/>
                <a:gd name="T8" fmla="*/ 15 w 21"/>
                <a:gd name="T9" fmla="*/ 6 h 11"/>
                <a:gd name="T10" fmla="*/ 20 w 21"/>
                <a:gd name="T11" fmla="*/ 9 h 11"/>
                <a:gd name="T12" fmla="*/ 21 w 21"/>
                <a:gd name="T13" fmla="*/ 11 h 11"/>
                <a:gd name="T14" fmla="*/ 20 w 21"/>
                <a:gd name="T15" fmla="*/ 11 h 11"/>
                <a:gd name="T16" fmla="*/ 19 w 21"/>
                <a:gd name="T17" fmla="*/ 11 h 11"/>
                <a:gd name="T18" fmla="*/ 12 w 21"/>
                <a:gd name="T19" fmla="*/ 10 h 11"/>
                <a:gd name="T20" fmla="*/ 5 w 21"/>
                <a:gd name="T21" fmla="*/ 5 h 11"/>
                <a:gd name="T22" fmla="*/ 1 w 21"/>
                <a:gd name="T23" fmla="*/ 2 h 11"/>
                <a:gd name="T24" fmla="*/ 1 w 21"/>
                <a:gd name="T2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1">
                  <a:moveTo>
                    <a:pt x="1" y="0"/>
                  </a:move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6" y="2"/>
                    <a:pt x="7" y="2"/>
                  </a:cubicBezTo>
                  <a:cubicBezTo>
                    <a:pt x="8" y="3"/>
                    <a:pt x="9" y="3"/>
                    <a:pt x="10" y="4"/>
                  </a:cubicBezTo>
                  <a:cubicBezTo>
                    <a:pt x="12" y="4"/>
                    <a:pt x="13" y="5"/>
                    <a:pt x="15" y="6"/>
                  </a:cubicBezTo>
                  <a:cubicBezTo>
                    <a:pt x="16" y="8"/>
                    <a:pt x="19" y="9"/>
                    <a:pt x="20" y="9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21" y="11"/>
                    <a:pt x="20" y="11"/>
                    <a:pt x="2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8" y="11"/>
                    <a:pt x="13" y="10"/>
                    <a:pt x="12" y="10"/>
                  </a:cubicBezTo>
                  <a:cubicBezTo>
                    <a:pt x="10" y="9"/>
                    <a:pt x="6" y="6"/>
                    <a:pt x="5" y="5"/>
                  </a:cubicBezTo>
                  <a:cubicBezTo>
                    <a:pt x="4" y="4"/>
                    <a:pt x="2" y="3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2" name="Freeform 652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1207035" y="2562807"/>
              <a:ext cx="62497" cy="87066"/>
            </a:xfrm>
            <a:custGeom>
              <a:avLst/>
              <a:gdLst>
                <a:gd name="T0" fmla="*/ 5 w 10"/>
                <a:gd name="T1" fmla="*/ 9 h 13"/>
                <a:gd name="T2" fmla="*/ 1 w 10"/>
                <a:gd name="T3" fmla="*/ 4 h 13"/>
                <a:gd name="T4" fmla="*/ 0 w 10"/>
                <a:gd name="T5" fmla="*/ 1 h 13"/>
                <a:gd name="T6" fmla="*/ 1 w 10"/>
                <a:gd name="T7" fmla="*/ 0 h 13"/>
                <a:gd name="T8" fmla="*/ 6 w 10"/>
                <a:gd name="T9" fmla="*/ 0 h 13"/>
                <a:gd name="T10" fmla="*/ 5 w 10"/>
                <a:gd name="T11" fmla="*/ 2 h 13"/>
                <a:gd name="T12" fmla="*/ 7 w 10"/>
                <a:gd name="T13" fmla="*/ 6 h 13"/>
                <a:gd name="T14" fmla="*/ 8 w 10"/>
                <a:gd name="T15" fmla="*/ 9 h 13"/>
                <a:gd name="T16" fmla="*/ 10 w 10"/>
                <a:gd name="T17" fmla="*/ 11 h 13"/>
                <a:gd name="T18" fmla="*/ 10 w 10"/>
                <a:gd name="T19" fmla="*/ 12 h 13"/>
                <a:gd name="T20" fmla="*/ 5 w 10"/>
                <a:gd name="T21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3">
                  <a:moveTo>
                    <a:pt x="5" y="9"/>
                  </a:moveTo>
                  <a:cubicBezTo>
                    <a:pt x="4" y="8"/>
                    <a:pt x="1" y="5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5" y="0"/>
                    <a:pt x="6" y="0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5" y="4"/>
                    <a:pt x="6" y="6"/>
                    <a:pt x="7" y="6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6" y="11"/>
                    <a:pt x="5" y="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3" name="Freeform 652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1025793" y="1739032"/>
              <a:ext cx="2003029" cy="1208873"/>
            </a:xfrm>
            <a:custGeom>
              <a:avLst/>
              <a:gdLst>
                <a:gd name="T0" fmla="*/ 21 w 331"/>
                <a:gd name="T1" fmla="*/ 39 h 186"/>
                <a:gd name="T2" fmla="*/ 43 w 331"/>
                <a:gd name="T3" fmla="*/ 28 h 186"/>
                <a:gd name="T4" fmla="*/ 49 w 331"/>
                <a:gd name="T5" fmla="*/ 26 h 186"/>
                <a:gd name="T6" fmla="*/ 68 w 331"/>
                <a:gd name="T7" fmla="*/ 35 h 186"/>
                <a:gd name="T8" fmla="*/ 97 w 331"/>
                <a:gd name="T9" fmla="*/ 37 h 186"/>
                <a:gd name="T10" fmla="*/ 117 w 331"/>
                <a:gd name="T11" fmla="*/ 45 h 186"/>
                <a:gd name="T12" fmla="*/ 135 w 331"/>
                <a:gd name="T13" fmla="*/ 39 h 186"/>
                <a:gd name="T14" fmla="*/ 158 w 331"/>
                <a:gd name="T15" fmla="*/ 45 h 186"/>
                <a:gd name="T16" fmla="*/ 162 w 331"/>
                <a:gd name="T17" fmla="*/ 38 h 186"/>
                <a:gd name="T18" fmla="*/ 175 w 331"/>
                <a:gd name="T19" fmla="*/ 36 h 186"/>
                <a:gd name="T20" fmla="*/ 178 w 331"/>
                <a:gd name="T21" fmla="*/ 49 h 186"/>
                <a:gd name="T22" fmla="*/ 181 w 331"/>
                <a:gd name="T23" fmla="*/ 39 h 186"/>
                <a:gd name="T24" fmla="*/ 173 w 331"/>
                <a:gd name="T25" fmla="*/ 29 h 186"/>
                <a:gd name="T26" fmla="*/ 175 w 331"/>
                <a:gd name="T27" fmla="*/ 19 h 186"/>
                <a:gd name="T28" fmla="*/ 177 w 331"/>
                <a:gd name="T29" fmla="*/ 2 h 186"/>
                <a:gd name="T30" fmla="*/ 193 w 331"/>
                <a:gd name="T31" fmla="*/ 6 h 186"/>
                <a:gd name="T32" fmla="*/ 186 w 331"/>
                <a:gd name="T33" fmla="*/ 20 h 186"/>
                <a:gd name="T34" fmla="*/ 196 w 331"/>
                <a:gd name="T35" fmla="*/ 34 h 186"/>
                <a:gd name="T36" fmla="*/ 206 w 331"/>
                <a:gd name="T37" fmla="*/ 42 h 186"/>
                <a:gd name="T38" fmla="*/ 217 w 331"/>
                <a:gd name="T39" fmla="*/ 39 h 186"/>
                <a:gd name="T40" fmla="*/ 231 w 331"/>
                <a:gd name="T41" fmla="*/ 36 h 186"/>
                <a:gd name="T42" fmla="*/ 224 w 331"/>
                <a:gd name="T43" fmla="*/ 55 h 186"/>
                <a:gd name="T44" fmla="*/ 211 w 331"/>
                <a:gd name="T45" fmla="*/ 59 h 186"/>
                <a:gd name="T46" fmla="*/ 209 w 331"/>
                <a:gd name="T47" fmla="*/ 62 h 186"/>
                <a:gd name="T48" fmla="*/ 193 w 331"/>
                <a:gd name="T49" fmla="*/ 72 h 186"/>
                <a:gd name="T50" fmla="*/ 179 w 331"/>
                <a:gd name="T51" fmla="*/ 98 h 186"/>
                <a:gd name="T52" fmla="*/ 196 w 331"/>
                <a:gd name="T53" fmla="*/ 110 h 186"/>
                <a:gd name="T54" fmla="*/ 228 w 331"/>
                <a:gd name="T55" fmla="*/ 131 h 186"/>
                <a:gd name="T56" fmla="*/ 238 w 331"/>
                <a:gd name="T57" fmla="*/ 123 h 186"/>
                <a:gd name="T58" fmla="*/ 245 w 331"/>
                <a:gd name="T59" fmla="*/ 96 h 186"/>
                <a:gd name="T60" fmla="*/ 245 w 331"/>
                <a:gd name="T61" fmla="*/ 78 h 186"/>
                <a:gd name="T62" fmla="*/ 277 w 331"/>
                <a:gd name="T63" fmla="*/ 86 h 186"/>
                <a:gd name="T64" fmla="*/ 282 w 331"/>
                <a:gd name="T65" fmla="*/ 100 h 186"/>
                <a:gd name="T66" fmla="*/ 292 w 331"/>
                <a:gd name="T67" fmla="*/ 94 h 186"/>
                <a:gd name="T68" fmla="*/ 306 w 331"/>
                <a:gd name="T69" fmla="*/ 104 h 186"/>
                <a:gd name="T70" fmla="*/ 324 w 331"/>
                <a:gd name="T71" fmla="*/ 122 h 186"/>
                <a:gd name="T72" fmla="*/ 311 w 331"/>
                <a:gd name="T73" fmla="*/ 131 h 186"/>
                <a:gd name="T74" fmla="*/ 330 w 331"/>
                <a:gd name="T75" fmla="*/ 130 h 186"/>
                <a:gd name="T76" fmla="*/ 308 w 331"/>
                <a:gd name="T77" fmla="*/ 147 h 186"/>
                <a:gd name="T78" fmla="*/ 295 w 331"/>
                <a:gd name="T79" fmla="*/ 156 h 186"/>
                <a:gd name="T80" fmla="*/ 295 w 331"/>
                <a:gd name="T81" fmla="*/ 160 h 186"/>
                <a:gd name="T82" fmla="*/ 313 w 331"/>
                <a:gd name="T83" fmla="*/ 165 h 186"/>
                <a:gd name="T84" fmla="*/ 292 w 331"/>
                <a:gd name="T85" fmla="*/ 180 h 186"/>
                <a:gd name="T86" fmla="*/ 295 w 331"/>
                <a:gd name="T87" fmla="*/ 169 h 186"/>
                <a:gd name="T88" fmla="*/ 274 w 331"/>
                <a:gd name="T89" fmla="*/ 169 h 186"/>
                <a:gd name="T90" fmla="*/ 243 w 331"/>
                <a:gd name="T91" fmla="*/ 176 h 186"/>
                <a:gd name="T92" fmla="*/ 226 w 331"/>
                <a:gd name="T93" fmla="*/ 186 h 186"/>
                <a:gd name="T94" fmla="*/ 235 w 331"/>
                <a:gd name="T95" fmla="*/ 175 h 186"/>
                <a:gd name="T96" fmla="*/ 219 w 331"/>
                <a:gd name="T97" fmla="*/ 165 h 186"/>
                <a:gd name="T98" fmla="*/ 203 w 331"/>
                <a:gd name="T99" fmla="*/ 153 h 186"/>
                <a:gd name="T100" fmla="*/ 183 w 331"/>
                <a:gd name="T101" fmla="*/ 155 h 186"/>
                <a:gd name="T102" fmla="*/ 72 w 331"/>
                <a:gd name="T103" fmla="*/ 152 h 186"/>
                <a:gd name="T104" fmla="*/ 52 w 331"/>
                <a:gd name="T105" fmla="*/ 141 h 186"/>
                <a:gd name="T106" fmla="*/ 41 w 331"/>
                <a:gd name="T107" fmla="*/ 126 h 186"/>
                <a:gd name="T108" fmla="*/ 35 w 331"/>
                <a:gd name="T109" fmla="*/ 119 h 186"/>
                <a:gd name="T110" fmla="*/ 23 w 331"/>
                <a:gd name="T111" fmla="*/ 98 h 186"/>
                <a:gd name="T112" fmla="*/ 8 w 331"/>
                <a:gd name="T113" fmla="*/ 9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1" h="186">
                  <a:moveTo>
                    <a:pt x="0" y="89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2" y="33"/>
                    <a:pt x="3" y="33"/>
                    <a:pt x="4" y="33"/>
                  </a:cubicBezTo>
                  <a:cubicBezTo>
                    <a:pt x="5" y="33"/>
                    <a:pt x="8" y="34"/>
                    <a:pt x="10" y="35"/>
                  </a:cubicBezTo>
                  <a:cubicBezTo>
                    <a:pt x="12" y="36"/>
                    <a:pt x="14" y="37"/>
                    <a:pt x="16" y="38"/>
                  </a:cubicBezTo>
                  <a:cubicBezTo>
                    <a:pt x="18" y="39"/>
                    <a:pt x="20" y="39"/>
                    <a:pt x="21" y="39"/>
                  </a:cubicBezTo>
                  <a:cubicBezTo>
                    <a:pt x="22" y="39"/>
                    <a:pt x="20" y="37"/>
                    <a:pt x="19" y="37"/>
                  </a:cubicBezTo>
                  <a:cubicBezTo>
                    <a:pt x="19" y="36"/>
                    <a:pt x="19" y="35"/>
                    <a:pt x="20" y="34"/>
                  </a:cubicBezTo>
                  <a:cubicBezTo>
                    <a:pt x="21" y="34"/>
                    <a:pt x="24" y="33"/>
                    <a:pt x="25" y="33"/>
                  </a:cubicBezTo>
                  <a:cubicBezTo>
                    <a:pt x="26" y="33"/>
                    <a:pt x="30" y="34"/>
                    <a:pt x="31" y="34"/>
                  </a:cubicBezTo>
                  <a:cubicBezTo>
                    <a:pt x="32" y="34"/>
                    <a:pt x="37" y="30"/>
                    <a:pt x="38" y="30"/>
                  </a:cubicBezTo>
                  <a:cubicBezTo>
                    <a:pt x="38" y="29"/>
                    <a:pt x="42" y="27"/>
                    <a:pt x="43" y="28"/>
                  </a:cubicBezTo>
                  <a:cubicBezTo>
                    <a:pt x="44" y="28"/>
                    <a:pt x="45" y="29"/>
                    <a:pt x="45" y="29"/>
                  </a:cubicBezTo>
                  <a:cubicBezTo>
                    <a:pt x="45" y="30"/>
                    <a:pt x="41" y="31"/>
                    <a:pt x="41" y="32"/>
                  </a:cubicBezTo>
                  <a:cubicBezTo>
                    <a:pt x="41" y="32"/>
                    <a:pt x="41" y="33"/>
                    <a:pt x="42" y="33"/>
                  </a:cubicBezTo>
                  <a:cubicBezTo>
                    <a:pt x="43" y="33"/>
                    <a:pt x="47" y="32"/>
                    <a:pt x="48" y="31"/>
                  </a:cubicBezTo>
                  <a:cubicBezTo>
                    <a:pt x="49" y="31"/>
                    <a:pt x="49" y="29"/>
                    <a:pt x="49" y="29"/>
                  </a:cubicBezTo>
                  <a:cubicBezTo>
                    <a:pt x="49" y="28"/>
                    <a:pt x="48" y="26"/>
                    <a:pt x="49" y="26"/>
                  </a:cubicBezTo>
                  <a:cubicBezTo>
                    <a:pt x="50" y="26"/>
                    <a:pt x="52" y="27"/>
                    <a:pt x="53" y="29"/>
                  </a:cubicBezTo>
                  <a:cubicBezTo>
                    <a:pt x="55" y="30"/>
                    <a:pt x="57" y="33"/>
                    <a:pt x="58" y="34"/>
                  </a:cubicBezTo>
                  <a:cubicBezTo>
                    <a:pt x="59" y="34"/>
                    <a:pt x="60" y="30"/>
                    <a:pt x="60" y="30"/>
                  </a:cubicBezTo>
                  <a:cubicBezTo>
                    <a:pt x="61" y="30"/>
                    <a:pt x="64" y="29"/>
                    <a:pt x="64" y="30"/>
                  </a:cubicBezTo>
                  <a:cubicBezTo>
                    <a:pt x="64" y="31"/>
                    <a:pt x="63" y="34"/>
                    <a:pt x="64" y="35"/>
                  </a:cubicBezTo>
                  <a:cubicBezTo>
                    <a:pt x="64" y="36"/>
                    <a:pt x="67" y="35"/>
                    <a:pt x="68" y="35"/>
                  </a:cubicBezTo>
                  <a:cubicBezTo>
                    <a:pt x="69" y="35"/>
                    <a:pt x="69" y="32"/>
                    <a:pt x="70" y="32"/>
                  </a:cubicBezTo>
                  <a:cubicBezTo>
                    <a:pt x="70" y="32"/>
                    <a:pt x="73" y="31"/>
                    <a:pt x="74" y="31"/>
                  </a:cubicBezTo>
                  <a:cubicBezTo>
                    <a:pt x="76" y="32"/>
                    <a:pt x="77" y="32"/>
                    <a:pt x="79" y="33"/>
                  </a:cubicBezTo>
                  <a:cubicBezTo>
                    <a:pt x="81" y="34"/>
                    <a:pt x="87" y="36"/>
                    <a:pt x="88" y="37"/>
                  </a:cubicBezTo>
                  <a:cubicBezTo>
                    <a:pt x="90" y="37"/>
                    <a:pt x="93" y="38"/>
                    <a:pt x="94" y="38"/>
                  </a:cubicBezTo>
                  <a:cubicBezTo>
                    <a:pt x="95" y="39"/>
                    <a:pt x="96" y="37"/>
                    <a:pt x="97" y="37"/>
                  </a:cubicBezTo>
                  <a:cubicBezTo>
                    <a:pt x="98" y="38"/>
                    <a:pt x="102" y="39"/>
                    <a:pt x="103" y="39"/>
                  </a:cubicBezTo>
                  <a:cubicBezTo>
                    <a:pt x="104" y="40"/>
                    <a:pt x="105" y="42"/>
                    <a:pt x="105" y="42"/>
                  </a:cubicBezTo>
                  <a:cubicBezTo>
                    <a:pt x="104" y="42"/>
                    <a:pt x="101" y="42"/>
                    <a:pt x="100" y="42"/>
                  </a:cubicBezTo>
                  <a:cubicBezTo>
                    <a:pt x="100" y="42"/>
                    <a:pt x="99" y="45"/>
                    <a:pt x="100" y="45"/>
                  </a:cubicBezTo>
                  <a:cubicBezTo>
                    <a:pt x="100" y="45"/>
                    <a:pt x="106" y="46"/>
                    <a:pt x="107" y="46"/>
                  </a:cubicBezTo>
                  <a:cubicBezTo>
                    <a:pt x="108" y="46"/>
                    <a:pt x="116" y="45"/>
                    <a:pt x="117" y="45"/>
                  </a:cubicBezTo>
                  <a:cubicBezTo>
                    <a:pt x="119" y="45"/>
                    <a:pt x="120" y="44"/>
                    <a:pt x="121" y="44"/>
                  </a:cubicBezTo>
                  <a:cubicBezTo>
                    <a:pt x="123" y="45"/>
                    <a:pt x="126" y="53"/>
                    <a:pt x="129" y="53"/>
                  </a:cubicBezTo>
                  <a:cubicBezTo>
                    <a:pt x="129" y="53"/>
                    <a:pt x="130" y="52"/>
                    <a:pt x="129" y="50"/>
                  </a:cubicBezTo>
                  <a:cubicBezTo>
                    <a:pt x="127" y="45"/>
                    <a:pt x="132" y="45"/>
                    <a:pt x="130" y="43"/>
                  </a:cubicBezTo>
                  <a:cubicBezTo>
                    <a:pt x="129" y="42"/>
                    <a:pt x="126" y="43"/>
                    <a:pt x="126" y="42"/>
                  </a:cubicBezTo>
                  <a:cubicBezTo>
                    <a:pt x="127" y="39"/>
                    <a:pt x="133" y="39"/>
                    <a:pt x="135" y="39"/>
                  </a:cubicBezTo>
                  <a:cubicBezTo>
                    <a:pt x="136" y="39"/>
                    <a:pt x="138" y="39"/>
                    <a:pt x="138" y="40"/>
                  </a:cubicBezTo>
                  <a:cubicBezTo>
                    <a:pt x="139" y="41"/>
                    <a:pt x="141" y="42"/>
                    <a:pt x="142" y="43"/>
                  </a:cubicBezTo>
                  <a:cubicBezTo>
                    <a:pt x="143" y="44"/>
                    <a:pt x="145" y="43"/>
                    <a:pt x="146" y="43"/>
                  </a:cubicBezTo>
                  <a:cubicBezTo>
                    <a:pt x="147" y="43"/>
                    <a:pt x="148" y="45"/>
                    <a:pt x="149" y="45"/>
                  </a:cubicBezTo>
                  <a:cubicBezTo>
                    <a:pt x="150" y="46"/>
                    <a:pt x="152" y="46"/>
                    <a:pt x="153" y="46"/>
                  </a:cubicBezTo>
                  <a:cubicBezTo>
                    <a:pt x="154" y="46"/>
                    <a:pt x="157" y="45"/>
                    <a:pt x="158" y="45"/>
                  </a:cubicBezTo>
                  <a:cubicBezTo>
                    <a:pt x="159" y="45"/>
                    <a:pt x="160" y="46"/>
                    <a:pt x="161" y="46"/>
                  </a:cubicBezTo>
                  <a:cubicBezTo>
                    <a:pt x="162" y="47"/>
                    <a:pt x="164" y="46"/>
                    <a:pt x="165" y="46"/>
                  </a:cubicBezTo>
                  <a:cubicBezTo>
                    <a:pt x="165" y="45"/>
                    <a:pt x="163" y="44"/>
                    <a:pt x="163" y="43"/>
                  </a:cubicBezTo>
                  <a:cubicBezTo>
                    <a:pt x="163" y="42"/>
                    <a:pt x="163" y="41"/>
                    <a:pt x="164" y="41"/>
                  </a:cubicBezTo>
                  <a:cubicBezTo>
                    <a:pt x="165" y="41"/>
                    <a:pt x="167" y="40"/>
                    <a:pt x="167" y="39"/>
                  </a:cubicBezTo>
                  <a:cubicBezTo>
                    <a:pt x="167" y="39"/>
                    <a:pt x="164" y="38"/>
                    <a:pt x="162" y="38"/>
                  </a:cubicBezTo>
                  <a:cubicBezTo>
                    <a:pt x="161" y="38"/>
                    <a:pt x="160" y="37"/>
                    <a:pt x="161" y="36"/>
                  </a:cubicBezTo>
                  <a:cubicBezTo>
                    <a:pt x="162" y="36"/>
                    <a:pt x="164" y="35"/>
                    <a:pt x="165" y="34"/>
                  </a:cubicBezTo>
                  <a:cubicBezTo>
                    <a:pt x="165" y="34"/>
                    <a:pt x="166" y="31"/>
                    <a:pt x="167" y="31"/>
                  </a:cubicBezTo>
                  <a:cubicBezTo>
                    <a:pt x="168" y="31"/>
                    <a:pt x="170" y="33"/>
                    <a:pt x="170" y="33"/>
                  </a:cubicBezTo>
                  <a:cubicBezTo>
                    <a:pt x="171" y="34"/>
                    <a:pt x="172" y="34"/>
                    <a:pt x="173" y="34"/>
                  </a:cubicBezTo>
                  <a:cubicBezTo>
                    <a:pt x="174" y="34"/>
                    <a:pt x="175" y="36"/>
                    <a:pt x="175" y="36"/>
                  </a:cubicBezTo>
                  <a:cubicBezTo>
                    <a:pt x="175" y="37"/>
                    <a:pt x="176" y="39"/>
                    <a:pt x="176" y="39"/>
                  </a:cubicBezTo>
                  <a:cubicBezTo>
                    <a:pt x="175" y="39"/>
                    <a:pt x="171" y="39"/>
                    <a:pt x="171" y="39"/>
                  </a:cubicBezTo>
                  <a:cubicBezTo>
                    <a:pt x="170" y="39"/>
                    <a:pt x="169" y="40"/>
                    <a:pt x="170" y="41"/>
                  </a:cubicBezTo>
                  <a:cubicBezTo>
                    <a:pt x="170" y="41"/>
                    <a:pt x="174" y="42"/>
                    <a:pt x="174" y="42"/>
                  </a:cubicBezTo>
                  <a:cubicBezTo>
                    <a:pt x="174" y="43"/>
                    <a:pt x="172" y="47"/>
                    <a:pt x="173" y="48"/>
                  </a:cubicBezTo>
                  <a:cubicBezTo>
                    <a:pt x="173" y="48"/>
                    <a:pt x="178" y="49"/>
                    <a:pt x="178" y="49"/>
                  </a:cubicBezTo>
                  <a:cubicBezTo>
                    <a:pt x="178" y="48"/>
                    <a:pt x="176" y="46"/>
                    <a:pt x="176" y="46"/>
                  </a:cubicBezTo>
                  <a:cubicBezTo>
                    <a:pt x="176" y="45"/>
                    <a:pt x="177" y="44"/>
                    <a:pt x="177" y="44"/>
                  </a:cubicBezTo>
                  <a:cubicBezTo>
                    <a:pt x="177" y="43"/>
                    <a:pt x="179" y="44"/>
                    <a:pt x="180" y="44"/>
                  </a:cubicBezTo>
                  <a:cubicBezTo>
                    <a:pt x="181" y="43"/>
                    <a:pt x="183" y="42"/>
                    <a:pt x="183" y="41"/>
                  </a:cubicBezTo>
                  <a:cubicBezTo>
                    <a:pt x="183" y="40"/>
                    <a:pt x="184" y="39"/>
                    <a:pt x="184" y="39"/>
                  </a:cubicBezTo>
                  <a:cubicBezTo>
                    <a:pt x="183" y="38"/>
                    <a:pt x="182" y="39"/>
                    <a:pt x="181" y="39"/>
                  </a:cubicBezTo>
                  <a:cubicBezTo>
                    <a:pt x="181" y="39"/>
                    <a:pt x="181" y="38"/>
                    <a:pt x="181" y="37"/>
                  </a:cubicBezTo>
                  <a:cubicBezTo>
                    <a:pt x="182" y="36"/>
                    <a:pt x="184" y="35"/>
                    <a:pt x="184" y="35"/>
                  </a:cubicBezTo>
                  <a:cubicBezTo>
                    <a:pt x="184" y="34"/>
                    <a:pt x="183" y="34"/>
                    <a:pt x="182" y="34"/>
                  </a:cubicBezTo>
                  <a:cubicBezTo>
                    <a:pt x="181" y="34"/>
                    <a:pt x="180" y="32"/>
                    <a:pt x="180" y="32"/>
                  </a:cubicBezTo>
                  <a:cubicBezTo>
                    <a:pt x="179" y="32"/>
                    <a:pt x="177" y="32"/>
                    <a:pt x="176" y="32"/>
                  </a:cubicBezTo>
                  <a:cubicBezTo>
                    <a:pt x="175" y="32"/>
                    <a:pt x="173" y="30"/>
                    <a:pt x="173" y="29"/>
                  </a:cubicBezTo>
                  <a:cubicBezTo>
                    <a:pt x="172" y="29"/>
                    <a:pt x="173" y="27"/>
                    <a:pt x="174" y="27"/>
                  </a:cubicBezTo>
                  <a:cubicBezTo>
                    <a:pt x="174" y="26"/>
                    <a:pt x="173" y="26"/>
                    <a:pt x="173" y="25"/>
                  </a:cubicBezTo>
                  <a:cubicBezTo>
                    <a:pt x="172" y="25"/>
                    <a:pt x="173" y="23"/>
                    <a:pt x="173" y="22"/>
                  </a:cubicBezTo>
                  <a:cubicBezTo>
                    <a:pt x="173" y="21"/>
                    <a:pt x="175" y="22"/>
                    <a:pt x="176" y="22"/>
                  </a:cubicBezTo>
                  <a:cubicBezTo>
                    <a:pt x="176" y="22"/>
                    <a:pt x="176" y="21"/>
                    <a:pt x="176" y="21"/>
                  </a:cubicBezTo>
                  <a:cubicBezTo>
                    <a:pt x="177" y="20"/>
                    <a:pt x="174" y="20"/>
                    <a:pt x="175" y="19"/>
                  </a:cubicBezTo>
                  <a:cubicBezTo>
                    <a:pt x="176" y="18"/>
                    <a:pt x="177" y="14"/>
                    <a:pt x="177" y="13"/>
                  </a:cubicBezTo>
                  <a:cubicBezTo>
                    <a:pt x="177" y="12"/>
                    <a:pt x="176" y="11"/>
                    <a:pt x="176" y="11"/>
                  </a:cubicBezTo>
                  <a:cubicBezTo>
                    <a:pt x="175" y="10"/>
                    <a:pt x="176" y="9"/>
                    <a:pt x="176" y="8"/>
                  </a:cubicBezTo>
                  <a:cubicBezTo>
                    <a:pt x="176" y="8"/>
                    <a:pt x="176" y="6"/>
                    <a:pt x="176" y="5"/>
                  </a:cubicBezTo>
                  <a:cubicBezTo>
                    <a:pt x="176" y="4"/>
                    <a:pt x="178" y="5"/>
                    <a:pt x="179" y="4"/>
                  </a:cubicBezTo>
                  <a:cubicBezTo>
                    <a:pt x="179" y="4"/>
                    <a:pt x="178" y="3"/>
                    <a:pt x="177" y="2"/>
                  </a:cubicBezTo>
                  <a:cubicBezTo>
                    <a:pt x="177" y="1"/>
                    <a:pt x="178" y="0"/>
                    <a:pt x="179" y="0"/>
                  </a:cubicBezTo>
                  <a:cubicBezTo>
                    <a:pt x="181" y="0"/>
                    <a:pt x="185" y="0"/>
                    <a:pt x="186" y="0"/>
                  </a:cubicBezTo>
                  <a:cubicBezTo>
                    <a:pt x="187" y="0"/>
                    <a:pt x="188" y="2"/>
                    <a:pt x="189" y="2"/>
                  </a:cubicBezTo>
                  <a:cubicBezTo>
                    <a:pt x="190" y="2"/>
                    <a:pt x="191" y="1"/>
                    <a:pt x="193" y="1"/>
                  </a:cubicBezTo>
                  <a:cubicBezTo>
                    <a:pt x="195" y="1"/>
                    <a:pt x="197" y="2"/>
                    <a:pt x="197" y="2"/>
                  </a:cubicBezTo>
                  <a:cubicBezTo>
                    <a:pt x="197" y="3"/>
                    <a:pt x="194" y="5"/>
                    <a:pt x="193" y="6"/>
                  </a:cubicBezTo>
                  <a:cubicBezTo>
                    <a:pt x="192" y="8"/>
                    <a:pt x="191" y="9"/>
                    <a:pt x="190" y="10"/>
                  </a:cubicBezTo>
                  <a:cubicBezTo>
                    <a:pt x="188" y="11"/>
                    <a:pt x="183" y="9"/>
                    <a:pt x="182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4" y="12"/>
                    <a:pt x="184" y="14"/>
                    <a:pt x="184" y="14"/>
                  </a:cubicBezTo>
                  <a:cubicBezTo>
                    <a:pt x="183" y="15"/>
                    <a:pt x="181" y="16"/>
                    <a:pt x="181" y="17"/>
                  </a:cubicBezTo>
                  <a:cubicBezTo>
                    <a:pt x="181" y="18"/>
                    <a:pt x="184" y="19"/>
                    <a:pt x="186" y="20"/>
                  </a:cubicBezTo>
                  <a:cubicBezTo>
                    <a:pt x="187" y="22"/>
                    <a:pt x="186" y="23"/>
                    <a:pt x="186" y="24"/>
                  </a:cubicBezTo>
                  <a:cubicBezTo>
                    <a:pt x="186" y="25"/>
                    <a:pt x="187" y="25"/>
                    <a:pt x="188" y="26"/>
                  </a:cubicBezTo>
                  <a:cubicBezTo>
                    <a:pt x="190" y="26"/>
                    <a:pt x="191" y="28"/>
                    <a:pt x="191" y="28"/>
                  </a:cubicBezTo>
                  <a:cubicBezTo>
                    <a:pt x="191" y="29"/>
                    <a:pt x="187" y="32"/>
                    <a:pt x="187" y="32"/>
                  </a:cubicBezTo>
                  <a:cubicBezTo>
                    <a:pt x="187" y="32"/>
                    <a:pt x="191" y="33"/>
                    <a:pt x="192" y="33"/>
                  </a:cubicBezTo>
                  <a:cubicBezTo>
                    <a:pt x="192" y="32"/>
                    <a:pt x="195" y="33"/>
                    <a:pt x="196" y="34"/>
                  </a:cubicBezTo>
                  <a:cubicBezTo>
                    <a:pt x="196" y="35"/>
                    <a:pt x="194" y="35"/>
                    <a:pt x="195" y="37"/>
                  </a:cubicBezTo>
                  <a:cubicBezTo>
                    <a:pt x="197" y="38"/>
                    <a:pt x="194" y="41"/>
                    <a:pt x="197" y="41"/>
                  </a:cubicBezTo>
                  <a:cubicBezTo>
                    <a:pt x="198" y="40"/>
                    <a:pt x="198" y="37"/>
                    <a:pt x="198" y="37"/>
                  </a:cubicBezTo>
                  <a:cubicBezTo>
                    <a:pt x="198" y="37"/>
                    <a:pt x="200" y="35"/>
                    <a:pt x="201" y="35"/>
                  </a:cubicBezTo>
                  <a:cubicBezTo>
                    <a:pt x="202" y="35"/>
                    <a:pt x="205" y="37"/>
                    <a:pt x="206" y="38"/>
                  </a:cubicBezTo>
                  <a:cubicBezTo>
                    <a:pt x="207" y="40"/>
                    <a:pt x="207" y="42"/>
                    <a:pt x="206" y="42"/>
                  </a:cubicBezTo>
                  <a:cubicBezTo>
                    <a:pt x="206" y="43"/>
                    <a:pt x="204" y="41"/>
                    <a:pt x="204" y="43"/>
                  </a:cubicBezTo>
                  <a:cubicBezTo>
                    <a:pt x="204" y="45"/>
                    <a:pt x="207" y="49"/>
                    <a:pt x="208" y="49"/>
                  </a:cubicBezTo>
                  <a:cubicBezTo>
                    <a:pt x="209" y="49"/>
                    <a:pt x="211" y="49"/>
                    <a:pt x="211" y="48"/>
                  </a:cubicBezTo>
                  <a:cubicBezTo>
                    <a:pt x="211" y="47"/>
                    <a:pt x="212" y="46"/>
                    <a:pt x="212" y="45"/>
                  </a:cubicBezTo>
                  <a:cubicBezTo>
                    <a:pt x="213" y="45"/>
                    <a:pt x="214" y="42"/>
                    <a:pt x="214" y="41"/>
                  </a:cubicBezTo>
                  <a:cubicBezTo>
                    <a:pt x="214" y="40"/>
                    <a:pt x="217" y="39"/>
                    <a:pt x="217" y="39"/>
                  </a:cubicBezTo>
                  <a:cubicBezTo>
                    <a:pt x="217" y="39"/>
                    <a:pt x="217" y="38"/>
                    <a:pt x="217" y="37"/>
                  </a:cubicBezTo>
                  <a:cubicBezTo>
                    <a:pt x="216" y="36"/>
                    <a:pt x="214" y="34"/>
                    <a:pt x="215" y="33"/>
                  </a:cubicBezTo>
                  <a:cubicBezTo>
                    <a:pt x="216" y="32"/>
                    <a:pt x="218" y="32"/>
                    <a:pt x="219" y="32"/>
                  </a:cubicBezTo>
                  <a:cubicBezTo>
                    <a:pt x="220" y="32"/>
                    <a:pt x="222" y="33"/>
                    <a:pt x="223" y="33"/>
                  </a:cubicBezTo>
                  <a:cubicBezTo>
                    <a:pt x="224" y="33"/>
                    <a:pt x="226" y="33"/>
                    <a:pt x="226" y="34"/>
                  </a:cubicBezTo>
                  <a:cubicBezTo>
                    <a:pt x="227" y="34"/>
                    <a:pt x="231" y="36"/>
                    <a:pt x="231" y="36"/>
                  </a:cubicBezTo>
                  <a:cubicBezTo>
                    <a:pt x="231" y="37"/>
                    <a:pt x="231" y="38"/>
                    <a:pt x="231" y="40"/>
                  </a:cubicBezTo>
                  <a:cubicBezTo>
                    <a:pt x="231" y="41"/>
                    <a:pt x="227" y="40"/>
                    <a:pt x="226" y="41"/>
                  </a:cubicBezTo>
                  <a:cubicBezTo>
                    <a:pt x="226" y="41"/>
                    <a:pt x="232" y="47"/>
                    <a:pt x="232" y="48"/>
                  </a:cubicBezTo>
                  <a:cubicBezTo>
                    <a:pt x="232" y="48"/>
                    <a:pt x="231" y="51"/>
                    <a:pt x="230" y="51"/>
                  </a:cubicBezTo>
                  <a:cubicBezTo>
                    <a:pt x="229" y="51"/>
                    <a:pt x="227" y="53"/>
                    <a:pt x="226" y="54"/>
                  </a:cubicBezTo>
                  <a:cubicBezTo>
                    <a:pt x="225" y="54"/>
                    <a:pt x="224" y="54"/>
                    <a:pt x="224" y="55"/>
                  </a:cubicBezTo>
                  <a:cubicBezTo>
                    <a:pt x="223" y="55"/>
                    <a:pt x="225" y="57"/>
                    <a:pt x="222" y="58"/>
                  </a:cubicBezTo>
                  <a:cubicBezTo>
                    <a:pt x="221" y="59"/>
                    <a:pt x="220" y="56"/>
                    <a:pt x="219" y="56"/>
                  </a:cubicBezTo>
                  <a:cubicBezTo>
                    <a:pt x="218" y="55"/>
                    <a:pt x="218" y="53"/>
                    <a:pt x="216" y="53"/>
                  </a:cubicBezTo>
                  <a:cubicBezTo>
                    <a:pt x="214" y="53"/>
                    <a:pt x="211" y="53"/>
                    <a:pt x="210" y="54"/>
                  </a:cubicBezTo>
                  <a:cubicBezTo>
                    <a:pt x="210" y="54"/>
                    <a:pt x="213" y="56"/>
                    <a:pt x="213" y="56"/>
                  </a:cubicBezTo>
                  <a:cubicBezTo>
                    <a:pt x="213" y="57"/>
                    <a:pt x="211" y="59"/>
                    <a:pt x="211" y="59"/>
                  </a:cubicBezTo>
                  <a:cubicBezTo>
                    <a:pt x="210" y="59"/>
                    <a:pt x="206" y="60"/>
                    <a:pt x="205" y="59"/>
                  </a:cubicBezTo>
                  <a:cubicBezTo>
                    <a:pt x="204" y="59"/>
                    <a:pt x="201" y="57"/>
                    <a:pt x="199" y="57"/>
                  </a:cubicBezTo>
                  <a:cubicBezTo>
                    <a:pt x="198" y="57"/>
                    <a:pt x="197" y="57"/>
                    <a:pt x="197" y="58"/>
                  </a:cubicBezTo>
                  <a:cubicBezTo>
                    <a:pt x="197" y="58"/>
                    <a:pt x="198" y="60"/>
                    <a:pt x="199" y="60"/>
                  </a:cubicBezTo>
                  <a:cubicBezTo>
                    <a:pt x="201" y="61"/>
                    <a:pt x="203" y="62"/>
                    <a:pt x="205" y="62"/>
                  </a:cubicBezTo>
                  <a:cubicBezTo>
                    <a:pt x="206" y="62"/>
                    <a:pt x="208" y="62"/>
                    <a:pt x="209" y="62"/>
                  </a:cubicBezTo>
                  <a:cubicBezTo>
                    <a:pt x="209" y="63"/>
                    <a:pt x="210" y="63"/>
                    <a:pt x="209" y="63"/>
                  </a:cubicBezTo>
                  <a:cubicBezTo>
                    <a:pt x="209" y="64"/>
                    <a:pt x="208" y="65"/>
                    <a:pt x="207" y="66"/>
                  </a:cubicBezTo>
                  <a:cubicBezTo>
                    <a:pt x="207" y="67"/>
                    <a:pt x="204" y="69"/>
                    <a:pt x="203" y="70"/>
                  </a:cubicBezTo>
                  <a:cubicBezTo>
                    <a:pt x="202" y="70"/>
                    <a:pt x="199" y="68"/>
                    <a:pt x="198" y="69"/>
                  </a:cubicBezTo>
                  <a:cubicBezTo>
                    <a:pt x="198" y="69"/>
                    <a:pt x="197" y="71"/>
                    <a:pt x="196" y="71"/>
                  </a:cubicBezTo>
                  <a:cubicBezTo>
                    <a:pt x="194" y="72"/>
                    <a:pt x="193" y="72"/>
                    <a:pt x="193" y="72"/>
                  </a:cubicBezTo>
                  <a:cubicBezTo>
                    <a:pt x="193" y="73"/>
                    <a:pt x="195" y="75"/>
                    <a:pt x="195" y="76"/>
                  </a:cubicBezTo>
                  <a:cubicBezTo>
                    <a:pt x="195" y="77"/>
                    <a:pt x="191" y="78"/>
                    <a:pt x="190" y="79"/>
                  </a:cubicBezTo>
                  <a:cubicBezTo>
                    <a:pt x="189" y="80"/>
                    <a:pt x="187" y="80"/>
                    <a:pt x="186" y="81"/>
                  </a:cubicBezTo>
                  <a:cubicBezTo>
                    <a:pt x="185" y="81"/>
                    <a:pt x="186" y="84"/>
                    <a:pt x="185" y="84"/>
                  </a:cubicBezTo>
                  <a:cubicBezTo>
                    <a:pt x="184" y="84"/>
                    <a:pt x="182" y="88"/>
                    <a:pt x="180" y="90"/>
                  </a:cubicBezTo>
                  <a:cubicBezTo>
                    <a:pt x="179" y="92"/>
                    <a:pt x="178" y="98"/>
                    <a:pt x="179" y="98"/>
                  </a:cubicBezTo>
                  <a:cubicBezTo>
                    <a:pt x="179" y="99"/>
                    <a:pt x="179" y="101"/>
                    <a:pt x="180" y="101"/>
                  </a:cubicBezTo>
                  <a:cubicBezTo>
                    <a:pt x="181" y="101"/>
                    <a:pt x="184" y="100"/>
                    <a:pt x="185" y="101"/>
                  </a:cubicBezTo>
                  <a:cubicBezTo>
                    <a:pt x="186" y="102"/>
                    <a:pt x="186" y="105"/>
                    <a:pt x="187" y="106"/>
                  </a:cubicBezTo>
                  <a:cubicBezTo>
                    <a:pt x="188" y="108"/>
                    <a:pt x="187" y="110"/>
                    <a:pt x="187" y="111"/>
                  </a:cubicBezTo>
                  <a:cubicBezTo>
                    <a:pt x="188" y="111"/>
                    <a:pt x="189" y="110"/>
                    <a:pt x="191" y="110"/>
                  </a:cubicBezTo>
                  <a:cubicBezTo>
                    <a:pt x="192" y="110"/>
                    <a:pt x="195" y="109"/>
                    <a:pt x="196" y="110"/>
                  </a:cubicBezTo>
                  <a:cubicBezTo>
                    <a:pt x="198" y="111"/>
                    <a:pt x="202" y="111"/>
                    <a:pt x="203" y="112"/>
                  </a:cubicBezTo>
                  <a:cubicBezTo>
                    <a:pt x="205" y="113"/>
                    <a:pt x="206" y="113"/>
                    <a:pt x="207" y="115"/>
                  </a:cubicBezTo>
                  <a:cubicBezTo>
                    <a:pt x="208" y="117"/>
                    <a:pt x="211" y="116"/>
                    <a:pt x="214" y="119"/>
                  </a:cubicBezTo>
                  <a:cubicBezTo>
                    <a:pt x="218" y="121"/>
                    <a:pt x="220" y="120"/>
                    <a:pt x="222" y="120"/>
                  </a:cubicBezTo>
                  <a:cubicBezTo>
                    <a:pt x="225" y="120"/>
                    <a:pt x="227" y="120"/>
                    <a:pt x="228" y="122"/>
                  </a:cubicBezTo>
                  <a:cubicBezTo>
                    <a:pt x="228" y="123"/>
                    <a:pt x="228" y="129"/>
                    <a:pt x="228" y="131"/>
                  </a:cubicBezTo>
                  <a:cubicBezTo>
                    <a:pt x="228" y="133"/>
                    <a:pt x="228" y="133"/>
                    <a:pt x="229" y="135"/>
                  </a:cubicBezTo>
                  <a:cubicBezTo>
                    <a:pt x="230" y="136"/>
                    <a:pt x="233" y="137"/>
                    <a:pt x="234" y="138"/>
                  </a:cubicBezTo>
                  <a:cubicBezTo>
                    <a:pt x="235" y="139"/>
                    <a:pt x="235" y="142"/>
                    <a:pt x="237" y="141"/>
                  </a:cubicBezTo>
                  <a:cubicBezTo>
                    <a:pt x="239" y="141"/>
                    <a:pt x="241" y="138"/>
                    <a:pt x="242" y="136"/>
                  </a:cubicBezTo>
                  <a:cubicBezTo>
                    <a:pt x="243" y="134"/>
                    <a:pt x="240" y="129"/>
                    <a:pt x="239" y="127"/>
                  </a:cubicBezTo>
                  <a:cubicBezTo>
                    <a:pt x="239" y="125"/>
                    <a:pt x="237" y="123"/>
                    <a:pt x="238" y="123"/>
                  </a:cubicBezTo>
                  <a:cubicBezTo>
                    <a:pt x="238" y="122"/>
                    <a:pt x="241" y="122"/>
                    <a:pt x="242" y="122"/>
                  </a:cubicBezTo>
                  <a:cubicBezTo>
                    <a:pt x="243" y="121"/>
                    <a:pt x="247" y="117"/>
                    <a:pt x="249" y="116"/>
                  </a:cubicBezTo>
                  <a:cubicBezTo>
                    <a:pt x="250" y="114"/>
                    <a:pt x="249" y="110"/>
                    <a:pt x="249" y="108"/>
                  </a:cubicBezTo>
                  <a:cubicBezTo>
                    <a:pt x="249" y="107"/>
                    <a:pt x="246" y="104"/>
                    <a:pt x="245" y="104"/>
                  </a:cubicBezTo>
                  <a:cubicBezTo>
                    <a:pt x="243" y="103"/>
                    <a:pt x="241" y="102"/>
                    <a:pt x="241" y="101"/>
                  </a:cubicBezTo>
                  <a:cubicBezTo>
                    <a:pt x="241" y="99"/>
                    <a:pt x="244" y="97"/>
                    <a:pt x="245" y="96"/>
                  </a:cubicBezTo>
                  <a:cubicBezTo>
                    <a:pt x="246" y="95"/>
                    <a:pt x="245" y="93"/>
                    <a:pt x="245" y="92"/>
                  </a:cubicBezTo>
                  <a:cubicBezTo>
                    <a:pt x="245" y="91"/>
                    <a:pt x="242" y="90"/>
                    <a:pt x="242" y="89"/>
                  </a:cubicBezTo>
                  <a:cubicBezTo>
                    <a:pt x="242" y="89"/>
                    <a:pt x="243" y="88"/>
                    <a:pt x="244" y="88"/>
                  </a:cubicBezTo>
                  <a:cubicBezTo>
                    <a:pt x="245" y="87"/>
                    <a:pt x="245" y="86"/>
                    <a:pt x="244" y="84"/>
                  </a:cubicBezTo>
                  <a:cubicBezTo>
                    <a:pt x="243" y="83"/>
                    <a:pt x="243" y="81"/>
                    <a:pt x="243" y="81"/>
                  </a:cubicBezTo>
                  <a:cubicBezTo>
                    <a:pt x="243" y="80"/>
                    <a:pt x="244" y="78"/>
                    <a:pt x="245" y="78"/>
                  </a:cubicBezTo>
                  <a:cubicBezTo>
                    <a:pt x="248" y="78"/>
                    <a:pt x="255" y="80"/>
                    <a:pt x="257" y="81"/>
                  </a:cubicBezTo>
                  <a:cubicBezTo>
                    <a:pt x="259" y="81"/>
                    <a:pt x="260" y="78"/>
                    <a:pt x="261" y="79"/>
                  </a:cubicBezTo>
                  <a:cubicBezTo>
                    <a:pt x="261" y="80"/>
                    <a:pt x="265" y="81"/>
                    <a:pt x="266" y="81"/>
                  </a:cubicBezTo>
                  <a:cubicBezTo>
                    <a:pt x="267" y="83"/>
                    <a:pt x="268" y="84"/>
                    <a:pt x="269" y="85"/>
                  </a:cubicBezTo>
                  <a:cubicBezTo>
                    <a:pt x="269" y="87"/>
                    <a:pt x="273" y="87"/>
                    <a:pt x="274" y="88"/>
                  </a:cubicBezTo>
                  <a:cubicBezTo>
                    <a:pt x="277" y="88"/>
                    <a:pt x="275" y="85"/>
                    <a:pt x="277" y="86"/>
                  </a:cubicBezTo>
                  <a:cubicBezTo>
                    <a:pt x="277" y="86"/>
                    <a:pt x="278" y="87"/>
                    <a:pt x="278" y="87"/>
                  </a:cubicBezTo>
                  <a:cubicBezTo>
                    <a:pt x="279" y="88"/>
                    <a:pt x="277" y="91"/>
                    <a:pt x="277" y="91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7" y="95"/>
                    <a:pt x="277" y="96"/>
                  </a:cubicBezTo>
                  <a:cubicBezTo>
                    <a:pt x="277" y="97"/>
                    <a:pt x="278" y="98"/>
                    <a:pt x="278" y="99"/>
                  </a:cubicBezTo>
                  <a:cubicBezTo>
                    <a:pt x="279" y="100"/>
                    <a:pt x="281" y="99"/>
                    <a:pt x="282" y="100"/>
                  </a:cubicBezTo>
                  <a:cubicBezTo>
                    <a:pt x="282" y="100"/>
                    <a:pt x="283" y="103"/>
                    <a:pt x="284" y="103"/>
                  </a:cubicBezTo>
                  <a:cubicBezTo>
                    <a:pt x="285" y="103"/>
                    <a:pt x="287" y="103"/>
                    <a:pt x="288" y="102"/>
                  </a:cubicBezTo>
                  <a:cubicBezTo>
                    <a:pt x="288" y="102"/>
                    <a:pt x="288" y="100"/>
                    <a:pt x="289" y="100"/>
                  </a:cubicBezTo>
                  <a:cubicBezTo>
                    <a:pt x="289" y="100"/>
                    <a:pt x="291" y="100"/>
                    <a:pt x="291" y="99"/>
                  </a:cubicBezTo>
                  <a:cubicBezTo>
                    <a:pt x="292" y="99"/>
                    <a:pt x="293" y="98"/>
                    <a:pt x="293" y="97"/>
                  </a:cubicBezTo>
                  <a:cubicBezTo>
                    <a:pt x="293" y="96"/>
                    <a:pt x="291" y="95"/>
                    <a:pt x="292" y="94"/>
                  </a:cubicBezTo>
                  <a:cubicBezTo>
                    <a:pt x="293" y="93"/>
                    <a:pt x="293" y="94"/>
                    <a:pt x="294" y="93"/>
                  </a:cubicBezTo>
                  <a:cubicBezTo>
                    <a:pt x="294" y="92"/>
                    <a:pt x="294" y="90"/>
                    <a:pt x="295" y="90"/>
                  </a:cubicBezTo>
                  <a:cubicBezTo>
                    <a:pt x="295" y="90"/>
                    <a:pt x="296" y="89"/>
                    <a:pt x="296" y="89"/>
                  </a:cubicBezTo>
                  <a:cubicBezTo>
                    <a:pt x="296" y="90"/>
                    <a:pt x="297" y="91"/>
                    <a:pt x="297" y="92"/>
                  </a:cubicBezTo>
                  <a:cubicBezTo>
                    <a:pt x="297" y="92"/>
                    <a:pt x="300" y="97"/>
                    <a:pt x="301" y="99"/>
                  </a:cubicBezTo>
                  <a:cubicBezTo>
                    <a:pt x="302" y="100"/>
                    <a:pt x="304" y="103"/>
                    <a:pt x="306" y="104"/>
                  </a:cubicBezTo>
                  <a:cubicBezTo>
                    <a:pt x="307" y="105"/>
                    <a:pt x="305" y="106"/>
                    <a:pt x="307" y="107"/>
                  </a:cubicBezTo>
                  <a:cubicBezTo>
                    <a:pt x="308" y="108"/>
                    <a:pt x="309" y="109"/>
                    <a:pt x="310" y="110"/>
                  </a:cubicBezTo>
                  <a:cubicBezTo>
                    <a:pt x="310" y="112"/>
                    <a:pt x="308" y="113"/>
                    <a:pt x="309" y="114"/>
                  </a:cubicBezTo>
                  <a:cubicBezTo>
                    <a:pt x="309" y="116"/>
                    <a:pt x="312" y="117"/>
                    <a:pt x="313" y="118"/>
                  </a:cubicBezTo>
                  <a:cubicBezTo>
                    <a:pt x="314" y="119"/>
                    <a:pt x="316" y="120"/>
                    <a:pt x="317" y="120"/>
                  </a:cubicBezTo>
                  <a:cubicBezTo>
                    <a:pt x="319" y="121"/>
                    <a:pt x="323" y="122"/>
                    <a:pt x="324" y="122"/>
                  </a:cubicBezTo>
                  <a:cubicBezTo>
                    <a:pt x="325" y="123"/>
                    <a:pt x="325" y="124"/>
                    <a:pt x="324" y="124"/>
                  </a:cubicBezTo>
                  <a:cubicBezTo>
                    <a:pt x="324" y="124"/>
                    <a:pt x="322" y="124"/>
                    <a:pt x="321" y="124"/>
                  </a:cubicBezTo>
                  <a:cubicBezTo>
                    <a:pt x="320" y="125"/>
                    <a:pt x="318" y="126"/>
                    <a:pt x="317" y="126"/>
                  </a:cubicBezTo>
                  <a:cubicBezTo>
                    <a:pt x="316" y="126"/>
                    <a:pt x="315" y="127"/>
                    <a:pt x="314" y="127"/>
                  </a:cubicBezTo>
                  <a:cubicBezTo>
                    <a:pt x="313" y="127"/>
                    <a:pt x="313" y="129"/>
                    <a:pt x="312" y="129"/>
                  </a:cubicBezTo>
                  <a:cubicBezTo>
                    <a:pt x="312" y="130"/>
                    <a:pt x="310" y="131"/>
                    <a:pt x="311" y="131"/>
                  </a:cubicBezTo>
                  <a:cubicBezTo>
                    <a:pt x="313" y="131"/>
                    <a:pt x="313" y="131"/>
                    <a:pt x="313" y="131"/>
                  </a:cubicBezTo>
                  <a:cubicBezTo>
                    <a:pt x="315" y="131"/>
                    <a:pt x="317" y="129"/>
                    <a:pt x="318" y="129"/>
                  </a:cubicBezTo>
                  <a:cubicBezTo>
                    <a:pt x="318" y="128"/>
                    <a:pt x="321" y="127"/>
                    <a:pt x="321" y="127"/>
                  </a:cubicBezTo>
                  <a:cubicBezTo>
                    <a:pt x="322" y="126"/>
                    <a:pt x="324" y="126"/>
                    <a:pt x="324" y="127"/>
                  </a:cubicBezTo>
                  <a:cubicBezTo>
                    <a:pt x="325" y="127"/>
                    <a:pt x="325" y="128"/>
                    <a:pt x="326" y="128"/>
                  </a:cubicBezTo>
                  <a:cubicBezTo>
                    <a:pt x="326" y="128"/>
                    <a:pt x="329" y="129"/>
                    <a:pt x="330" y="130"/>
                  </a:cubicBezTo>
                  <a:cubicBezTo>
                    <a:pt x="331" y="130"/>
                    <a:pt x="330" y="132"/>
                    <a:pt x="330" y="133"/>
                  </a:cubicBezTo>
                  <a:cubicBezTo>
                    <a:pt x="330" y="135"/>
                    <a:pt x="331" y="136"/>
                    <a:pt x="330" y="137"/>
                  </a:cubicBezTo>
                  <a:cubicBezTo>
                    <a:pt x="330" y="137"/>
                    <a:pt x="325" y="140"/>
                    <a:pt x="325" y="140"/>
                  </a:cubicBezTo>
                  <a:cubicBezTo>
                    <a:pt x="324" y="140"/>
                    <a:pt x="320" y="141"/>
                    <a:pt x="320" y="141"/>
                  </a:cubicBezTo>
                  <a:cubicBezTo>
                    <a:pt x="319" y="142"/>
                    <a:pt x="315" y="146"/>
                    <a:pt x="314" y="146"/>
                  </a:cubicBezTo>
                  <a:cubicBezTo>
                    <a:pt x="313" y="146"/>
                    <a:pt x="309" y="147"/>
                    <a:pt x="308" y="147"/>
                  </a:cubicBezTo>
                  <a:cubicBezTo>
                    <a:pt x="307" y="147"/>
                    <a:pt x="304" y="146"/>
                    <a:pt x="303" y="146"/>
                  </a:cubicBezTo>
                  <a:cubicBezTo>
                    <a:pt x="296" y="146"/>
                    <a:pt x="296" y="146"/>
                    <a:pt x="296" y="146"/>
                  </a:cubicBezTo>
                  <a:cubicBezTo>
                    <a:pt x="296" y="146"/>
                    <a:pt x="294" y="147"/>
                    <a:pt x="294" y="147"/>
                  </a:cubicBezTo>
                  <a:cubicBezTo>
                    <a:pt x="293" y="148"/>
                    <a:pt x="294" y="150"/>
                    <a:pt x="296" y="150"/>
                  </a:cubicBezTo>
                  <a:cubicBezTo>
                    <a:pt x="297" y="151"/>
                    <a:pt x="298" y="154"/>
                    <a:pt x="297" y="155"/>
                  </a:cubicBezTo>
                  <a:cubicBezTo>
                    <a:pt x="297" y="155"/>
                    <a:pt x="296" y="155"/>
                    <a:pt x="295" y="156"/>
                  </a:cubicBezTo>
                  <a:cubicBezTo>
                    <a:pt x="294" y="157"/>
                    <a:pt x="293" y="156"/>
                    <a:pt x="292" y="156"/>
                  </a:cubicBezTo>
                  <a:cubicBezTo>
                    <a:pt x="291" y="156"/>
                    <a:pt x="288" y="156"/>
                    <a:pt x="288" y="157"/>
                  </a:cubicBezTo>
                  <a:cubicBezTo>
                    <a:pt x="288" y="157"/>
                    <a:pt x="289" y="158"/>
                    <a:pt x="290" y="158"/>
                  </a:cubicBezTo>
                  <a:cubicBezTo>
                    <a:pt x="291" y="158"/>
                    <a:pt x="291" y="159"/>
                    <a:pt x="292" y="160"/>
                  </a:cubicBezTo>
                  <a:cubicBezTo>
                    <a:pt x="293" y="160"/>
                    <a:pt x="296" y="158"/>
                    <a:pt x="296" y="158"/>
                  </a:cubicBezTo>
                  <a:cubicBezTo>
                    <a:pt x="296" y="159"/>
                    <a:pt x="295" y="159"/>
                    <a:pt x="295" y="160"/>
                  </a:cubicBezTo>
                  <a:cubicBezTo>
                    <a:pt x="295" y="161"/>
                    <a:pt x="295" y="162"/>
                    <a:pt x="297" y="164"/>
                  </a:cubicBezTo>
                  <a:cubicBezTo>
                    <a:pt x="298" y="165"/>
                    <a:pt x="298" y="164"/>
                    <a:pt x="300" y="166"/>
                  </a:cubicBezTo>
                  <a:cubicBezTo>
                    <a:pt x="301" y="167"/>
                    <a:pt x="303" y="168"/>
                    <a:pt x="304" y="168"/>
                  </a:cubicBezTo>
                  <a:cubicBezTo>
                    <a:pt x="306" y="168"/>
                    <a:pt x="308" y="166"/>
                    <a:pt x="309" y="165"/>
                  </a:cubicBezTo>
                  <a:cubicBezTo>
                    <a:pt x="310" y="164"/>
                    <a:pt x="312" y="162"/>
                    <a:pt x="313" y="162"/>
                  </a:cubicBezTo>
                  <a:cubicBezTo>
                    <a:pt x="314" y="162"/>
                    <a:pt x="312" y="164"/>
                    <a:pt x="313" y="165"/>
                  </a:cubicBezTo>
                  <a:cubicBezTo>
                    <a:pt x="313" y="166"/>
                    <a:pt x="315" y="166"/>
                    <a:pt x="315" y="167"/>
                  </a:cubicBezTo>
                  <a:cubicBezTo>
                    <a:pt x="315" y="168"/>
                    <a:pt x="311" y="170"/>
                    <a:pt x="310" y="171"/>
                  </a:cubicBezTo>
                  <a:cubicBezTo>
                    <a:pt x="310" y="171"/>
                    <a:pt x="308" y="172"/>
                    <a:pt x="306" y="173"/>
                  </a:cubicBezTo>
                  <a:cubicBezTo>
                    <a:pt x="304" y="173"/>
                    <a:pt x="299" y="174"/>
                    <a:pt x="298" y="174"/>
                  </a:cubicBezTo>
                  <a:cubicBezTo>
                    <a:pt x="297" y="175"/>
                    <a:pt x="295" y="177"/>
                    <a:pt x="294" y="178"/>
                  </a:cubicBezTo>
                  <a:cubicBezTo>
                    <a:pt x="294" y="178"/>
                    <a:pt x="293" y="180"/>
                    <a:pt x="292" y="180"/>
                  </a:cubicBezTo>
                  <a:cubicBezTo>
                    <a:pt x="292" y="180"/>
                    <a:pt x="291" y="179"/>
                    <a:pt x="290" y="178"/>
                  </a:cubicBezTo>
                  <a:cubicBezTo>
                    <a:pt x="290" y="177"/>
                    <a:pt x="290" y="175"/>
                    <a:pt x="290" y="174"/>
                  </a:cubicBezTo>
                  <a:cubicBezTo>
                    <a:pt x="291" y="173"/>
                    <a:pt x="294" y="171"/>
                    <a:pt x="296" y="171"/>
                  </a:cubicBezTo>
                  <a:cubicBezTo>
                    <a:pt x="297" y="170"/>
                    <a:pt x="299" y="170"/>
                    <a:pt x="298" y="169"/>
                  </a:cubicBezTo>
                  <a:cubicBezTo>
                    <a:pt x="297" y="169"/>
                    <a:pt x="297" y="167"/>
                    <a:pt x="296" y="167"/>
                  </a:cubicBezTo>
                  <a:cubicBezTo>
                    <a:pt x="296" y="167"/>
                    <a:pt x="295" y="168"/>
                    <a:pt x="295" y="169"/>
                  </a:cubicBezTo>
                  <a:cubicBezTo>
                    <a:pt x="294" y="169"/>
                    <a:pt x="290" y="171"/>
                    <a:pt x="289" y="171"/>
                  </a:cubicBezTo>
                  <a:cubicBezTo>
                    <a:pt x="288" y="171"/>
                    <a:pt x="287" y="172"/>
                    <a:pt x="287" y="172"/>
                  </a:cubicBezTo>
                  <a:cubicBezTo>
                    <a:pt x="284" y="168"/>
                    <a:pt x="284" y="168"/>
                    <a:pt x="284" y="168"/>
                  </a:cubicBezTo>
                  <a:cubicBezTo>
                    <a:pt x="284" y="167"/>
                    <a:pt x="284" y="163"/>
                    <a:pt x="284" y="161"/>
                  </a:cubicBezTo>
                  <a:cubicBezTo>
                    <a:pt x="283" y="160"/>
                    <a:pt x="280" y="161"/>
                    <a:pt x="279" y="160"/>
                  </a:cubicBezTo>
                  <a:cubicBezTo>
                    <a:pt x="278" y="160"/>
                    <a:pt x="274" y="167"/>
                    <a:pt x="274" y="169"/>
                  </a:cubicBezTo>
                  <a:cubicBezTo>
                    <a:pt x="273" y="171"/>
                    <a:pt x="269" y="171"/>
                    <a:pt x="269" y="171"/>
                  </a:cubicBezTo>
                  <a:cubicBezTo>
                    <a:pt x="256" y="172"/>
                    <a:pt x="256" y="172"/>
                    <a:pt x="256" y="172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51" y="176"/>
                    <a:pt x="250" y="176"/>
                    <a:pt x="249" y="176"/>
                  </a:cubicBezTo>
                  <a:cubicBezTo>
                    <a:pt x="247" y="176"/>
                    <a:pt x="243" y="176"/>
                    <a:pt x="243" y="176"/>
                  </a:cubicBezTo>
                  <a:cubicBezTo>
                    <a:pt x="241" y="176"/>
                    <a:pt x="240" y="177"/>
                    <a:pt x="240" y="178"/>
                  </a:cubicBezTo>
                  <a:cubicBezTo>
                    <a:pt x="239" y="178"/>
                    <a:pt x="239" y="179"/>
                    <a:pt x="241" y="179"/>
                  </a:cubicBezTo>
                  <a:cubicBezTo>
                    <a:pt x="239" y="182"/>
                    <a:pt x="239" y="182"/>
                    <a:pt x="239" y="182"/>
                  </a:cubicBezTo>
                  <a:cubicBezTo>
                    <a:pt x="238" y="182"/>
                    <a:pt x="237" y="182"/>
                    <a:pt x="236" y="182"/>
                  </a:cubicBezTo>
                  <a:cubicBezTo>
                    <a:pt x="234" y="182"/>
                    <a:pt x="232" y="182"/>
                    <a:pt x="231" y="183"/>
                  </a:cubicBezTo>
                  <a:cubicBezTo>
                    <a:pt x="229" y="183"/>
                    <a:pt x="227" y="186"/>
                    <a:pt x="226" y="186"/>
                  </a:cubicBezTo>
                  <a:cubicBezTo>
                    <a:pt x="226" y="186"/>
                    <a:pt x="225" y="186"/>
                    <a:pt x="225" y="186"/>
                  </a:cubicBezTo>
                  <a:cubicBezTo>
                    <a:pt x="227" y="181"/>
                    <a:pt x="227" y="181"/>
                    <a:pt x="227" y="181"/>
                  </a:cubicBezTo>
                  <a:cubicBezTo>
                    <a:pt x="228" y="182"/>
                    <a:pt x="228" y="181"/>
                    <a:pt x="229" y="180"/>
                  </a:cubicBezTo>
                  <a:cubicBezTo>
                    <a:pt x="230" y="180"/>
                    <a:pt x="230" y="176"/>
                    <a:pt x="230" y="175"/>
                  </a:cubicBezTo>
                  <a:cubicBezTo>
                    <a:pt x="231" y="174"/>
                    <a:pt x="230" y="172"/>
                    <a:pt x="231" y="172"/>
                  </a:cubicBezTo>
                  <a:cubicBezTo>
                    <a:pt x="232" y="171"/>
                    <a:pt x="234" y="174"/>
                    <a:pt x="235" y="175"/>
                  </a:cubicBezTo>
                  <a:cubicBezTo>
                    <a:pt x="237" y="175"/>
                    <a:pt x="237" y="174"/>
                    <a:pt x="237" y="173"/>
                  </a:cubicBezTo>
                  <a:cubicBezTo>
                    <a:pt x="238" y="173"/>
                    <a:pt x="234" y="168"/>
                    <a:pt x="233" y="168"/>
                  </a:cubicBezTo>
                  <a:cubicBezTo>
                    <a:pt x="233" y="168"/>
                    <a:pt x="230" y="167"/>
                    <a:pt x="230" y="167"/>
                  </a:cubicBezTo>
                  <a:cubicBezTo>
                    <a:pt x="229" y="167"/>
                    <a:pt x="229" y="169"/>
                    <a:pt x="228" y="169"/>
                  </a:cubicBezTo>
                  <a:cubicBezTo>
                    <a:pt x="227" y="169"/>
                    <a:pt x="224" y="168"/>
                    <a:pt x="223" y="168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20" y="165"/>
                    <a:pt x="218" y="163"/>
                    <a:pt x="218" y="162"/>
                  </a:cubicBezTo>
                  <a:cubicBezTo>
                    <a:pt x="218" y="161"/>
                    <a:pt x="218" y="158"/>
                    <a:pt x="218" y="158"/>
                  </a:cubicBezTo>
                  <a:cubicBezTo>
                    <a:pt x="217" y="158"/>
                    <a:pt x="214" y="158"/>
                    <a:pt x="213" y="158"/>
                  </a:cubicBezTo>
                  <a:cubicBezTo>
                    <a:pt x="212" y="157"/>
                    <a:pt x="213" y="153"/>
                    <a:pt x="211" y="153"/>
                  </a:cubicBezTo>
                  <a:cubicBezTo>
                    <a:pt x="210" y="153"/>
                    <a:pt x="207" y="153"/>
                    <a:pt x="206" y="152"/>
                  </a:cubicBezTo>
                  <a:cubicBezTo>
                    <a:pt x="205" y="152"/>
                    <a:pt x="203" y="153"/>
                    <a:pt x="203" y="153"/>
                  </a:cubicBezTo>
                  <a:cubicBezTo>
                    <a:pt x="203" y="154"/>
                    <a:pt x="200" y="156"/>
                    <a:pt x="199" y="157"/>
                  </a:cubicBezTo>
                  <a:cubicBezTo>
                    <a:pt x="199" y="157"/>
                    <a:pt x="199" y="158"/>
                    <a:pt x="198" y="158"/>
                  </a:cubicBezTo>
                  <a:cubicBezTo>
                    <a:pt x="198" y="158"/>
                    <a:pt x="198" y="158"/>
                    <a:pt x="198" y="158"/>
                  </a:cubicBezTo>
                  <a:cubicBezTo>
                    <a:pt x="198" y="158"/>
                    <a:pt x="196" y="156"/>
                    <a:pt x="195" y="156"/>
                  </a:cubicBezTo>
                  <a:cubicBezTo>
                    <a:pt x="195" y="156"/>
                    <a:pt x="192" y="157"/>
                    <a:pt x="190" y="156"/>
                  </a:cubicBezTo>
                  <a:cubicBezTo>
                    <a:pt x="189" y="156"/>
                    <a:pt x="183" y="155"/>
                    <a:pt x="183" y="155"/>
                  </a:cubicBezTo>
                  <a:cubicBezTo>
                    <a:pt x="182" y="155"/>
                    <a:pt x="180" y="151"/>
                    <a:pt x="180" y="150"/>
                  </a:cubicBezTo>
                  <a:cubicBezTo>
                    <a:pt x="180" y="150"/>
                    <a:pt x="177" y="149"/>
                    <a:pt x="177" y="149"/>
                  </a:cubicBezTo>
                  <a:cubicBezTo>
                    <a:pt x="177" y="149"/>
                    <a:pt x="177" y="152"/>
                    <a:pt x="176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1" y="151"/>
                    <a:pt x="70" y="149"/>
                    <a:pt x="69" y="149"/>
                  </a:cubicBezTo>
                  <a:cubicBezTo>
                    <a:pt x="68" y="149"/>
                    <a:pt x="67" y="149"/>
                    <a:pt x="65" y="149"/>
                  </a:cubicBezTo>
                  <a:cubicBezTo>
                    <a:pt x="63" y="148"/>
                    <a:pt x="62" y="146"/>
                    <a:pt x="61" y="146"/>
                  </a:cubicBezTo>
                  <a:cubicBezTo>
                    <a:pt x="61" y="145"/>
                    <a:pt x="58" y="144"/>
                    <a:pt x="58" y="144"/>
                  </a:cubicBezTo>
                  <a:cubicBezTo>
                    <a:pt x="57" y="144"/>
                    <a:pt x="55" y="143"/>
                    <a:pt x="55" y="143"/>
                  </a:cubicBezTo>
                  <a:cubicBezTo>
                    <a:pt x="55" y="142"/>
                    <a:pt x="53" y="141"/>
                    <a:pt x="52" y="141"/>
                  </a:cubicBezTo>
                  <a:cubicBezTo>
                    <a:pt x="52" y="141"/>
                    <a:pt x="51" y="140"/>
                    <a:pt x="50" y="139"/>
                  </a:cubicBezTo>
                  <a:cubicBezTo>
                    <a:pt x="49" y="138"/>
                    <a:pt x="49" y="137"/>
                    <a:pt x="48" y="136"/>
                  </a:cubicBezTo>
                  <a:cubicBezTo>
                    <a:pt x="48" y="135"/>
                    <a:pt x="46" y="133"/>
                    <a:pt x="46" y="132"/>
                  </a:cubicBezTo>
                  <a:cubicBezTo>
                    <a:pt x="45" y="132"/>
                    <a:pt x="44" y="131"/>
                    <a:pt x="42" y="131"/>
                  </a:cubicBezTo>
                  <a:cubicBezTo>
                    <a:pt x="41" y="130"/>
                    <a:pt x="41" y="128"/>
                    <a:pt x="40" y="128"/>
                  </a:cubicBezTo>
                  <a:cubicBezTo>
                    <a:pt x="39" y="127"/>
                    <a:pt x="40" y="127"/>
                    <a:pt x="41" y="126"/>
                  </a:cubicBezTo>
                  <a:cubicBezTo>
                    <a:pt x="41" y="126"/>
                    <a:pt x="42" y="124"/>
                    <a:pt x="42" y="123"/>
                  </a:cubicBezTo>
                  <a:cubicBezTo>
                    <a:pt x="42" y="123"/>
                    <a:pt x="42" y="122"/>
                    <a:pt x="41" y="122"/>
                  </a:cubicBezTo>
                  <a:cubicBezTo>
                    <a:pt x="41" y="121"/>
                    <a:pt x="40" y="123"/>
                    <a:pt x="39" y="122"/>
                  </a:cubicBezTo>
                  <a:cubicBezTo>
                    <a:pt x="39" y="122"/>
                    <a:pt x="39" y="119"/>
                    <a:pt x="39" y="118"/>
                  </a:cubicBezTo>
                  <a:cubicBezTo>
                    <a:pt x="39" y="117"/>
                    <a:pt x="38" y="116"/>
                    <a:pt x="37" y="116"/>
                  </a:cubicBezTo>
                  <a:cubicBezTo>
                    <a:pt x="36" y="115"/>
                    <a:pt x="36" y="119"/>
                    <a:pt x="35" y="119"/>
                  </a:cubicBezTo>
                  <a:cubicBezTo>
                    <a:pt x="35" y="119"/>
                    <a:pt x="34" y="118"/>
                    <a:pt x="33" y="117"/>
                  </a:cubicBezTo>
                  <a:cubicBezTo>
                    <a:pt x="33" y="117"/>
                    <a:pt x="31" y="114"/>
                    <a:pt x="31" y="113"/>
                  </a:cubicBezTo>
                  <a:cubicBezTo>
                    <a:pt x="31" y="111"/>
                    <a:pt x="31" y="111"/>
                    <a:pt x="30" y="110"/>
                  </a:cubicBezTo>
                  <a:cubicBezTo>
                    <a:pt x="29" y="109"/>
                    <a:pt x="29" y="108"/>
                    <a:pt x="29" y="107"/>
                  </a:cubicBezTo>
                  <a:cubicBezTo>
                    <a:pt x="29" y="107"/>
                    <a:pt x="27" y="104"/>
                    <a:pt x="26" y="103"/>
                  </a:cubicBezTo>
                  <a:cubicBezTo>
                    <a:pt x="25" y="103"/>
                    <a:pt x="24" y="98"/>
                    <a:pt x="23" y="98"/>
                  </a:cubicBezTo>
                  <a:cubicBezTo>
                    <a:pt x="23" y="97"/>
                    <a:pt x="23" y="97"/>
                    <a:pt x="22" y="97"/>
                  </a:cubicBezTo>
                  <a:cubicBezTo>
                    <a:pt x="22" y="97"/>
                    <a:pt x="22" y="94"/>
                    <a:pt x="21" y="94"/>
                  </a:cubicBezTo>
                  <a:cubicBezTo>
                    <a:pt x="20" y="93"/>
                    <a:pt x="19" y="94"/>
                    <a:pt x="18" y="94"/>
                  </a:cubicBezTo>
                  <a:cubicBezTo>
                    <a:pt x="18" y="94"/>
                    <a:pt x="14" y="98"/>
                    <a:pt x="14" y="98"/>
                  </a:cubicBezTo>
                  <a:cubicBezTo>
                    <a:pt x="14" y="98"/>
                    <a:pt x="13" y="96"/>
                    <a:pt x="12" y="96"/>
                  </a:cubicBezTo>
                  <a:cubicBezTo>
                    <a:pt x="12" y="96"/>
                    <a:pt x="8" y="93"/>
                    <a:pt x="8" y="93"/>
                  </a:cubicBezTo>
                  <a:cubicBezTo>
                    <a:pt x="8" y="92"/>
                    <a:pt x="9" y="90"/>
                    <a:pt x="9" y="90"/>
                  </a:cubicBezTo>
                  <a:cubicBezTo>
                    <a:pt x="8" y="89"/>
                    <a:pt x="4" y="90"/>
                    <a:pt x="4" y="90"/>
                  </a:cubicBezTo>
                  <a:cubicBezTo>
                    <a:pt x="3" y="90"/>
                    <a:pt x="0" y="89"/>
                    <a:pt x="0" y="8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4" name="Freeform 652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2828832" y="2700103"/>
              <a:ext cx="59372" cy="33487"/>
            </a:xfrm>
            <a:custGeom>
              <a:avLst/>
              <a:gdLst>
                <a:gd name="T0" fmla="*/ 0 w 10"/>
                <a:gd name="T1" fmla="*/ 1 h 5"/>
                <a:gd name="T2" fmla="*/ 1 w 10"/>
                <a:gd name="T3" fmla="*/ 0 h 5"/>
                <a:gd name="T4" fmla="*/ 10 w 10"/>
                <a:gd name="T5" fmla="*/ 3 h 5"/>
                <a:gd name="T6" fmla="*/ 7 w 10"/>
                <a:gd name="T7" fmla="*/ 5 h 5"/>
                <a:gd name="T8" fmla="*/ 2 w 10"/>
                <a:gd name="T9" fmla="*/ 3 h 5"/>
                <a:gd name="T10" fmla="*/ 0 w 10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5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10" y="3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ubicBezTo>
                    <a:pt x="6" y="5"/>
                    <a:pt x="3" y="4"/>
                    <a:pt x="2" y="3"/>
                  </a:cubicBezTo>
                  <a:cubicBezTo>
                    <a:pt x="2" y="2"/>
                    <a:pt x="1" y="1"/>
                    <a:pt x="0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5" name="Freeform 652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2441350" y="1755775"/>
              <a:ext cx="103120" cy="56927"/>
            </a:xfrm>
            <a:custGeom>
              <a:avLst/>
              <a:gdLst>
                <a:gd name="T0" fmla="*/ 3 w 17"/>
                <a:gd name="T1" fmla="*/ 5 h 9"/>
                <a:gd name="T2" fmla="*/ 1 w 17"/>
                <a:gd name="T3" fmla="*/ 4 h 9"/>
                <a:gd name="T4" fmla="*/ 0 w 17"/>
                <a:gd name="T5" fmla="*/ 1 h 9"/>
                <a:gd name="T6" fmla="*/ 2 w 17"/>
                <a:gd name="T7" fmla="*/ 1 h 9"/>
                <a:gd name="T8" fmla="*/ 8 w 17"/>
                <a:gd name="T9" fmla="*/ 2 h 9"/>
                <a:gd name="T10" fmla="*/ 14 w 17"/>
                <a:gd name="T11" fmla="*/ 4 h 9"/>
                <a:gd name="T12" fmla="*/ 17 w 17"/>
                <a:gd name="T13" fmla="*/ 7 h 9"/>
                <a:gd name="T14" fmla="*/ 13 w 17"/>
                <a:gd name="T15" fmla="*/ 7 h 9"/>
                <a:gd name="T16" fmla="*/ 8 w 17"/>
                <a:gd name="T17" fmla="*/ 8 h 9"/>
                <a:gd name="T18" fmla="*/ 4 w 17"/>
                <a:gd name="T19" fmla="*/ 7 h 9"/>
                <a:gd name="T20" fmla="*/ 3 w 17"/>
                <a:gd name="T2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9">
                  <a:moveTo>
                    <a:pt x="3" y="5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4" y="1"/>
                    <a:pt x="7" y="1"/>
                    <a:pt x="8" y="2"/>
                  </a:cubicBezTo>
                  <a:cubicBezTo>
                    <a:pt x="10" y="2"/>
                    <a:pt x="13" y="3"/>
                    <a:pt x="14" y="4"/>
                  </a:cubicBezTo>
                  <a:cubicBezTo>
                    <a:pt x="15" y="5"/>
                    <a:pt x="17" y="6"/>
                    <a:pt x="17" y="7"/>
                  </a:cubicBezTo>
                  <a:cubicBezTo>
                    <a:pt x="16" y="7"/>
                    <a:pt x="14" y="7"/>
                    <a:pt x="13" y="7"/>
                  </a:cubicBezTo>
                  <a:cubicBezTo>
                    <a:pt x="11" y="7"/>
                    <a:pt x="10" y="8"/>
                    <a:pt x="8" y="8"/>
                  </a:cubicBezTo>
                  <a:cubicBezTo>
                    <a:pt x="6" y="8"/>
                    <a:pt x="5" y="9"/>
                    <a:pt x="4" y="7"/>
                  </a:cubicBezTo>
                  <a:cubicBezTo>
                    <a:pt x="3" y="5"/>
                    <a:pt x="3" y="6"/>
                    <a:pt x="3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6" name="Freeform 653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2750711" y="3594200"/>
              <a:ext cx="49998" cy="20092"/>
            </a:xfrm>
            <a:custGeom>
              <a:avLst/>
              <a:gdLst>
                <a:gd name="T0" fmla="*/ 2 w 8"/>
                <a:gd name="T1" fmla="*/ 3 h 3"/>
                <a:gd name="T2" fmla="*/ 1 w 8"/>
                <a:gd name="T3" fmla="*/ 0 h 3"/>
                <a:gd name="T4" fmla="*/ 5 w 8"/>
                <a:gd name="T5" fmla="*/ 0 h 3"/>
                <a:gd name="T6" fmla="*/ 8 w 8"/>
                <a:gd name="T7" fmla="*/ 1 h 3"/>
                <a:gd name="T8" fmla="*/ 6 w 8"/>
                <a:gd name="T9" fmla="*/ 3 h 3"/>
                <a:gd name="T10" fmla="*/ 2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5" y="0"/>
                    <a:pt x="8" y="0"/>
                    <a:pt x="8" y="1"/>
                  </a:cubicBezTo>
                  <a:cubicBezTo>
                    <a:pt x="8" y="2"/>
                    <a:pt x="7" y="3"/>
                    <a:pt x="6" y="3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7" name="Freeform 653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2525721" y="3413371"/>
              <a:ext cx="43748" cy="53579"/>
            </a:xfrm>
            <a:custGeom>
              <a:avLst/>
              <a:gdLst>
                <a:gd name="T0" fmla="*/ 1 w 7"/>
                <a:gd name="T1" fmla="*/ 4 h 8"/>
                <a:gd name="T2" fmla="*/ 2 w 7"/>
                <a:gd name="T3" fmla="*/ 1 h 8"/>
                <a:gd name="T4" fmla="*/ 3 w 7"/>
                <a:gd name="T5" fmla="*/ 1 h 8"/>
                <a:gd name="T6" fmla="*/ 4 w 7"/>
                <a:gd name="T7" fmla="*/ 4 h 8"/>
                <a:gd name="T8" fmla="*/ 6 w 7"/>
                <a:gd name="T9" fmla="*/ 5 h 8"/>
                <a:gd name="T10" fmla="*/ 5 w 7"/>
                <a:gd name="T11" fmla="*/ 8 h 8"/>
                <a:gd name="T12" fmla="*/ 1 w 7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8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1"/>
                    <a:pt x="3" y="3"/>
                    <a:pt x="4" y="4"/>
                  </a:cubicBezTo>
                  <a:cubicBezTo>
                    <a:pt x="5" y="4"/>
                    <a:pt x="6" y="4"/>
                    <a:pt x="6" y="5"/>
                  </a:cubicBezTo>
                  <a:cubicBezTo>
                    <a:pt x="7" y="6"/>
                    <a:pt x="5" y="8"/>
                    <a:pt x="5" y="8"/>
                  </a:cubicBezTo>
                  <a:cubicBezTo>
                    <a:pt x="4" y="8"/>
                    <a:pt x="2" y="5"/>
                    <a:pt x="1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8" name="Freeform 653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2491348" y="3376535"/>
              <a:ext cx="34373" cy="30138"/>
            </a:xfrm>
            <a:custGeom>
              <a:avLst/>
              <a:gdLst>
                <a:gd name="T0" fmla="*/ 3 w 6"/>
                <a:gd name="T1" fmla="*/ 4 h 5"/>
                <a:gd name="T2" fmla="*/ 1 w 6"/>
                <a:gd name="T3" fmla="*/ 2 h 5"/>
                <a:gd name="T4" fmla="*/ 3 w 6"/>
                <a:gd name="T5" fmla="*/ 0 h 5"/>
                <a:gd name="T6" fmla="*/ 5 w 6"/>
                <a:gd name="T7" fmla="*/ 0 h 5"/>
                <a:gd name="T8" fmla="*/ 5 w 6"/>
                <a:gd name="T9" fmla="*/ 4 h 5"/>
                <a:gd name="T10" fmla="*/ 3 w 6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3" y="4"/>
                  </a:moveTo>
                  <a:cubicBezTo>
                    <a:pt x="3" y="4"/>
                    <a:pt x="1" y="2"/>
                    <a:pt x="1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1"/>
                    <a:pt x="6" y="4"/>
                    <a:pt x="5" y="4"/>
                  </a:cubicBezTo>
                  <a:cubicBezTo>
                    <a:pt x="5" y="5"/>
                    <a:pt x="4" y="4"/>
                    <a:pt x="3" y="4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69" name="Freeform 653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1403900" y="2706799"/>
              <a:ext cx="1359310" cy="716617"/>
            </a:xfrm>
            <a:custGeom>
              <a:avLst/>
              <a:gdLst>
                <a:gd name="T0" fmla="*/ 7 w 225"/>
                <a:gd name="T1" fmla="*/ 13 h 111"/>
                <a:gd name="T2" fmla="*/ 9 w 225"/>
                <a:gd name="T3" fmla="*/ 3 h 111"/>
                <a:gd name="T4" fmla="*/ 118 w 225"/>
                <a:gd name="T5" fmla="*/ 1 h 111"/>
                <a:gd name="T6" fmla="*/ 133 w 225"/>
                <a:gd name="T7" fmla="*/ 7 h 111"/>
                <a:gd name="T8" fmla="*/ 131 w 225"/>
                <a:gd name="T9" fmla="*/ 11 h 111"/>
                <a:gd name="T10" fmla="*/ 133 w 225"/>
                <a:gd name="T11" fmla="*/ 16 h 111"/>
                <a:gd name="T12" fmla="*/ 144 w 225"/>
                <a:gd name="T13" fmla="*/ 15 h 111"/>
                <a:gd name="T14" fmla="*/ 157 w 225"/>
                <a:gd name="T15" fmla="*/ 16 h 111"/>
                <a:gd name="T16" fmla="*/ 150 w 225"/>
                <a:gd name="T17" fmla="*/ 19 h 111"/>
                <a:gd name="T18" fmla="*/ 145 w 225"/>
                <a:gd name="T19" fmla="*/ 26 h 111"/>
                <a:gd name="T20" fmla="*/ 148 w 225"/>
                <a:gd name="T21" fmla="*/ 38 h 111"/>
                <a:gd name="T22" fmla="*/ 151 w 225"/>
                <a:gd name="T23" fmla="*/ 24 h 111"/>
                <a:gd name="T24" fmla="*/ 160 w 225"/>
                <a:gd name="T25" fmla="*/ 22 h 111"/>
                <a:gd name="T26" fmla="*/ 164 w 225"/>
                <a:gd name="T27" fmla="*/ 28 h 111"/>
                <a:gd name="T28" fmla="*/ 162 w 225"/>
                <a:gd name="T29" fmla="*/ 37 h 111"/>
                <a:gd name="T30" fmla="*/ 177 w 225"/>
                <a:gd name="T31" fmla="*/ 35 h 111"/>
                <a:gd name="T32" fmla="*/ 179 w 225"/>
                <a:gd name="T33" fmla="*/ 30 h 111"/>
                <a:gd name="T34" fmla="*/ 189 w 225"/>
                <a:gd name="T35" fmla="*/ 28 h 111"/>
                <a:gd name="T36" fmla="*/ 207 w 225"/>
                <a:gd name="T37" fmla="*/ 22 h 111"/>
                <a:gd name="T38" fmla="*/ 222 w 225"/>
                <a:gd name="T39" fmla="*/ 12 h 111"/>
                <a:gd name="T40" fmla="*/ 220 w 225"/>
                <a:gd name="T41" fmla="*/ 26 h 111"/>
                <a:gd name="T42" fmla="*/ 211 w 225"/>
                <a:gd name="T43" fmla="*/ 37 h 111"/>
                <a:gd name="T44" fmla="*/ 213 w 225"/>
                <a:gd name="T45" fmla="*/ 39 h 111"/>
                <a:gd name="T46" fmla="*/ 199 w 225"/>
                <a:gd name="T47" fmla="*/ 43 h 111"/>
                <a:gd name="T48" fmla="*/ 194 w 225"/>
                <a:gd name="T49" fmla="*/ 54 h 111"/>
                <a:gd name="T50" fmla="*/ 191 w 225"/>
                <a:gd name="T51" fmla="*/ 57 h 111"/>
                <a:gd name="T52" fmla="*/ 190 w 225"/>
                <a:gd name="T53" fmla="*/ 49 h 111"/>
                <a:gd name="T54" fmla="*/ 188 w 225"/>
                <a:gd name="T55" fmla="*/ 58 h 111"/>
                <a:gd name="T56" fmla="*/ 188 w 225"/>
                <a:gd name="T57" fmla="*/ 69 h 111"/>
                <a:gd name="T58" fmla="*/ 179 w 225"/>
                <a:gd name="T59" fmla="*/ 74 h 111"/>
                <a:gd name="T60" fmla="*/ 170 w 225"/>
                <a:gd name="T61" fmla="*/ 84 h 111"/>
                <a:gd name="T62" fmla="*/ 172 w 225"/>
                <a:gd name="T63" fmla="*/ 98 h 111"/>
                <a:gd name="T64" fmla="*/ 171 w 225"/>
                <a:gd name="T65" fmla="*/ 111 h 111"/>
                <a:gd name="T66" fmla="*/ 166 w 225"/>
                <a:gd name="T67" fmla="*/ 105 h 111"/>
                <a:gd name="T68" fmla="*/ 159 w 225"/>
                <a:gd name="T69" fmla="*/ 90 h 111"/>
                <a:gd name="T70" fmla="*/ 149 w 225"/>
                <a:gd name="T71" fmla="*/ 89 h 111"/>
                <a:gd name="T72" fmla="*/ 138 w 225"/>
                <a:gd name="T73" fmla="*/ 94 h 111"/>
                <a:gd name="T74" fmla="*/ 126 w 225"/>
                <a:gd name="T75" fmla="*/ 93 h 111"/>
                <a:gd name="T76" fmla="*/ 112 w 225"/>
                <a:gd name="T77" fmla="*/ 96 h 111"/>
                <a:gd name="T78" fmla="*/ 108 w 225"/>
                <a:gd name="T79" fmla="*/ 107 h 111"/>
                <a:gd name="T80" fmla="*/ 92 w 225"/>
                <a:gd name="T81" fmla="*/ 92 h 111"/>
                <a:gd name="T82" fmla="*/ 78 w 225"/>
                <a:gd name="T83" fmla="*/ 90 h 111"/>
                <a:gd name="T84" fmla="*/ 65 w 225"/>
                <a:gd name="T85" fmla="*/ 83 h 111"/>
                <a:gd name="T86" fmla="*/ 39 w 225"/>
                <a:gd name="T87" fmla="*/ 79 h 111"/>
                <a:gd name="T88" fmla="*/ 30 w 225"/>
                <a:gd name="T89" fmla="*/ 79 h 111"/>
                <a:gd name="T90" fmla="*/ 17 w 225"/>
                <a:gd name="T91" fmla="*/ 71 h 111"/>
                <a:gd name="T92" fmla="*/ 8 w 225"/>
                <a:gd name="T93" fmla="*/ 54 h 111"/>
                <a:gd name="T94" fmla="*/ 3 w 225"/>
                <a:gd name="T95" fmla="*/ 39 h 111"/>
                <a:gd name="T96" fmla="*/ 2 w 225"/>
                <a:gd name="T97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111">
                  <a:moveTo>
                    <a:pt x="4" y="10"/>
                  </a:moveTo>
                  <a:cubicBezTo>
                    <a:pt x="4" y="10"/>
                    <a:pt x="6" y="9"/>
                    <a:pt x="7" y="10"/>
                  </a:cubicBezTo>
                  <a:cubicBezTo>
                    <a:pt x="8" y="10"/>
                    <a:pt x="7" y="13"/>
                    <a:pt x="7" y="13"/>
                  </a:cubicBezTo>
                  <a:cubicBezTo>
                    <a:pt x="8" y="14"/>
                    <a:pt x="9" y="13"/>
                    <a:pt x="10" y="12"/>
                  </a:cubicBezTo>
                  <a:cubicBezTo>
                    <a:pt x="10" y="12"/>
                    <a:pt x="9" y="9"/>
                    <a:pt x="10" y="7"/>
                  </a:cubicBezTo>
                  <a:cubicBezTo>
                    <a:pt x="10" y="6"/>
                    <a:pt x="10" y="4"/>
                    <a:pt x="9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3"/>
                    <a:pt x="115" y="0"/>
                    <a:pt x="115" y="0"/>
                  </a:cubicBezTo>
                  <a:cubicBezTo>
                    <a:pt x="115" y="0"/>
                    <a:pt x="118" y="1"/>
                    <a:pt x="118" y="1"/>
                  </a:cubicBezTo>
                  <a:cubicBezTo>
                    <a:pt x="118" y="2"/>
                    <a:pt x="120" y="6"/>
                    <a:pt x="121" y="6"/>
                  </a:cubicBezTo>
                  <a:cubicBezTo>
                    <a:pt x="121" y="6"/>
                    <a:pt x="127" y="7"/>
                    <a:pt x="128" y="7"/>
                  </a:cubicBezTo>
                  <a:cubicBezTo>
                    <a:pt x="130" y="7"/>
                    <a:pt x="133" y="7"/>
                    <a:pt x="133" y="7"/>
                  </a:cubicBezTo>
                  <a:cubicBezTo>
                    <a:pt x="134" y="7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5" y="10"/>
                    <a:pt x="132" y="10"/>
                    <a:pt x="131" y="11"/>
                  </a:cubicBezTo>
                  <a:cubicBezTo>
                    <a:pt x="131" y="12"/>
                    <a:pt x="127" y="14"/>
                    <a:pt x="127" y="15"/>
                  </a:cubicBezTo>
                  <a:cubicBezTo>
                    <a:pt x="127" y="16"/>
                    <a:pt x="129" y="16"/>
                    <a:pt x="130" y="15"/>
                  </a:cubicBezTo>
                  <a:cubicBezTo>
                    <a:pt x="131" y="14"/>
                    <a:pt x="132" y="15"/>
                    <a:pt x="133" y="16"/>
                  </a:cubicBezTo>
                  <a:cubicBezTo>
                    <a:pt x="134" y="17"/>
                    <a:pt x="137" y="15"/>
                    <a:pt x="139" y="14"/>
                  </a:cubicBezTo>
                  <a:cubicBezTo>
                    <a:pt x="139" y="14"/>
                    <a:pt x="143" y="10"/>
                    <a:pt x="144" y="12"/>
                  </a:cubicBezTo>
                  <a:cubicBezTo>
                    <a:pt x="145" y="13"/>
                    <a:pt x="143" y="14"/>
                    <a:pt x="144" y="15"/>
                  </a:cubicBezTo>
                  <a:cubicBezTo>
                    <a:pt x="145" y="16"/>
                    <a:pt x="147" y="16"/>
                    <a:pt x="148" y="17"/>
                  </a:cubicBezTo>
                  <a:cubicBezTo>
                    <a:pt x="150" y="17"/>
                    <a:pt x="152" y="15"/>
                    <a:pt x="153" y="15"/>
                  </a:cubicBezTo>
                  <a:cubicBezTo>
                    <a:pt x="154" y="15"/>
                    <a:pt x="155" y="16"/>
                    <a:pt x="157" y="16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59" y="19"/>
                    <a:pt x="156" y="19"/>
                    <a:pt x="155" y="18"/>
                  </a:cubicBezTo>
                  <a:cubicBezTo>
                    <a:pt x="154" y="18"/>
                    <a:pt x="152" y="18"/>
                    <a:pt x="150" y="19"/>
                  </a:cubicBezTo>
                  <a:cubicBezTo>
                    <a:pt x="149" y="19"/>
                    <a:pt x="147" y="20"/>
                    <a:pt x="146" y="20"/>
                  </a:cubicBezTo>
                  <a:cubicBezTo>
                    <a:pt x="145" y="21"/>
                    <a:pt x="145" y="23"/>
                    <a:pt x="146" y="23"/>
                  </a:cubicBezTo>
                  <a:cubicBezTo>
                    <a:pt x="146" y="24"/>
                    <a:pt x="146" y="25"/>
                    <a:pt x="145" y="26"/>
                  </a:cubicBezTo>
                  <a:cubicBezTo>
                    <a:pt x="145" y="28"/>
                    <a:pt x="144" y="33"/>
                    <a:pt x="144" y="35"/>
                  </a:cubicBezTo>
                  <a:cubicBezTo>
                    <a:pt x="144" y="37"/>
                    <a:pt x="145" y="39"/>
                    <a:pt x="146" y="39"/>
                  </a:cubicBezTo>
                  <a:cubicBezTo>
                    <a:pt x="147" y="39"/>
                    <a:pt x="148" y="39"/>
                    <a:pt x="148" y="38"/>
                  </a:cubicBezTo>
                  <a:cubicBezTo>
                    <a:pt x="149" y="38"/>
                    <a:pt x="150" y="36"/>
                    <a:pt x="150" y="35"/>
                  </a:cubicBezTo>
                  <a:cubicBezTo>
                    <a:pt x="151" y="34"/>
                    <a:pt x="149" y="30"/>
                    <a:pt x="149" y="28"/>
                  </a:cubicBezTo>
                  <a:cubicBezTo>
                    <a:pt x="149" y="27"/>
                    <a:pt x="150" y="25"/>
                    <a:pt x="151" y="24"/>
                  </a:cubicBezTo>
                  <a:cubicBezTo>
                    <a:pt x="153" y="23"/>
                    <a:pt x="154" y="24"/>
                    <a:pt x="154" y="23"/>
                  </a:cubicBezTo>
                  <a:cubicBezTo>
                    <a:pt x="154" y="22"/>
                    <a:pt x="155" y="21"/>
                    <a:pt x="156" y="21"/>
                  </a:cubicBezTo>
                  <a:cubicBezTo>
                    <a:pt x="157" y="21"/>
                    <a:pt x="159" y="22"/>
                    <a:pt x="160" y="22"/>
                  </a:cubicBezTo>
                  <a:cubicBezTo>
                    <a:pt x="161" y="23"/>
                    <a:pt x="161" y="24"/>
                    <a:pt x="161" y="25"/>
                  </a:cubicBezTo>
                  <a:cubicBezTo>
                    <a:pt x="161" y="27"/>
                    <a:pt x="158" y="28"/>
                    <a:pt x="159" y="29"/>
                  </a:cubicBezTo>
                  <a:cubicBezTo>
                    <a:pt x="160" y="31"/>
                    <a:pt x="163" y="28"/>
                    <a:pt x="164" y="28"/>
                  </a:cubicBezTo>
                  <a:cubicBezTo>
                    <a:pt x="164" y="28"/>
                    <a:pt x="164" y="31"/>
                    <a:pt x="165" y="32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1" y="38"/>
                    <a:pt x="162" y="39"/>
                    <a:pt x="163" y="39"/>
                  </a:cubicBezTo>
                  <a:cubicBezTo>
                    <a:pt x="164" y="40"/>
                    <a:pt x="166" y="40"/>
                    <a:pt x="168" y="39"/>
                  </a:cubicBezTo>
                  <a:cubicBezTo>
                    <a:pt x="169" y="38"/>
                    <a:pt x="176" y="35"/>
                    <a:pt x="177" y="35"/>
                  </a:cubicBezTo>
                  <a:cubicBezTo>
                    <a:pt x="178" y="35"/>
                    <a:pt x="179" y="34"/>
                    <a:pt x="179" y="33"/>
                  </a:cubicBezTo>
                  <a:cubicBezTo>
                    <a:pt x="179" y="33"/>
                    <a:pt x="178" y="33"/>
                    <a:pt x="177" y="33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1" y="30"/>
                    <a:pt x="185" y="31"/>
                    <a:pt x="186" y="31"/>
                  </a:cubicBezTo>
                  <a:cubicBezTo>
                    <a:pt x="188" y="31"/>
                    <a:pt x="189" y="30"/>
                    <a:pt x="189" y="29"/>
                  </a:cubicBezTo>
                  <a:cubicBezTo>
                    <a:pt x="189" y="29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207" y="22"/>
                    <a:pt x="207" y="22"/>
                    <a:pt x="207" y="22"/>
                  </a:cubicBezTo>
                  <a:cubicBezTo>
                    <a:pt x="207" y="22"/>
                    <a:pt x="211" y="22"/>
                    <a:pt x="212" y="20"/>
                  </a:cubicBezTo>
                  <a:cubicBezTo>
                    <a:pt x="212" y="18"/>
                    <a:pt x="216" y="11"/>
                    <a:pt x="217" y="11"/>
                  </a:cubicBezTo>
                  <a:cubicBezTo>
                    <a:pt x="218" y="12"/>
                    <a:pt x="221" y="11"/>
                    <a:pt x="222" y="12"/>
                  </a:cubicBezTo>
                  <a:cubicBezTo>
                    <a:pt x="222" y="14"/>
                    <a:pt x="222" y="18"/>
                    <a:pt x="222" y="19"/>
                  </a:cubicBezTo>
                  <a:cubicBezTo>
                    <a:pt x="225" y="23"/>
                    <a:pt x="225" y="23"/>
                    <a:pt x="225" y="23"/>
                  </a:cubicBezTo>
                  <a:cubicBezTo>
                    <a:pt x="225" y="24"/>
                    <a:pt x="222" y="26"/>
                    <a:pt x="220" y="26"/>
                  </a:cubicBezTo>
                  <a:cubicBezTo>
                    <a:pt x="219" y="27"/>
                    <a:pt x="216" y="28"/>
                    <a:pt x="215" y="29"/>
                  </a:cubicBezTo>
                  <a:cubicBezTo>
                    <a:pt x="213" y="29"/>
                    <a:pt x="212" y="31"/>
                    <a:pt x="210" y="33"/>
                  </a:cubicBezTo>
                  <a:cubicBezTo>
                    <a:pt x="209" y="35"/>
                    <a:pt x="210" y="36"/>
                    <a:pt x="211" y="37"/>
                  </a:cubicBezTo>
                  <a:cubicBezTo>
                    <a:pt x="211" y="37"/>
                    <a:pt x="213" y="36"/>
                    <a:pt x="213" y="36"/>
                  </a:cubicBezTo>
                  <a:cubicBezTo>
                    <a:pt x="213" y="36"/>
                    <a:pt x="213" y="36"/>
                    <a:pt x="214" y="37"/>
                  </a:cubicBezTo>
                  <a:cubicBezTo>
                    <a:pt x="214" y="38"/>
                    <a:pt x="214" y="39"/>
                    <a:pt x="213" y="39"/>
                  </a:cubicBezTo>
                  <a:cubicBezTo>
                    <a:pt x="213" y="39"/>
                    <a:pt x="212" y="39"/>
                    <a:pt x="210" y="39"/>
                  </a:cubicBezTo>
                  <a:cubicBezTo>
                    <a:pt x="209" y="39"/>
                    <a:pt x="206" y="41"/>
                    <a:pt x="204" y="41"/>
                  </a:cubicBezTo>
                  <a:cubicBezTo>
                    <a:pt x="201" y="41"/>
                    <a:pt x="199" y="43"/>
                    <a:pt x="199" y="43"/>
                  </a:cubicBezTo>
                  <a:cubicBezTo>
                    <a:pt x="198" y="45"/>
                    <a:pt x="198" y="46"/>
                    <a:pt x="198" y="47"/>
                  </a:cubicBezTo>
                  <a:cubicBezTo>
                    <a:pt x="198" y="48"/>
                    <a:pt x="196" y="49"/>
                    <a:pt x="195" y="50"/>
                  </a:cubicBezTo>
                  <a:cubicBezTo>
                    <a:pt x="194" y="51"/>
                    <a:pt x="194" y="52"/>
                    <a:pt x="194" y="54"/>
                  </a:cubicBezTo>
                  <a:cubicBezTo>
                    <a:pt x="194" y="55"/>
                    <a:pt x="193" y="57"/>
                    <a:pt x="193" y="58"/>
                  </a:cubicBezTo>
                  <a:cubicBezTo>
                    <a:pt x="192" y="58"/>
                    <a:pt x="192" y="59"/>
                    <a:pt x="192" y="59"/>
                  </a:cubicBezTo>
                  <a:cubicBezTo>
                    <a:pt x="191" y="59"/>
                    <a:pt x="191" y="58"/>
                    <a:pt x="191" y="57"/>
                  </a:cubicBezTo>
                  <a:cubicBezTo>
                    <a:pt x="191" y="56"/>
                    <a:pt x="190" y="55"/>
                    <a:pt x="190" y="54"/>
                  </a:cubicBezTo>
                  <a:cubicBezTo>
                    <a:pt x="190" y="53"/>
                    <a:pt x="190" y="53"/>
                    <a:pt x="190" y="52"/>
                  </a:cubicBezTo>
                  <a:cubicBezTo>
                    <a:pt x="190" y="50"/>
                    <a:pt x="190" y="49"/>
                    <a:pt x="190" y="49"/>
                  </a:cubicBezTo>
                  <a:cubicBezTo>
                    <a:pt x="190" y="48"/>
                    <a:pt x="189" y="49"/>
                    <a:pt x="188" y="49"/>
                  </a:cubicBezTo>
                  <a:cubicBezTo>
                    <a:pt x="187" y="50"/>
                    <a:pt x="187" y="52"/>
                    <a:pt x="188" y="54"/>
                  </a:cubicBezTo>
                  <a:cubicBezTo>
                    <a:pt x="188" y="55"/>
                    <a:pt x="188" y="57"/>
                    <a:pt x="188" y="58"/>
                  </a:cubicBezTo>
                  <a:cubicBezTo>
                    <a:pt x="188" y="59"/>
                    <a:pt x="190" y="60"/>
                    <a:pt x="190" y="61"/>
                  </a:cubicBezTo>
                  <a:cubicBezTo>
                    <a:pt x="190" y="61"/>
                    <a:pt x="192" y="67"/>
                    <a:pt x="192" y="67"/>
                  </a:cubicBezTo>
                  <a:cubicBezTo>
                    <a:pt x="192" y="68"/>
                    <a:pt x="189" y="69"/>
                    <a:pt x="188" y="69"/>
                  </a:cubicBezTo>
                  <a:cubicBezTo>
                    <a:pt x="187" y="69"/>
                    <a:pt x="185" y="70"/>
                    <a:pt x="184" y="71"/>
                  </a:cubicBezTo>
                  <a:cubicBezTo>
                    <a:pt x="183" y="71"/>
                    <a:pt x="183" y="73"/>
                    <a:pt x="182" y="74"/>
                  </a:cubicBezTo>
                  <a:cubicBezTo>
                    <a:pt x="182" y="74"/>
                    <a:pt x="180" y="73"/>
                    <a:pt x="179" y="74"/>
                  </a:cubicBezTo>
                  <a:cubicBezTo>
                    <a:pt x="177" y="74"/>
                    <a:pt x="178" y="77"/>
                    <a:pt x="178" y="77"/>
                  </a:cubicBezTo>
                  <a:cubicBezTo>
                    <a:pt x="177" y="77"/>
                    <a:pt x="177" y="78"/>
                    <a:pt x="175" y="78"/>
                  </a:cubicBezTo>
                  <a:cubicBezTo>
                    <a:pt x="174" y="79"/>
                    <a:pt x="172" y="80"/>
                    <a:pt x="170" y="84"/>
                  </a:cubicBezTo>
                  <a:cubicBezTo>
                    <a:pt x="168" y="87"/>
                    <a:pt x="170" y="91"/>
                    <a:pt x="170" y="93"/>
                  </a:cubicBezTo>
                  <a:cubicBezTo>
                    <a:pt x="170" y="95"/>
                    <a:pt x="172" y="95"/>
                    <a:pt x="173" y="96"/>
                  </a:cubicBezTo>
                  <a:cubicBezTo>
                    <a:pt x="173" y="97"/>
                    <a:pt x="172" y="98"/>
                    <a:pt x="172" y="98"/>
                  </a:cubicBezTo>
                  <a:cubicBezTo>
                    <a:pt x="172" y="99"/>
                    <a:pt x="172" y="99"/>
                    <a:pt x="174" y="101"/>
                  </a:cubicBezTo>
                  <a:cubicBezTo>
                    <a:pt x="175" y="104"/>
                    <a:pt x="174" y="107"/>
                    <a:pt x="174" y="108"/>
                  </a:cubicBezTo>
                  <a:cubicBezTo>
                    <a:pt x="174" y="110"/>
                    <a:pt x="173" y="111"/>
                    <a:pt x="171" y="111"/>
                  </a:cubicBezTo>
                  <a:cubicBezTo>
                    <a:pt x="171" y="111"/>
                    <a:pt x="171" y="110"/>
                    <a:pt x="171" y="110"/>
                  </a:cubicBezTo>
                  <a:cubicBezTo>
                    <a:pt x="169" y="110"/>
                    <a:pt x="169" y="110"/>
                    <a:pt x="169" y="108"/>
                  </a:cubicBezTo>
                  <a:cubicBezTo>
                    <a:pt x="168" y="107"/>
                    <a:pt x="167" y="107"/>
                    <a:pt x="166" y="105"/>
                  </a:cubicBezTo>
                  <a:cubicBezTo>
                    <a:pt x="165" y="104"/>
                    <a:pt x="163" y="100"/>
                    <a:pt x="163" y="98"/>
                  </a:cubicBezTo>
                  <a:cubicBezTo>
                    <a:pt x="163" y="97"/>
                    <a:pt x="163" y="95"/>
                    <a:pt x="162" y="94"/>
                  </a:cubicBezTo>
                  <a:cubicBezTo>
                    <a:pt x="162" y="93"/>
                    <a:pt x="160" y="91"/>
                    <a:pt x="159" y="90"/>
                  </a:cubicBezTo>
                  <a:cubicBezTo>
                    <a:pt x="157" y="90"/>
                    <a:pt x="157" y="92"/>
                    <a:pt x="156" y="92"/>
                  </a:cubicBezTo>
                  <a:cubicBezTo>
                    <a:pt x="155" y="93"/>
                    <a:pt x="154" y="92"/>
                    <a:pt x="153" y="91"/>
                  </a:cubicBezTo>
                  <a:cubicBezTo>
                    <a:pt x="153" y="90"/>
                    <a:pt x="151" y="89"/>
                    <a:pt x="149" y="89"/>
                  </a:cubicBezTo>
                  <a:cubicBezTo>
                    <a:pt x="148" y="89"/>
                    <a:pt x="145" y="90"/>
                    <a:pt x="142" y="90"/>
                  </a:cubicBezTo>
                  <a:cubicBezTo>
                    <a:pt x="139" y="90"/>
                    <a:pt x="139" y="90"/>
                    <a:pt x="138" y="91"/>
                  </a:cubicBezTo>
                  <a:cubicBezTo>
                    <a:pt x="138" y="91"/>
                    <a:pt x="139" y="93"/>
                    <a:pt x="138" y="94"/>
                  </a:cubicBezTo>
                  <a:cubicBezTo>
                    <a:pt x="137" y="94"/>
                    <a:pt x="136" y="95"/>
                    <a:pt x="134" y="95"/>
                  </a:cubicBezTo>
                  <a:cubicBezTo>
                    <a:pt x="133" y="95"/>
                    <a:pt x="131" y="93"/>
                    <a:pt x="130" y="92"/>
                  </a:cubicBezTo>
                  <a:cubicBezTo>
                    <a:pt x="129" y="92"/>
                    <a:pt x="127" y="93"/>
                    <a:pt x="126" y="93"/>
                  </a:cubicBezTo>
                  <a:cubicBezTo>
                    <a:pt x="126" y="92"/>
                    <a:pt x="125" y="92"/>
                    <a:pt x="123" y="92"/>
                  </a:cubicBezTo>
                  <a:cubicBezTo>
                    <a:pt x="122" y="91"/>
                    <a:pt x="119" y="92"/>
                    <a:pt x="118" y="93"/>
                  </a:cubicBezTo>
                  <a:cubicBezTo>
                    <a:pt x="117" y="93"/>
                    <a:pt x="114" y="96"/>
                    <a:pt x="112" y="96"/>
                  </a:cubicBezTo>
                  <a:cubicBezTo>
                    <a:pt x="111" y="97"/>
                    <a:pt x="106" y="101"/>
                    <a:pt x="106" y="102"/>
                  </a:cubicBezTo>
                  <a:cubicBezTo>
                    <a:pt x="106" y="103"/>
                    <a:pt x="108" y="105"/>
                    <a:pt x="108" y="107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5" y="108"/>
                    <a:pt x="105" y="108"/>
                    <a:pt x="105" y="108"/>
                  </a:cubicBezTo>
                  <a:cubicBezTo>
                    <a:pt x="105" y="108"/>
                    <a:pt x="101" y="106"/>
                    <a:pt x="100" y="105"/>
                  </a:cubicBezTo>
                  <a:cubicBezTo>
                    <a:pt x="100" y="105"/>
                    <a:pt x="94" y="93"/>
                    <a:pt x="92" y="92"/>
                  </a:cubicBezTo>
                  <a:cubicBezTo>
                    <a:pt x="90" y="91"/>
                    <a:pt x="88" y="91"/>
                    <a:pt x="87" y="91"/>
                  </a:cubicBezTo>
                  <a:cubicBezTo>
                    <a:pt x="86" y="91"/>
                    <a:pt x="86" y="95"/>
                    <a:pt x="84" y="94"/>
                  </a:cubicBezTo>
                  <a:cubicBezTo>
                    <a:pt x="82" y="93"/>
                    <a:pt x="79" y="92"/>
                    <a:pt x="78" y="90"/>
                  </a:cubicBezTo>
                  <a:cubicBezTo>
                    <a:pt x="78" y="88"/>
                    <a:pt x="77" y="87"/>
                    <a:pt x="76" y="87"/>
                  </a:cubicBezTo>
                  <a:cubicBezTo>
                    <a:pt x="75" y="86"/>
                    <a:pt x="72" y="83"/>
                    <a:pt x="72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78"/>
                    <a:pt x="30" y="77"/>
                    <a:pt x="30" y="77"/>
                  </a:cubicBezTo>
                  <a:cubicBezTo>
                    <a:pt x="29" y="75"/>
                    <a:pt x="22" y="72"/>
                    <a:pt x="21" y="71"/>
                  </a:cubicBezTo>
                  <a:cubicBezTo>
                    <a:pt x="20" y="70"/>
                    <a:pt x="17" y="72"/>
                    <a:pt x="17" y="71"/>
                  </a:cubicBezTo>
                  <a:cubicBezTo>
                    <a:pt x="16" y="70"/>
                    <a:pt x="15" y="67"/>
                    <a:pt x="15" y="66"/>
                  </a:cubicBezTo>
                  <a:cubicBezTo>
                    <a:pt x="15" y="66"/>
                    <a:pt x="13" y="64"/>
                    <a:pt x="11" y="62"/>
                  </a:cubicBezTo>
                  <a:cubicBezTo>
                    <a:pt x="10" y="61"/>
                    <a:pt x="9" y="55"/>
                    <a:pt x="8" y="54"/>
                  </a:cubicBezTo>
                  <a:cubicBezTo>
                    <a:pt x="6" y="52"/>
                    <a:pt x="5" y="50"/>
                    <a:pt x="5" y="49"/>
                  </a:cubicBezTo>
                  <a:cubicBezTo>
                    <a:pt x="5" y="48"/>
                    <a:pt x="2" y="46"/>
                    <a:pt x="2" y="45"/>
                  </a:cubicBezTo>
                  <a:cubicBezTo>
                    <a:pt x="2" y="43"/>
                    <a:pt x="3" y="40"/>
                    <a:pt x="3" y="39"/>
                  </a:cubicBezTo>
                  <a:cubicBezTo>
                    <a:pt x="3" y="38"/>
                    <a:pt x="1" y="34"/>
                    <a:pt x="1" y="33"/>
                  </a:cubicBezTo>
                  <a:cubicBezTo>
                    <a:pt x="1" y="32"/>
                    <a:pt x="4" y="22"/>
                    <a:pt x="4" y="20"/>
                  </a:cubicBezTo>
                  <a:cubicBezTo>
                    <a:pt x="4" y="18"/>
                    <a:pt x="3" y="14"/>
                    <a:pt x="2" y="12"/>
                  </a:cubicBezTo>
                  <a:cubicBezTo>
                    <a:pt x="2" y="11"/>
                    <a:pt x="0" y="9"/>
                    <a:pt x="1" y="9"/>
                  </a:cubicBezTo>
                  <a:cubicBezTo>
                    <a:pt x="1" y="10"/>
                    <a:pt x="3" y="10"/>
                    <a:pt x="4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0" name="Freeform 653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1203910" y="2512576"/>
              <a:ext cx="34373" cy="30138"/>
            </a:xfrm>
            <a:custGeom>
              <a:avLst/>
              <a:gdLst>
                <a:gd name="T0" fmla="*/ 4 w 6"/>
                <a:gd name="T1" fmla="*/ 1 h 5"/>
                <a:gd name="T2" fmla="*/ 6 w 6"/>
                <a:gd name="T3" fmla="*/ 4 h 5"/>
                <a:gd name="T4" fmla="*/ 3 w 6"/>
                <a:gd name="T5" fmla="*/ 3 h 5"/>
                <a:gd name="T6" fmla="*/ 2 w 6"/>
                <a:gd name="T7" fmla="*/ 5 h 5"/>
                <a:gd name="T8" fmla="*/ 0 w 6"/>
                <a:gd name="T9" fmla="*/ 1 h 5"/>
                <a:gd name="T10" fmla="*/ 2 w 6"/>
                <a:gd name="T11" fmla="*/ 0 h 5"/>
                <a:gd name="T12" fmla="*/ 4 w 6"/>
                <a:gd name="T1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4" y="1"/>
                  </a:moveTo>
                  <a:cubicBezTo>
                    <a:pt x="4" y="2"/>
                    <a:pt x="6" y="4"/>
                    <a:pt x="6" y="4"/>
                  </a:cubicBezTo>
                  <a:cubicBezTo>
                    <a:pt x="6" y="5"/>
                    <a:pt x="3" y="3"/>
                    <a:pt x="3" y="3"/>
                  </a:cubicBezTo>
                  <a:cubicBezTo>
                    <a:pt x="3" y="3"/>
                    <a:pt x="3" y="5"/>
                    <a:pt x="2" y="5"/>
                  </a:cubicBezTo>
                  <a:cubicBezTo>
                    <a:pt x="1" y="5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1" name="Freeform 653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1178911" y="2469044"/>
              <a:ext cx="18749" cy="36835"/>
            </a:xfrm>
            <a:custGeom>
              <a:avLst/>
              <a:gdLst>
                <a:gd name="T0" fmla="*/ 0 w 3"/>
                <a:gd name="T1" fmla="*/ 3 h 6"/>
                <a:gd name="T2" fmla="*/ 1 w 3"/>
                <a:gd name="T3" fmla="*/ 0 h 6"/>
                <a:gd name="T4" fmla="*/ 3 w 3"/>
                <a:gd name="T5" fmla="*/ 1 h 6"/>
                <a:gd name="T6" fmla="*/ 3 w 3"/>
                <a:gd name="T7" fmla="*/ 5 h 6"/>
                <a:gd name="T8" fmla="*/ 0 w 3"/>
                <a:gd name="T9" fmla="*/ 6 h 6"/>
                <a:gd name="T10" fmla="*/ 0 w 3"/>
                <a:gd name="T1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3" y="1"/>
                    <a:pt x="3" y="4"/>
                    <a:pt x="3" y="5"/>
                  </a:cubicBezTo>
                  <a:cubicBezTo>
                    <a:pt x="3" y="5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2" name="Freeform 653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1166412" y="2415464"/>
              <a:ext cx="24999" cy="36835"/>
            </a:xfrm>
            <a:custGeom>
              <a:avLst/>
              <a:gdLst>
                <a:gd name="T0" fmla="*/ 3 w 4"/>
                <a:gd name="T1" fmla="*/ 3 h 6"/>
                <a:gd name="T2" fmla="*/ 4 w 4"/>
                <a:gd name="T3" fmla="*/ 5 h 6"/>
                <a:gd name="T4" fmla="*/ 1 w 4"/>
                <a:gd name="T5" fmla="*/ 6 h 6"/>
                <a:gd name="T6" fmla="*/ 1 w 4"/>
                <a:gd name="T7" fmla="*/ 4 h 6"/>
                <a:gd name="T8" fmla="*/ 0 w 4"/>
                <a:gd name="T9" fmla="*/ 0 h 6"/>
                <a:gd name="T10" fmla="*/ 3 w 4"/>
                <a:gd name="T1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3" y="3"/>
                  </a:moveTo>
                  <a:cubicBezTo>
                    <a:pt x="3" y="3"/>
                    <a:pt x="4" y="5"/>
                    <a:pt x="4" y="5"/>
                  </a:cubicBezTo>
                  <a:cubicBezTo>
                    <a:pt x="4" y="5"/>
                    <a:pt x="1" y="6"/>
                    <a:pt x="1" y="6"/>
                  </a:cubicBezTo>
                  <a:cubicBezTo>
                    <a:pt x="1" y="6"/>
                    <a:pt x="1" y="4"/>
                    <a:pt x="1" y="4"/>
                  </a:cubicBezTo>
                  <a:cubicBezTo>
                    <a:pt x="1" y="3"/>
                    <a:pt x="0" y="0"/>
                    <a:pt x="0" y="0"/>
                  </a:cubicBezTo>
                  <a:cubicBezTo>
                    <a:pt x="1" y="0"/>
                    <a:pt x="3" y="3"/>
                    <a:pt x="3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3" name="Freeform 653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1122664" y="2428860"/>
              <a:ext cx="37498" cy="63625"/>
            </a:xfrm>
            <a:custGeom>
              <a:avLst/>
              <a:gdLst>
                <a:gd name="T0" fmla="*/ 4 w 6"/>
                <a:gd name="T1" fmla="*/ 5 h 10"/>
                <a:gd name="T2" fmla="*/ 1 w 6"/>
                <a:gd name="T3" fmla="*/ 4 h 10"/>
                <a:gd name="T4" fmla="*/ 0 w 6"/>
                <a:gd name="T5" fmla="*/ 1 h 10"/>
                <a:gd name="T6" fmla="*/ 3 w 6"/>
                <a:gd name="T7" fmla="*/ 0 h 10"/>
                <a:gd name="T8" fmla="*/ 4 w 6"/>
                <a:gd name="T9" fmla="*/ 0 h 10"/>
                <a:gd name="T10" fmla="*/ 5 w 6"/>
                <a:gd name="T11" fmla="*/ 5 h 10"/>
                <a:gd name="T12" fmla="*/ 6 w 6"/>
                <a:gd name="T13" fmla="*/ 9 h 10"/>
                <a:gd name="T14" fmla="*/ 6 w 6"/>
                <a:gd name="T15" fmla="*/ 10 h 10"/>
                <a:gd name="T16" fmla="*/ 4 w 6"/>
                <a:gd name="T17" fmla="*/ 7 h 10"/>
                <a:gd name="T18" fmla="*/ 4 w 6"/>
                <a:gd name="T1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0">
                  <a:moveTo>
                    <a:pt x="4" y="5"/>
                  </a:moveTo>
                  <a:cubicBezTo>
                    <a:pt x="3" y="5"/>
                    <a:pt x="1" y="5"/>
                    <a:pt x="1" y="4"/>
                  </a:cubicBezTo>
                  <a:cubicBezTo>
                    <a:pt x="1" y="3"/>
                    <a:pt x="0" y="1"/>
                    <a:pt x="0" y="1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1"/>
                    <a:pt x="5" y="4"/>
                    <a:pt x="5" y="5"/>
                  </a:cubicBezTo>
                  <a:cubicBezTo>
                    <a:pt x="5" y="5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7"/>
                    <a:pt x="4" y="7"/>
                  </a:cubicBezTo>
                  <a:cubicBezTo>
                    <a:pt x="3" y="6"/>
                    <a:pt x="4" y="5"/>
                    <a:pt x="4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4" name="Freeform 653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700809" y="2402070"/>
              <a:ext cx="71872" cy="70322"/>
            </a:xfrm>
            <a:custGeom>
              <a:avLst/>
              <a:gdLst>
                <a:gd name="T0" fmla="*/ 2 w 12"/>
                <a:gd name="T1" fmla="*/ 10 h 11"/>
                <a:gd name="T2" fmla="*/ 2 w 12"/>
                <a:gd name="T3" fmla="*/ 8 h 11"/>
                <a:gd name="T4" fmla="*/ 1 w 12"/>
                <a:gd name="T5" fmla="*/ 6 h 11"/>
                <a:gd name="T6" fmla="*/ 6 w 12"/>
                <a:gd name="T7" fmla="*/ 2 h 11"/>
                <a:gd name="T8" fmla="*/ 10 w 12"/>
                <a:gd name="T9" fmla="*/ 0 h 11"/>
                <a:gd name="T10" fmla="*/ 12 w 12"/>
                <a:gd name="T11" fmla="*/ 1 h 11"/>
                <a:gd name="T12" fmla="*/ 10 w 12"/>
                <a:gd name="T13" fmla="*/ 3 h 11"/>
                <a:gd name="T14" fmla="*/ 10 w 12"/>
                <a:gd name="T15" fmla="*/ 6 h 11"/>
                <a:gd name="T16" fmla="*/ 5 w 12"/>
                <a:gd name="T17" fmla="*/ 8 h 11"/>
                <a:gd name="T18" fmla="*/ 2 w 12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1">
                  <a:moveTo>
                    <a:pt x="2" y="10"/>
                  </a:moveTo>
                  <a:cubicBezTo>
                    <a:pt x="1" y="10"/>
                    <a:pt x="2" y="8"/>
                    <a:pt x="2" y="8"/>
                  </a:cubicBezTo>
                  <a:cubicBezTo>
                    <a:pt x="2" y="8"/>
                    <a:pt x="0" y="7"/>
                    <a:pt x="1" y="6"/>
                  </a:cubicBezTo>
                  <a:cubicBezTo>
                    <a:pt x="2" y="6"/>
                    <a:pt x="5" y="4"/>
                    <a:pt x="6" y="2"/>
                  </a:cubicBezTo>
                  <a:cubicBezTo>
                    <a:pt x="7" y="1"/>
                    <a:pt x="10" y="0"/>
                    <a:pt x="10" y="0"/>
                  </a:cubicBezTo>
                  <a:cubicBezTo>
                    <a:pt x="10" y="0"/>
                    <a:pt x="12" y="0"/>
                    <a:pt x="12" y="1"/>
                  </a:cubicBezTo>
                  <a:cubicBezTo>
                    <a:pt x="12" y="3"/>
                    <a:pt x="10" y="1"/>
                    <a:pt x="10" y="3"/>
                  </a:cubicBezTo>
                  <a:cubicBezTo>
                    <a:pt x="10" y="4"/>
                    <a:pt x="11" y="5"/>
                    <a:pt x="10" y="6"/>
                  </a:cubicBezTo>
                  <a:cubicBezTo>
                    <a:pt x="9" y="6"/>
                    <a:pt x="7" y="7"/>
                    <a:pt x="5" y="8"/>
                  </a:cubicBezTo>
                  <a:cubicBezTo>
                    <a:pt x="4" y="9"/>
                    <a:pt x="3" y="11"/>
                    <a:pt x="2" y="1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5" name="Freeform 653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85199" y="1869630"/>
              <a:ext cx="781213" cy="689828"/>
            </a:xfrm>
            <a:custGeom>
              <a:avLst/>
              <a:gdLst>
                <a:gd name="T0" fmla="*/ 18 w 129"/>
                <a:gd name="T1" fmla="*/ 34 h 106"/>
                <a:gd name="T2" fmla="*/ 25 w 129"/>
                <a:gd name="T3" fmla="*/ 33 h 106"/>
                <a:gd name="T4" fmla="*/ 17 w 129"/>
                <a:gd name="T5" fmla="*/ 28 h 106"/>
                <a:gd name="T6" fmla="*/ 8 w 129"/>
                <a:gd name="T7" fmla="*/ 18 h 106"/>
                <a:gd name="T8" fmla="*/ 23 w 129"/>
                <a:gd name="T9" fmla="*/ 9 h 106"/>
                <a:gd name="T10" fmla="*/ 38 w 129"/>
                <a:gd name="T11" fmla="*/ 5 h 106"/>
                <a:gd name="T12" fmla="*/ 56 w 129"/>
                <a:gd name="T13" fmla="*/ 3 h 106"/>
                <a:gd name="T14" fmla="*/ 65 w 129"/>
                <a:gd name="T15" fmla="*/ 7 h 106"/>
                <a:gd name="T16" fmla="*/ 97 w 129"/>
                <a:gd name="T17" fmla="*/ 10 h 106"/>
                <a:gd name="T18" fmla="*/ 109 w 129"/>
                <a:gd name="T19" fmla="*/ 70 h 106"/>
                <a:gd name="T20" fmla="*/ 118 w 129"/>
                <a:gd name="T21" fmla="*/ 76 h 106"/>
                <a:gd name="T22" fmla="*/ 127 w 129"/>
                <a:gd name="T23" fmla="*/ 74 h 106"/>
                <a:gd name="T24" fmla="*/ 128 w 129"/>
                <a:gd name="T25" fmla="*/ 83 h 106"/>
                <a:gd name="T26" fmla="*/ 122 w 129"/>
                <a:gd name="T27" fmla="*/ 83 h 106"/>
                <a:gd name="T28" fmla="*/ 111 w 129"/>
                <a:gd name="T29" fmla="*/ 77 h 106"/>
                <a:gd name="T30" fmla="*/ 103 w 129"/>
                <a:gd name="T31" fmla="*/ 74 h 106"/>
                <a:gd name="T32" fmla="*/ 88 w 129"/>
                <a:gd name="T33" fmla="*/ 72 h 106"/>
                <a:gd name="T34" fmla="*/ 85 w 129"/>
                <a:gd name="T35" fmla="*/ 70 h 106"/>
                <a:gd name="T36" fmla="*/ 79 w 129"/>
                <a:gd name="T37" fmla="*/ 72 h 106"/>
                <a:gd name="T38" fmla="*/ 66 w 129"/>
                <a:gd name="T39" fmla="*/ 79 h 106"/>
                <a:gd name="T40" fmla="*/ 64 w 129"/>
                <a:gd name="T41" fmla="*/ 75 h 106"/>
                <a:gd name="T42" fmla="*/ 71 w 129"/>
                <a:gd name="T43" fmla="*/ 69 h 106"/>
                <a:gd name="T44" fmla="*/ 66 w 129"/>
                <a:gd name="T45" fmla="*/ 67 h 106"/>
                <a:gd name="T46" fmla="*/ 57 w 129"/>
                <a:gd name="T47" fmla="*/ 76 h 106"/>
                <a:gd name="T48" fmla="*/ 51 w 129"/>
                <a:gd name="T49" fmla="*/ 86 h 106"/>
                <a:gd name="T50" fmla="*/ 43 w 129"/>
                <a:gd name="T51" fmla="*/ 91 h 106"/>
                <a:gd name="T52" fmla="*/ 36 w 129"/>
                <a:gd name="T53" fmla="*/ 97 h 106"/>
                <a:gd name="T54" fmla="*/ 23 w 129"/>
                <a:gd name="T55" fmla="*/ 101 h 106"/>
                <a:gd name="T56" fmla="*/ 15 w 129"/>
                <a:gd name="T57" fmla="*/ 106 h 106"/>
                <a:gd name="T58" fmla="*/ 16 w 129"/>
                <a:gd name="T59" fmla="*/ 101 h 106"/>
                <a:gd name="T60" fmla="*/ 25 w 129"/>
                <a:gd name="T61" fmla="*/ 96 h 106"/>
                <a:gd name="T62" fmla="*/ 37 w 129"/>
                <a:gd name="T63" fmla="*/ 91 h 106"/>
                <a:gd name="T64" fmla="*/ 43 w 129"/>
                <a:gd name="T65" fmla="*/ 80 h 106"/>
                <a:gd name="T66" fmla="*/ 37 w 129"/>
                <a:gd name="T67" fmla="*/ 80 h 106"/>
                <a:gd name="T68" fmla="*/ 30 w 129"/>
                <a:gd name="T69" fmla="*/ 80 h 106"/>
                <a:gd name="T70" fmla="*/ 25 w 129"/>
                <a:gd name="T71" fmla="*/ 76 h 106"/>
                <a:gd name="T72" fmla="*/ 14 w 129"/>
                <a:gd name="T73" fmla="*/ 72 h 106"/>
                <a:gd name="T74" fmla="*/ 12 w 129"/>
                <a:gd name="T75" fmla="*/ 58 h 106"/>
                <a:gd name="T76" fmla="*/ 22 w 129"/>
                <a:gd name="T77" fmla="*/ 52 h 106"/>
                <a:gd name="T78" fmla="*/ 27 w 129"/>
                <a:gd name="T79" fmla="*/ 48 h 106"/>
                <a:gd name="T80" fmla="*/ 21 w 129"/>
                <a:gd name="T81" fmla="*/ 47 h 106"/>
                <a:gd name="T82" fmla="*/ 7 w 129"/>
                <a:gd name="T83" fmla="*/ 4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9" h="106">
                  <a:moveTo>
                    <a:pt x="0" y="39"/>
                  </a:moveTo>
                  <a:cubicBezTo>
                    <a:pt x="0" y="38"/>
                    <a:pt x="11" y="34"/>
                    <a:pt x="13" y="34"/>
                  </a:cubicBezTo>
                  <a:cubicBezTo>
                    <a:pt x="14" y="33"/>
                    <a:pt x="19" y="33"/>
                    <a:pt x="18" y="34"/>
                  </a:cubicBezTo>
                  <a:cubicBezTo>
                    <a:pt x="18" y="34"/>
                    <a:pt x="17" y="36"/>
                    <a:pt x="18" y="36"/>
                  </a:cubicBezTo>
                  <a:cubicBezTo>
                    <a:pt x="19" y="37"/>
                    <a:pt x="25" y="37"/>
                    <a:pt x="25" y="36"/>
                  </a:cubicBezTo>
                  <a:cubicBezTo>
                    <a:pt x="26" y="36"/>
                    <a:pt x="26" y="34"/>
                    <a:pt x="25" y="33"/>
                  </a:cubicBezTo>
                  <a:cubicBezTo>
                    <a:pt x="25" y="33"/>
                    <a:pt x="25" y="31"/>
                    <a:pt x="24" y="31"/>
                  </a:cubicBezTo>
                  <a:cubicBezTo>
                    <a:pt x="23" y="31"/>
                    <a:pt x="18" y="31"/>
                    <a:pt x="18" y="30"/>
                  </a:cubicBezTo>
                  <a:cubicBezTo>
                    <a:pt x="18" y="30"/>
                    <a:pt x="17" y="28"/>
                    <a:pt x="17" y="28"/>
                  </a:cubicBezTo>
                  <a:cubicBezTo>
                    <a:pt x="16" y="27"/>
                    <a:pt x="12" y="25"/>
                    <a:pt x="11" y="24"/>
                  </a:cubicBezTo>
                  <a:cubicBezTo>
                    <a:pt x="10" y="23"/>
                    <a:pt x="6" y="23"/>
                    <a:pt x="6" y="22"/>
                  </a:cubicBezTo>
                  <a:cubicBezTo>
                    <a:pt x="7" y="21"/>
                    <a:pt x="7" y="18"/>
                    <a:pt x="8" y="18"/>
                  </a:cubicBezTo>
                  <a:cubicBezTo>
                    <a:pt x="9" y="19"/>
                    <a:pt x="17" y="18"/>
                    <a:pt x="18" y="17"/>
                  </a:cubicBezTo>
                  <a:cubicBezTo>
                    <a:pt x="20" y="16"/>
                    <a:pt x="20" y="13"/>
                    <a:pt x="20" y="12"/>
                  </a:cubicBezTo>
                  <a:cubicBezTo>
                    <a:pt x="20" y="11"/>
                    <a:pt x="22" y="9"/>
                    <a:pt x="23" y="9"/>
                  </a:cubicBezTo>
                  <a:cubicBezTo>
                    <a:pt x="24" y="8"/>
                    <a:pt x="28" y="8"/>
                    <a:pt x="29" y="8"/>
                  </a:cubicBezTo>
                  <a:cubicBezTo>
                    <a:pt x="31" y="7"/>
                    <a:pt x="33" y="4"/>
                    <a:pt x="35" y="4"/>
                  </a:cubicBezTo>
                  <a:cubicBezTo>
                    <a:pt x="36" y="4"/>
                    <a:pt x="35" y="5"/>
                    <a:pt x="38" y="5"/>
                  </a:cubicBezTo>
                  <a:cubicBezTo>
                    <a:pt x="42" y="5"/>
                    <a:pt x="44" y="0"/>
                    <a:pt x="45" y="1"/>
                  </a:cubicBezTo>
                  <a:cubicBezTo>
                    <a:pt x="46" y="1"/>
                    <a:pt x="47" y="1"/>
                    <a:pt x="48" y="2"/>
                  </a:cubicBezTo>
                  <a:cubicBezTo>
                    <a:pt x="49" y="2"/>
                    <a:pt x="54" y="3"/>
                    <a:pt x="56" y="3"/>
                  </a:cubicBezTo>
                  <a:cubicBezTo>
                    <a:pt x="57" y="3"/>
                    <a:pt x="60" y="3"/>
                    <a:pt x="61" y="4"/>
                  </a:cubicBezTo>
                  <a:cubicBezTo>
                    <a:pt x="63" y="4"/>
                    <a:pt x="61" y="5"/>
                    <a:pt x="61" y="6"/>
                  </a:cubicBezTo>
                  <a:cubicBezTo>
                    <a:pt x="62" y="7"/>
                    <a:pt x="62" y="6"/>
                    <a:pt x="65" y="7"/>
                  </a:cubicBezTo>
                  <a:cubicBezTo>
                    <a:pt x="67" y="8"/>
                    <a:pt x="72" y="7"/>
                    <a:pt x="73" y="7"/>
                  </a:cubicBezTo>
                  <a:cubicBezTo>
                    <a:pt x="75" y="7"/>
                    <a:pt x="79" y="9"/>
                    <a:pt x="84" y="9"/>
                  </a:cubicBezTo>
                  <a:cubicBezTo>
                    <a:pt x="89" y="10"/>
                    <a:pt x="95" y="10"/>
                    <a:pt x="97" y="10"/>
                  </a:cubicBezTo>
                  <a:cubicBezTo>
                    <a:pt x="98" y="10"/>
                    <a:pt x="102" y="11"/>
                    <a:pt x="105" y="12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9"/>
                    <a:pt x="109" y="70"/>
                    <a:pt x="109" y="70"/>
                  </a:cubicBezTo>
                  <a:cubicBezTo>
                    <a:pt x="110" y="70"/>
                    <a:pt x="113" y="69"/>
                    <a:pt x="114" y="70"/>
                  </a:cubicBezTo>
                  <a:cubicBezTo>
                    <a:pt x="115" y="70"/>
                    <a:pt x="114" y="72"/>
                    <a:pt x="114" y="73"/>
                  </a:cubicBezTo>
                  <a:cubicBezTo>
                    <a:pt x="114" y="73"/>
                    <a:pt x="117" y="76"/>
                    <a:pt x="118" y="76"/>
                  </a:cubicBezTo>
                  <a:cubicBezTo>
                    <a:pt x="118" y="76"/>
                    <a:pt x="120" y="78"/>
                    <a:pt x="120" y="78"/>
                  </a:cubicBezTo>
                  <a:cubicBezTo>
                    <a:pt x="120" y="78"/>
                    <a:pt x="124" y="74"/>
                    <a:pt x="124" y="74"/>
                  </a:cubicBezTo>
                  <a:cubicBezTo>
                    <a:pt x="125" y="74"/>
                    <a:pt x="126" y="73"/>
                    <a:pt x="127" y="74"/>
                  </a:cubicBezTo>
                  <a:cubicBezTo>
                    <a:pt x="128" y="74"/>
                    <a:pt x="128" y="77"/>
                    <a:pt x="128" y="77"/>
                  </a:cubicBezTo>
                  <a:cubicBezTo>
                    <a:pt x="128" y="77"/>
                    <a:pt x="128" y="77"/>
                    <a:pt x="127" y="77"/>
                  </a:cubicBezTo>
                  <a:cubicBezTo>
                    <a:pt x="127" y="78"/>
                    <a:pt x="129" y="83"/>
                    <a:pt x="128" y="83"/>
                  </a:cubicBezTo>
                  <a:cubicBezTo>
                    <a:pt x="127" y="83"/>
                    <a:pt x="125" y="79"/>
                    <a:pt x="124" y="80"/>
                  </a:cubicBezTo>
                  <a:cubicBezTo>
                    <a:pt x="122" y="80"/>
                    <a:pt x="125" y="83"/>
                    <a:pt x="125" y="83"/>
                  </a:cubicBezTo>
                  <a:cubicBezTo>
                    <a:pt x="125" y="84"/>
                    <a:pt x="123" y="83"/>
                    <a:pt x="122" y="83"/>
                  </a:cubicBezTo>
                  <a:cubicBezTo>
                    <a:pt x="121" y="83"/>
                    <a:pt x="121" y="83"/>
                    <a:pt x="119" y="82"/>
                  </a:cubicBezTo>
                  <a:cubicBezTo>
                    <a:pt x="119" y="81"/>
                    <a:pt x="116" y="80"/>
                    <a:pt x="115" y="79"/>
                  </a:cubicBezTo>
                  <a:cubicBezTo>
                    <a:pt x="114" y="78"/>
                    <a:pt x="112" y="77"/>
                    <a:pt x="111" y="77"/>
                  </a:cubicBezTo>
                  <a:cubicBezTo>
                    <a:pt x="110" y="76"/>
                    <a:pt x="112" y="75"/>
                    <a:pt x="111" y="74"/>
                  </a:cubicBezTo>
                  <a:cubicBezTo>
                    <a:pt x="110" y="73"/>
                    <a:pt x="108" y="75"/>
                    <a:pt x="108" y="75"/>
                  </a:cubicBezTo>
                  <a:cubicBezTo>
                    <a:pt x="107" y="75"/>
                    <a:pt x="105" y="75"/>
                    <a:pt x="103" y="74"/>
                  </a:cubicBezTo>
                  <a:cubicBezTo>
                    <a:pt x="100" y="73"/>
                    <a:pt x="96" y="74"/>
                    <a:pt x="95" y="74"/>
                  </a:cubicBezTo>
                  <a:cubicBezTo>
                    <a:pt x="94" y="74"/>
                    <a:pt x="93" y="73"/>
                    <a:pt x="92" y="73"/>
                  </a:cubicBezTo>
                  <a:cubicBezTo>
                    <a:pt x="91" y="72"/>
                    <a:pt x="89" y="72"/>
                    <a:pt x="88" y="72"/>
                  </a:cubicBezTo>
                  <a:cubicBezTo>
                    <a:pt x="87" y="72"/>
                    <a:pt x="85" y="73"/>
                    <a:pt x="84" y="73"/>
                  </a:cubicBezTo>
                  <a:cubicBezTo>
                    <a:pt x="84" y="73"/>
                    <a:pt x="84" y="73"/>
                    <a:pt x="83" y="72"/>
                  </a:cubicBezTo>
                  <a:cubicBezTo>
                    <a:pt x="83" y="71"/>
                    <a:pt x="86" y="70"/>
                    <a:pt x="85" y="70"/>
                  </a:cubicBezTo>
                  <a:cubicBezTo>
                    <a:pt x="85" y="69"/>
                    <a:pt x="83" y="68"/>
                    <a:pt x="82" y="68"/>
                  </a:cubicBezTo>
                  <a:cubicBezTo>
                    <a:pt x="82" y="68"/>
                    <a:pt x="79" y="68"/>
                    <a:pt x="78" y="69"/>
                  </a:cubicBezTo>
                  <a:cubicBezTo>
                    <a:pt x="77" y="69"/>
                    <a:pt x="79" y="71"/>
                    <a:pt x="79" y="72"/>
                  </a:cubicBezTo>
                  <a:cubicBezTo>
                    <a:pt x="79" y="74"/>
                    <a:pt x="77" y="74"/>
                    <a:pt x="75" y="74"/>
                  </a:cubicBezTo>
                  <a:cubicBezTo>
                    <a:pt x="74" y="74"/>
                    <a:pt x="72" y="75"/>
                    <a:pt x="71" y="76"/>
                  </a:cubicBezTo>
                  <a:cubicBezTo>
                    <a:pt x="70" y="76"/>
                    <a:pt x="67" y="78"/>
                    <a:pt x="66" y="79"/>
                  </a:cubicBezTo>
                  <a:cubicBezTo>
                    <a:pt x="64" y="79"/>
                    <a:pt x="64" y="79"/>
                    <a:pt x="63" y="79"/>
                  </a:cubicBezTo>
                  <a:cubicBezTo>
                    <a:pt x="62" y="79"/>
                    <a:pt x="65" y="77"/>
                    <a:pt x="65" y="76"/>
                  </a:cubicBezTo>
                  <a:cubicBezTo>
                    <a:pt x="65" y="76"/>
                    <a:pt x="64" y="76"/>
                    <a:pt x="64" y="75"/>
                  </a:cubicBezTo>
                  <a:cubicBezTo>
                    <a:pt x="64" y="75"/>
                    <a:pt x="65" y="71"/>
                    <a:pt x="66" y="70"/>
                  </a:cubicBezTo>
                  <a:cubicBezTo>
                    <a:pt x="67" y="70"/>
                    <a:pt x="67" y="70"/>
                    <a:pt x="68" y="69"/>
                  </a:cubicBezTo>
                  <a:cubicBezTo>
                    <a:pt x="69" y="69"/>
                    <a:pt x="70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1" y="67"/>
                    <a:pt x="71" y="66"/>
                    <a:pt x="70" y="66"/>
                  </a:cubicBezTo>
                  <a:cubicBezTo>
                    <a:pt x="69" y="66"/>
                    <a:pt x="67" y="66"/>
                    <a:pt x="66" y="67"/>
                  </a:cubicBezTo>
                  <a:cubicBezTo>
                    <a:pt x="65" y="67"/>
                    <a:pt x="63" y="69"/>
                    <a:pt x="63" y="70"/>
                  </a:cubicBezTo>
                  <a:cubicBezTo>
                    <a:pt x="62" y="70"/>
                    <a:pt x="61" y="74"/>
                    <a:pt x="60" y="74"/>
                  </a:cubicBezTo>
                  <a:cubicBezTo>
                    <a:pt x="59" y="75"/>
                    <a:pt x="58" y="75"/>
                    <a:pt x="57" y="76"/>
                  </a:cubicBezTo>
                  <a:cubicBezTo>
                    <a:pt x="55" y="76"/>
                    <a:pt x="55" y="78"/>
                    <a:pt x="54" y="79"/>
                  </a:cubicBezTo>
                  <a:cubicBezTo>
                    <a:pt x="54" y="79"/>
                    <a:pt x="59" y="78"/>
                    <a:pt x="58" y="81"/>
                  </a:cubicBezTo>
                  <a:cubicBezTo>
                    <a:pt x="58" y="81"/>
                    <a:pt x="52" y="86"/>
                    <a:pt x="51" y="86"/>
                  </a:cubicBezTo>
                  <a:cubicBezTo>
                    <a:pt x="49" y="87"/>
                    <a:pt x="48" y="87"/>
                    <a:pt x="47" y="87"/>
                  </a:cubicBezTo>
                  <a:cubicBezTo>
                    <a:pt x="46" y="88"/>
                    <a:pt x="47" y="89"/>
                    <a:pt x="46" y="89"/>
                  </a:cubicBezTo>
                  <a:cubicBezTo>
                    <a:pt x="46" y="90"/>
                    <a:pt x="44" y="91"/>
                    <a:pt x="43" y="91"/>
                  </a:cubicBezTo>
                  <a:cubicBezTo>
                    <a:pt x="43" y="92"/>
                    <a:pt x="40" y="93"/>
                    <a:pt x="39" y="93"/>
                  </a:cubicBezTo>
                  <a:cubicBezTo>
                    <a:pt x="38" y="93"/>
                    <a:pt x="40" y="95"/>
                    <a:pt x="39" y="95"/>
                  </a:cubicBezTo>
                  <a:cubicBezTo>
                    <a:pt x="39" y="96"/>
                    <a:pt x="37" y="97"/>
                    <a:pt x="36" y="97"/>
                  </a:cubicBezTo>
                  <a:cubicBezTo>
                    <a:pt x="35" y="97"/>
                    <a:pt x="32" y="98"/>
                    <a:pt x="32" y="99"/>
                  </a:cubicBezTo>
                  <a:cubicBezTo>
                    <a:pt x="31" y="99"/>
                    <a:pt x="28" y="100"/>
                    <a:pt x="27" y="100"/>
                  </a:cubicBezTo>
                  <a:cubicBezTo>
                    <a:pt x="26" y="100"/>
                    <a:pt x="23" y="101"/>
                    <a:pt x="23" y="101"/>
                  </a:cubicBezTo>
                  <a:cubicBezTo>
                    <a:pt x="22" y="101"/>
                    <a:pt x="21" y="103"/>
                    <a:pt x="20" y="103"/>
                  </a:cubicBezTo>
                  <a:cubicBezTo>
                    <a:pt x="19" y="104"/>
                    <a:pt x="17" y="104"/>
                    <a:pt x="17" y="104"/>
                  </a:cubicBezTo>
                  <a:cubicBezTo>
                    <a:pt x="16" y="104"/>
                    <a:pt x="16" y="105"/>
                    <a:pt x="15" y="106"/>
                  </a:cubicBezTo>
                  <a:cubicBezTo>
                    <a:pt x="15" y="106"/>
                    <a:pt x="13" y="105"/>
                    <a:pt x="12" y="105"/>
                  </a:cubicBezTo>
                  <a:cubicBezTo>
                    <a:pt x="11" y="105"/>
                    <a:pt x="12" y="103"/>
                    <a:pt x="13" y="103"/>
                  </a:cubicBezTo>
                  <a:cubicBezTo>
                    <a:pt x="14" y="103"/>
                    <a:pt x="15" y="101"/>
                    <a:pt x="16" y="101"/>
                  </a:cubicBezTo>
                  <a:cubicBezTo>
                    <a:pt x="17" y="101"/>
                    <a:pt x="18" y="101"/>
                    <a:pt x="19" y="101"/>
                  </a:cubicBezTo>
                  <a:cubicBezTo>
                    <a:pt x="19" y="101"/>
                    <a:pt x="20" y="100"/>
                    <a:pt x="21" y="99"/>
                  </a:cubicBezTo>
                  <a:cubicBezTo>
                    <a:pt x="22" y="99"/>
                    <a:pt x="23" y="97"/>
                    <a:pt x="25" y="96"/>
                  </a:cubicBezTo>
                  <a:cubicBezTo>
                    <a:pt x="27" y="95"/>
                    <a:pt x="29" y="96"/>
                    <a:pt x="30" y="96"/>
                  </a:cubicBezTo>
                  <a:cubicBezTo>
                    <a:pt x="31" y="96"/>
                    <a:pt x="31" y="94"/>
                    <a:pt x="31" y="94"/>
                  </a:cubicBezTo>
                  <a:cubicBezTo>
                    <a:pt x="31" y="93"/>
                    <a:pt x="36" y="91"/>
                    <a:pt x="37" y="91"/>
                  </a:cubicBezTo>
                  <a:cubicBezTo>
                    <a:pt x="37" y="91"/>
                    <a:pt x="40" y="88"/>
                    <a:pt x="40" y="87"/>
                  </a:cubicBezTo>
                  <a:cubicBezTo>
                    <a:pt x="41" y="86"/>
                    <a:pt x="41" y="85"/>
                    <a:pt x="42" y="84"/>
                  </a:cubicBezTo>
                  <a:cubicBezTo>
                    <a:pt x="42" y="83"/>
                    <a:pt x="44" y="80"/>
                    <a:pt x="43" y="80"/>
                  </a:cubicBezTo>
                  <a:cubicBezTo>
                    <a:pt x="42" y="80"/>
                    <a:pt x="40" y="81"/>
                    <a:pt x="40" y="81"/>
                  </a:cubicBezTo>
                  <a:cubicBezTo>
                    <a:pt x="39" y="82"/>
                    <a:pt x="39" y="81"/>
                    <a:pt x="39" y="80"/>
                  </a:cubicBezTo>
                  <a:cubicBezTo>
                    <a:pt x="39" y="80"/>
                    <a:pt x="38" y="80"/>
                    <a:pt x="37" y="80"/>
                  </a:cubicBezTo>
                  <a:cubicBezTo>
                    <a:pt x="36" y="80"/>
                    <a:pt x="37" y="83"/>
                    <a:pt x="36" y="83"/>
                  </a:cubicBezTo>
                  <a:cubicBezTo>
                    <a:pt x="35" y="83"/>
                    <a:pt x="34" y="81"/>
                    <a:pt x="33" y="80"/>
                  </a:cubicBezTo>
                  <a:cubicBezTo>
                    <a:pt x="33" y="80"/>
                    <a:pt x="31" y="79"/>
                    <a:pt x="30" y="80"/>
                  </a:cubicBezTo>
                  <a:cubicBezTo>
                    <a:pt x="29" y="80"/>
                    <a:pt x="25" y="82"/>
                    <a:pt x="25" y="81"/>
                  </a:cubicBezTo>
                  <a:cubicBezTo>
                    <a:pt x="25" y="80"/>
                    <a:pt x="24" y="79"/>
                    <a:pt x="24" y="79"/>
                  </a:cubicBezTo>
                  <a:cubicBezTo>
                    <a:pt x="24" y="78"/>
                    <a:pt x="26" y="77"/>
                    <a:pt x="25" y="76"/>
                  </a:cubicBezTo>
                  <a:cubicBezTo>
                    <a:pt x="25" y="76"/>
                    <a:pt x="24" y="74"/>
                    <a:pt x="23" y="74"/>
                  </a:cubicBezTo>
                  <a:cubicBezTo>
                    <a:pt x="22" y="74"/>
                    <a:pt x="18" y="75"/>
                    <a:pt x="17" y="75"/>
                  </a:cubicBezTo>
                  <a:cubicBezTo>
                    <a:pt x="15" y="75"/>
                    <a:pt x="15" y="74"/>
                    <a:pt x="14" y="72"/>
                  </a:cubicBezTo>
                  <a:cubicBezTo>
                    <a:pt x="12" y="71"/>
                    <a:pt x="12" y="70"/>
                    <a:pt x="12" y="69"/>
                  </a:cubicBezTo>
                  <a:cubicBezTo>
                    <a:pt x="12" y="68"/>
                    <a:pt x="8" y="65"/>
                    <a:pt x="8" y="64"/>
                  </a:cubicBezTo>
                  <a:cubicBezTo>
                    <a:pt x="8" y="61"/>
                    <a:pt x="12" y="58"/>
                    <a:pt x="12" y="58"/>
                  </a:cubicBezTo>
                  <a:cubicBezTo>
                    <a:pt x="14" y="57"/>
                    <a:pt x="12" y="55"/>
                    <a:pt x="15" y="54"/>
                  </a:cubicBezTo>
                  <a:cubicBezTo>
                    <a:pt x="18" y="53"/>
                    <a:pt x="18" y="56"/>
                    <a:pt x="19" y="56"/>
                  </a:cubicBezTo>
                  <a:cubicBezTo>
                    <a:pt x="21" y="56"/>
                    <a:pt x="22" y="52"/>
                    <a:pt x="22" y="52"/>
                  </a:cubicBezTo>
                  <a:cubicBezTo>
                    <a:pt x="23" y="52"/>
                    <a:pt x="24" y="52"/>
                    <a:pt x="25" y="53"/>
                  </a:cubicBezTo>
                  <a:cubicBezTo>
                    <a:pt x="26" y="53"/>
                    <a:pt x="29" y="51"/>
                    <a:pt x="29" y="50"/>
                  </a:cubicBezTo>
                  <a:cubicBezTo>
                    <a:pt x="30" y="49"/>
                    <a:pt x="26" y="48"/>
                    <a:pt x="27" y="48"/>
                  </a:cubicBezTo>
                  <a:cubicBezTo>
                    <a:pt x="28" y="47"/>
                    <a:pt x="29" y="45"/>
                    <a:pt x="28" y="44"/>
                  </a:cubicBezTo>
                  <a:cubicBezTo>
                    <a:pt x="28" y="44"/>
                    <a:pt x="25" y="44"/>
                    <a:pt x="24" y="45"/>
                  </a:cubicBezTo>
                  <a:cubicBezTo>
                    <a:pt x="24" y="45"/>
                    <a:pt x="22" y="47"/>
                    <a:pt x="21" y="47"/>
                  </a:cubicBezTo>
                  <a:cubicBezTo>
                    <a:pt x="20" y="47"/>
                    <a:pt x="20" y="47"/>
                    <a:pt x="20" y="46"/>
                  </a:cubicBezTo>
                  <a:cubicBezTo>
                    <a:pt x="19" y="45"/>
                    <a:pt x="15" y="47"/>
                    <a:pt x="14" y="47"/>
                  </a:cubicBezTo>
                  <a:cubicBezTo>
                    <a:pt x="12" y="47"/>
                    <a:pt x="9" y="46"/>
                    <a:pt x="7" y="46"/>
                  </a:cubicBezTo>
                  <a:cubicBezTo>
                    <a:pt x="6" y="45"/>
                    <a:pt x="6" y="43"/>
                    <a:pt x="5" y="42"/>
                  </a:cubicBezTo>
                  <a:cubicBezTo>
                    <a:pt x="4" y="41"/>
                    <a:pt x="0" y="40"/>
                    <a:pt x="0" y="39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6" name="Freeform 654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391449" y="2552760"/>
              <a:ext cx="56247" cy="30138"/>
            </a:xfrm>
            <a:custGeom>
              <a:avLst/>
              <a:gdLst>
                <a:gd name="T0" fmla="*/ 4 w 9"/>
                <a:gd name="T1" fmla="*/ 0 h 5"/>
                <a:gd name="T2" fmla="*/ 6 w 9"/>
                <a:gd name="T3" fmla="*/ 1 h 5"/>
                <a:gd name="T4" fmla="*/ 8 w 9"/>
                <a:gd name="T5" fmla="*/ 1 h 5"/>
                <a:gd name="T6" fmla="*/ 9 w 9"/>
                <a:gd name="T7" fmla="*/ 2 h 5"/>
                <a:gd name="T8" fmla="*/ 6 w 9"/>
                <a:gd name="T9" fmla="*/ 4 h 5"/>
                <a:gd name="T10" fmla="*/ 2 w 9"/>
                <a:gd name="T11" fmla="*/ 5 h 5"/>
                <a:gd name="T12" fmla="*/ 1 w 9"/>
                <a:gd name="T13" fmla="*/ 4 h 5"/>
                <a:gd name="T14" fmla="*/ 3 w 9"/>
                <a:gd name="T15" fmla="*/ 3 h 5"/>
                <a:gd name="T16" fmla="*/ 4 w 9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cubicBezTo>
                    <a:pt x="5" y="0"/>
                    <a:pt x="5" y="1"/>
                    <a:pt x="6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7" y="4"/>
                    <a:pt x="6" y="4"/>
                  </a:cubicBezTo>
                  <a:cubicBezTo>
                    <a:pt x="5" y="4"/>
                    <a:pt x="3" y="5"/>
                    <a:pt x="2" y="5"/>
                  </a:cubicBezTo>
                  <a:cubicBezTo>
                    <a:pt x="2" y="5"/>
                    <a:pt x="0" y="5"/>
                    <a:pt x="1" y="4"/>
                  </a:cubicBezTo>
                  <a:cubicBezTo>
                    <a:pt x="1" y="4"/>
                    <a:pt x="3" y="3"/>
                    <a:pt x="3" y="3"/>
                  </a:cubicBezTo>
                  <a:cubicBezTo>
                    <a:pt x="3" y="2"/>
                    <a:pt x="3" y="0"/>
                    <a:pt x="4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7" name="Freeform 654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363325" y="2582899"/>
              <a:ext cx="21874" cy="26790"/>
            </a:xfrm>
            <a:custGeom>
              <a:avLst/>
              <a:gdLst>
                <a:gd name="T0" fmla="*/ 4 w 4"/>
                <a:gd name="T1" fmla="*/ 1 h 4"/>
                <a:gd name="T2" fmla="*/ 2 w 4"/>
                <a:gd name="T3" fmla="*/ 3 h 4"/>
                <a:gd name="T4" fmla="*/ 0 w 4"/>
                <a:gd name="T5" fmla="*/ 4 h 4"/>
                <a:gd name="T6" fmla="*/ 0 w 4"/>
                <a:gd name="T7" fmla="*/ 3 h 4"/>
                <a:gd name="T8" fmla="*/ 3 w 4"/>
                <a:gd name="T9" fmla="*/ 0 h 4"/>
                <a:gd name="T10" fmla="*/ 4 w 4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8" name="Freeform 654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2750711" y="3594200"/>
              <a:ext cx="49998" cy="20092"/>
            </a:xfrm>
            <a:custGeom>
              <a:avLst/>
              <a:gdLst>
                <a:gd name="T0" fmla="*/ 2 w 8"/>
                <a:gd name="T1" fmla="*/ 3 h 3"/>
                <a:gd name="T2" fmla="*/ 1 w 8"/>
                <a:gd name="T3" fmla="*/ 0 h 3"/>
                <a:gd name="T4" fmla="*/ 5 w 8"/>
                <a:gd name="T5" fmla="*/ 0 h 3"/>
                <a:gd name="T6" fmla="*/ 8 w 8"/>
                <a:gd name="T7" fmla="*/ 1 h 3"/>
                <a:gd name="T8" fmla="*/ 6 w 8"/>
                <a:gd name="T9" fmla="*/ 3 h 3"/>
                <a:gd name="T10" fmla="*/ 2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5" y="0"/>
                    <a:pt x="8" y="0"/>
                    <a:pt x="8" y="1"/>
                  </a:cubicBezTo>
                  <a:cubicBezTo>
                    <a:pt x="8" y="2"/>
                    <a:pt x="7" y="3"/>
                    <a:pt x="6" y="3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79" name="Freeform 654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391449" y="2552760"/>
              <a:ext cx="56247" cy="30138"/>
            </a:xfrm>
            <a:custGeom>
              <a:avLst/>
              <a:gdLst>
                <a:gd name="T0" fmla="*/ 4 w 9"/>
                <a:gd name="T1" fmla="*/ 0 h 5"/>
                <a:gd name="T2" fmla="*/ 6 w 9"/>
                <a:gd name="T3" fmla="*/ 1 h 5"/>
                <a:gd name="T4" fmla="*/ 8 w 9"/>
                <a:gd name="T5" fmla="*/ 1 h 5"/>
                <a:gd name="T6" fmla="*/ 9 w 9"/>
                <a:gd name="T7" fmla="*/ 2 h 5"/>
                <a:gd name="T8" fmla="*/ 6 w 9"/>
                <a:gd name="T9" fmla="*/ 4 h 5"/>
                <a:gd name="T10" fmla="*/ 2 w 9"/>
                <a:gd name="T11" fmla="*/ 5 h 5"/>
                <a:gd name="T12" fmla="*/ 1 w 9"/>
                <a:gd name="T13" fmla="*/ 4 h 5"/>
                <a:gd name="T14" fmla="*/ 3 w 9"/>
                <a:gd name="T15" fmla="*/ 3 h 5"/>
                <a:gd name="T16" fmla="*/ 4 w 9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cubicBezTo>
                    <a:pt x="5" y="0"/>
                    <a:pt x="5" y="1"/>
                    <a:pt x="6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7" y="4"/>
                    <a:pt x="6" y="4"/>
                  </a:cubicBezTo>
                  <a:cubicBezTo>
                    <a:pt x="5" y="4"/>
                    <a:pt x="3" y="5"/>
                    <a:pt x="2" y="5"/>
                  </a:cubicBezTo>
                  <a:cubicBezTo>
                    <a:pt x="2" y="5"/>
                    <a:pt x="0" y="5"/>
                    <a:pt x="1" y="4"/>
                  </a:cubicBezTo>
                  <a:cubicBezTo>
                    <a:pt x="1" y="4"/>
                    <a:pt x="3" y="3"/>
                    <a:pt x="3" y="3"/>
                  </a:cubicBezTo>
                  <a:cubicBezTo>
                    <a:pt x="3" y="2"/>
                    <a:pt x="3" y="0"/>
                    <a:pt x="4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0" name="Freeform 654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363325" y="2582899"/>
              <a:ext cx="21874" cy="26790"/>
            </a:xfrm>
            <a:custGeom>
              <a:avLst/>
              <a:gdLst>
                <a:gd name="T0" fmla="*/ 4 w 4"/>
                <a:gd name="T1" fmla="*/ 1 h 4"/>
                <a:gd name="T2" fmla="*/ 2 w 4"/>
                <a:gd name="T3" fmla="*/ 3 h 4"/>
                <a:gd name="T4" fmla="*/ 0 w 4"/>
                <a:gd name="T5" fmla="*/ 4 h 4"/>
                <a:gd name="T6" fmla="*/ 0 w 4"/>
                <a:gd name="T7" fmla="*/ 3 h 4"/>
                <a:gd name="T8" fmla="*/ 3 w 4"/>
                <a:gd name="T9" fmla="*/ 0 h 4"/>
                <a:gd name="T10" fmla="*/ 4 w 4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1" name="Freeform 654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175642" y="2395372"/>
              <a:ext cx="196866" cy="304729"/>
            </a:xfrm>
            <a:custGeom>
              <a:avLst/>
              <a:gdLst>
                <a:gd name="T0" fmla="*/ 0 w 32"/>
                <a:gd name="T1" fmla="*/ 8 h 47"/>
                <a:gd name="T2" fmla="*/ 1 w 32"/>
                <a:gd name="T3" fmla="*/ 6 h 47"/>
                <a:gd name="T4" fmla="*/ 3 w 32"/>
                <a:gd name="T5" fmla="*/ 7 h 47"/>
                <a:gd name="T6" fmla="*/ 6 w 32"/>
                <a:gd name="T7" fmla="*/ 1 h 47"/>
                <a:gd name="T8" fmla="*/ 13 w 32"/>
                <a:gd name="T9" fmla="*/ 0 h 47"/>
                <a:gd name="T10" fmla="*/ 14 w 32"/>
                <a:gd name="T11" fmla="*/ 1 h 47"/>
                <a:gd name="T12" fmla="*/ 10 w 32"/>
                <a:gd name="T13" fmla="*/ 5 h 47"/>
                <a:gd name="T14" fmla="*/ 9 w 32"/>
                <a:gd name="T15" fmla="*/ 6 h 47"/>
                <a:gd name="T16" fmla="*/ 18 w 32"/>
                <a:gd name="T17" fmla="*/ 6 h 47"/>
                <a:gd name="T18" fmla="*/ 15 w 32"/>
                <a:gd name="T19" fmla="*/ 12 h 47"/>
                <a:gd name="T20" fmla="*/ 12 w 32"/>
                <a:gd name="T21" fmla="*/ 14 h 47"/>
                <a:gd name="T22" fmla="*/ 15 w 32"/>
                <a:gd name="T23" fmla="*/ 16 h 47"/>
                <a:gd name="T24" fmla="*/ 18 w 32"/>
                <a:gd name="T25" fmla="*/ 17 h 47"/>
                <a:gd name="T26" fmla="*/ 21 w 32"/>
                <a:gd name="T27" fmla="*/ 22 h 47"/>
                <a:gd name="T28" fmla="*/ 24 w 32"/>
                <a:gd name="T29" fmla="*/ 24 h 47"/>
                <a:gd name="T30" fmla="*/ 26 w 32"/>
                <a:gd name="T31" fmla="*/ 29 h 47"/>
                <a:gd name="T32" fmla="*/ 25 w 32"/>
                <a:gd name="T33" fmla="*/ 32 h 47"/>
                <a:gd name="T34" fmla="*/ 27 w 32"/>
                <a:gd name="T35" fmla="*/ 32 h 47"/>
                <a:gd name="T36" fmla="*/ 29 w 32"/>
                <a:gd name="T37" fmla="*/ 31 h 47"/>
                <a:gd name="T38" fmla="*/ 31 w 32"/>
                <a:gd name="T39" fmla="*/ 32 h 47"/>
                <a:gd name="T40" fmla="*/ 31 w 32"/>
                <a:gd name="T41" fmla="*/ 36 h 47"/>
                <a:gd name="T42" fmla="*/ 27 w 32"/>
                <a:gd name="T43" fmla="*/ 38 h 47"/>
                <a:gd name="T44" fmla="*/ 31 w 32"/>
                <a:gd name="T45" fmla="*/ 40 h 47"/>
                <a:gd name="T46" fmla="*/ 26 w 32"/>
                <a:gd name="T47" fmla="*/ 43 h 47"/>
                <a:gd name="T48" fmla="*/ 19 w 32"/>
                <a:gd name="T49" fmla="*/ 42 h 47"/>
                <a:gd name="T50" fmla="*/ 13 w 32"/>
                <a:gd name="T51" fmla="*/ 43 h 47"/>
                <a:gd name="T52" fmla="*/ 11 w 32"/>
                <a:gd name="T53" fmla="*/ 46 h 47"/>
                <a:gd name="T54" fmla="*/ 8 w 32"/>
                <a:gd name="T55" fmla="*/ 45 h 47"/>
                <a:gd name="T56" fmla="*/ 5 w 32"/>
                <a:gd name="T57" fmla="*/ 47 h 47"/>
                <a:gd name="T58" fmla="*/ 2 w 32"/>
                <a:gd name="T59" fmla="*/ 46 h 47"/>
                <a:gd name="T60" fmla="*/ 6 w 32"/>
                <a:gd name="T61" fmla="*/ 43 h 47"/>
                <a:gd name="T62" fmla="*/ 8 w 32"/>
                <a:gd name="T63" fmla="*/ 41 h 47"/>
                <a:gd name="T64" fmla="*/ 13 w 32"/>
                <a:gd name="T65" fmla="*/ 40 h 47"/>
                <a:gd name="T66" fmla="*/ 15 w 32"/>
                <a:gd name="T67" fmla="*/ 39 h 47"/>
                <a:gd name="T68" fmla="*/ 10 w 32"/>
                <a:gd name="T69" fmla="*/ 38 h 47"/>
                <a:gd name="T70" fmla="*/ 5 w 32"/>
                <a:gd name="T71" fmla="*/ 37 h 47"/>
                <a:gd name="T72" fmla="*/ 6 w 32"/>
                <a:gd name="T73" fmla="*/ 36 h 47"/>
                <a:gd name="T74" fmla="*/ 10 w 32"/>
                <a:gd name="T75" fmla="*/ 34 h 47"/>
                <a:gd name="T76" fmla="*/ 9 w 32"/>
                <a:gd name="T77" fmla="*/ 32 h 47"/>
                <a:gd name="T78" fmla="*/ 7 w 32"/>
                <a:gd name="T79" fmla="*/ 31 h 47"/>
                <a:gd name="T80" fmla="*/ 9 w 32"/>
                <a:gd name="T81" fmla="*/ 29 h 47"/>
                <a:gd name="T82" fmla="*/ 14 w 32"/>
                <a:gd name="T83" fmla="*/ 29 h 47"/>
                <a:gd name="T84" fmla="*/ 14 w 32"/>
                <a:gd name="T85" fmla="*/ 25 h 47"/>
                <a:gd name="T86" fmla="*/ 12 w 32"/>
                <a:gd name="T87" fmla="*/ 23 h 47"/>
                <a:gd name="T88" fmla="*/ 14 w 32"/>
                <a:gd name="T89" fmla="*/ 21 h 47"/>
                <a:gd name="T90" fmla="*/ 10 w 32"/>
                <a:gd name="T91" fmla="*/ 21 h 47"/>
                <a:gd name="T92" fmla="*/ 7 w 32"/>
                <a:gd name="T93" fmla="*/ 23 h 47"/>
                <a:gd name="T94" fmla="*/ 6 w 32"/>
                <a:gd name="T95" fmla="*/ 21 h 47"/>
                <a:gd name="T96" fmla="*/ 6 w 32"/>
                <a:gd name="T97" fmla="*/ 19 h 47"/>
                <a:gd name="T98" fmla="*/ 8 w 32"/>
                <a:gd name="T99" fmla="*/ 18 h 47"/>
                <a:gd name="T100" fmla="*/ 7 w 32"/>
                <a:gd name="T101" fmla="*/ 15 h 47"/>
                <a:gd name="T102" fmla="*/ 5 w 32"/>
                <a:gd name="T103" fmla="*/ 14 h 47"/>
                <a:gd name="T104" fmla="*/ 3 w 32"/>
                <a:gd name="T105" fmla="*/ 16 h 47"/>
                <a:gd name="T106" fmla="*/ 2 w 32"/>
                <a:gd name="T107" fmla="*/ 13 h 47"/>
                <a:gd name="T108" fmla="*/ 2 w 32"/>
                <a:gd name="T109" fmla="*/ 10 h 47"/>
                <a:gd name="T110" fmla="*/ 0 w 32"/>
                <a:gd name="T111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" h="47">
                  <a:moveTo>
                    <a:pt x="0" y="8"/>
                  </a:moveTo>
                  <a:cubicBezTo>
                    <a:pt x="0" y="7"/>
                    <a:pt x="1" y="6"/>
                    <a:pt x="1" y="6"/>
                  </a:cubicBezTo>
                  <a:cubicBezTo>
                    <a:pt x="1" y="6"/>
                    <a:pt x="3" y="8"/>
                    <a:pt x="3" y="7"/>
                  </a:cubicBezTo>
                  <a:cubicBezTo>
                    <a:pt x="4" y="6"/>
                    <a:pt x="5" y="1"/>
                    <a:pt x="6" y="1"/>
                  </a:cubicBezTo>
                  <a:cubicBezTo>
                    <a:pt x="6" y="0"/>
                    <a:pt x="13" y="0"/>
                    <a:pt x="13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4" y="3"/>
                    <a:pt x="10" y="4"/>
                    <a:pt x="10" y="5"/>
                  </a:cubicBezTo>
                  <a:cubicBezTo>
                    <a:pt x="9" y="5"/>
                    <a:pt x="8" y="6"/>
                    <a:pt x="9" y="6"/>
                  </a:cubicBezTo>
                  <a:cubicBezTo>
                    <a:pt x="10" y="7"/>
                    <a:pt x="17" y="6"/>
                    <a:pt x="18" y="6"/>
                  </a:cubicBezTo>
                  <a:cubicBezTo>
                    <a:pt x="18" y="6"/>
                    <a:pt x="16" y="12"/>
                    <a:pt x="15" y="12"/>
                  </a:cubicBezTo>
                  <a:cubicBezTo>
                    <a:pt x="15" y="13"/>
                    <a:pt x="12" y="14"/>
                    <a:pt x="12" y="14"/>
                  </a:cubicBezTo>
                  <a:cubicBezTo>
                    <a:pt x="11" y="15"/>
                    <a:pt x="14" y="16"/>
                    <a:pt x="15" y="16"/>
                  </a:cubicBezTo>
                  <a:cubicBezTo>
                    <a:pt x="16" y="16"/>
                    <a:pt x="17" y="15"/>
                    <a:pt x="18" y="17"/>
                  </a:cubicBezTo>
                  <a:cubicBezTo>
                    <a:pt x="19" y="19"/>
                    <a:pt x="20" y="22"/>
                    <a:pt x="21" y="22"/>
                  </a:cubicBezTo>
                  <a:cubicBezTo>
                    <a:pt x="22" y="23"/>
                    <a:pt x="23" y="22"/>
                    <a:pt x="24" y="24"/>
                  </a:cubicBezTo>
                  <a:cubicBezTo>
                    <a:pt x="24" y="25"/>
                    <a:pt x="26" y="28"/>
                    <a:pt x="26" y="29"/>
                  </a:cubicBezTo>
                  <a:cubicBezTo>
                    <a:pt x="26" y="30"/>
                    <a:pt x="25" y="31"/>
                    <a:pt x="25" y="32"/>
                  </a:cubicBezTo>
                  <a:cubicBezTo>
                    <a:pt x="26" y="32"/>
                    <a:pt x="27" y="33"/>
                    <a:pt x="27" y="32"/>
                  </a:cubicBezTo>
                  <a:cubicBezTo>
                    <a:pt x="28" y="32"/>
                    <a:pt x="29" y="31"/>
                    <a:pt x="29" y="31"/>
                  </a:cubicBezTo>
                  <a:cubicBezTo>
                    <a:pt x="29" y="31"/>
                    <a:pt x="31" y="31"/>
                    <a:pt x="31" y="32"/>
                  </a:cubicBezTo>
                  <a:cubicBezTo>
                    <a:pt x="32" y="33"/>
                    <a:pt x="32" y="35"/>
                    <a:pt x="31" y="36"/>
                  </a:cubicBezTo>
                  <a:cubicBezTo>
                    <a:pt x="29" y="37"/>
                    <a:pt x="27" y="38"/>
                    <a:pt x="27" y="38"/>
                  </a:cubicBezTo>
                  <a:cubicBezTo>
                    <a:pt x="26" y="39"/>
                    <a:pt x="31" y="40"/>
                    <a:pt x="31" y="40"/>
                  </a:cubicBezTo>
                  <a:cubicBezTo>
                    <a:pt x="31" y="41"/>
                    <a:pt x="26" y="43"/>
                    <a:pt x="26" y="43"/>
                  </a:cubicBezTo>
                  <a:cubicBezTo>
                    <a:pt x="25" y="42"/>
                    <a:pt x="20" y="42"/>
                    <a:pt x="19" y="42"/>
                  </a:cubicBezTo>
                  <a:cubicBezTo>
                    <a:pt x="18" y="43"/>
                    <a:pt x="13" y="43"/>
                    <a:pt x="13" y="43"/>
                  </a:cubicBezTo>
                  <a:cubicBezTo>
                    <a:pt x="12" y="44"/>
                    <a:pt x="12" y="46"/>
                    <a:pt x="11" y="46"/>
                  </a:cubicBezTo>
                  <a:cubicBezTo>
                    <a:pt x="10" y="45"/>
                    <a:pt x="10" y="44"/>
                    <a:pt x="8" y="45"/>
                  </a:cubicBezTo>
                  <a:cubicBezTo>
                    <a:pt x="8" y="45"/>
                    <a:pt x="5" y="47"/>
                    <a:pt x="5" y="47"/>
                  </a:cubicBezTo>
                  <a:cubicBezTo>
                    <a:pt x="4" y="47"/>
                    <a:pt x="2" y="47"/>
                    <a:pt x="2" y="46"/>
                  </a:cubicBezTo>
                  <a:cubicBezTo>
                    <a:pt x="2" y="45"/>
                    <a:pt x="5" y="43"/>
                    <a:pt x="6" y="43"/>
                  </a:cubicBezTo>
                  <a:cubicBezTo>
                    <a:pt x="7" y="43"/>
                    <a:pt x="8" y="41"/>
                    <a:pt x="8" y="41"/>
                  </a:cubicBezTo>
                  <a:cubicBezTo>
                    <a:pt x="9" y="40"/>
                    <a:pt x="13" y="40"/>
                    <a:pt x="13" y="40"/>
                  </a:cubicBezTo>
                  <a:cubicBezTo>
                    <a:pt x="14" y="40"/>
                    <a:pt x="15" y="39"/>
                    <a:pt x="15" y="39"/>
                  </a:cubicBezTo>
                  <a:cubicBezTo>
                    <a:pt x="14" y="38"/>
                    <a:pt x="11" y="38"/>
                    <a:pt x="10" y="38"/>
                  </a:cubicBezTo>
                  <a:cubicBezTo>
                    <a:pt x="10" y="37"/>
                    <a:pt x="6" y="38"/>
                    <a:pt x="5" y="37"/>
                  </a:cubicBezTo>
                  <a:cubicBezTo>
                    <a:pt x="5" y="37"/>
                    <a:pt x="6" y="36"/>
                    <a:pt x="6" y="36"/>
                  </a:cubicBezTo>
                  <a:cubicBezTo>
                    <a:pt x="7" y="35"/>
                    <a:pt x="10" y="35"/>
                    <a:pt x="10" y="34"/>
                  </a:cubicBezTo>
                  <a:cubicBezTo>
                    <a:pt x="10" y="34"/>
                    <a:pt x="10" y="32"/>
                    <a:pt x="9" y="32"/>
                  </a:cubicBezTo>
                  <a:cubicBezTo>
                    <a:pt x="8" y="31"/>
                    <a:pt x="7" y="32"/>
                    <a:pt x="7" y="31"/>
                  </a:cubicBezTo>
                  <a:cubicBezTo>
                    <a:pt x="7" y="31"/>
                    <a:pt x="8" y="30"/>
                    <a:pt x="9" y="29"/>
                  </a:cubicBezTo>
                  <a:cubicBezTo>
                    <a:pt x="10" y="29"/>
                    <a:pt x="13" y="30"/>
                    <a:pt x="14" y="29"/>
                  </a:cubicBezTo>
                  <a:cubicBezTo>
                    <a:pt x="14" y="29"/>
                    <a:pt x="14" y="26"/>
                    <a:pt x="14" y="25"/>
                  </a:cubicBezTo>
                  <a:cubicBezTo>
                    <a:pt x="13" y="25"/>
                    <a:pt x="12" y="23"/>
                    <a:pt x="12" y="23"/>
                  </a:cubicBezTo>
                  <a:cubicBezTo>
                    <a:pt x="12" y="22"/>
                    <a:pt x="14" y="21"/>
                    <a:pt x="14" y="21"/>
                  </a:cubicBezTo>
                  <a:cubicBezTo>
                    <a:pt x="13" y="20"/>
                    <a:pt x="11" y="21"/>
                    <a:pt x="10" y="21"/>
                  </a:cubicBezTo>
                  <a:cubicBezTo>
                    <a:pt x="10" y="22"/>
                    <a:pt x="8" y="23"/>
                    <a:pt x="7" y="23"/>
                  </a:cubicBezTo>
                  <a:cubicBezTo>
                    <a:pt x="6" y="22"/>
                    <a:pt x="7" y="22"/>
                    <a:pt x="6" y="21"/>
                  </a:cubicBezTo>
                  <a:cubicBezTo>
                    <a:pt x="5" y="20"/>
                    <a:pt x="6" y="19"/>
                    <a:pt x="6" y="19"/>
                  </a:cubicBezTo>
                  <a:cubicBezTo>
                    <a:pt x="6" y="18"/>
                    <a:pt x="8" y="18"/>
                    <a:pt x="8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6" y="14"/>
                    <a:pt x="5" y="14"/>
                  </a:cubicBezTo>
                  <a:cubicBezTo>
                    <a:pt x="5" y="14"/>
                    <a:pt x="4" y="17"/>
                    <a:pt x="3" y="16"/>
                  </a:cubicBezTo>
                  <a:cubicBezTo>
                    <a:pt x="2" y="16"/>
                    <a:pt x="2" y="14"/>
                    <a:pt x="2" y="13"/>
                  </a:cubicBezTo>
                  <a:cubicBezTo>
                    <a:pt x="2" y="13"/>
                    <a:pt x="3" y="10"/>
                    <a:pt x="2" y="10"/>
                  </a:cubicBezTo>
                  <a:cubicBezTo>
                    <a:pt x="2" y="9"/>
                    <a:pt x="0" y="8"/>
                    <a:pt x="0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2" name="Freeform 654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147519" y="2395372"/>
              <a:ext cx="43748" cy="63625"/>
            </a:xfrm>
            <a:custGeom>
              <a:avLst/>
              <a:gdLst>
                <a:gd name="T0" fmla="*/ 0 w 7"/>
                <a:gd name="T1" fmla="*/ 7 h 10"/>
                <a:gd name="T2" fmla="*/ 1 w 7"/>
                <a:gd name="T3" fmla="*/ 2 h 10"/>
                <a:gd name="T4" fmla="*/ 6 w 7"/>
                <a:gd name="T5" fmla="*/ 0 h 10"/>
                <a:gd name="T6" fmla="*/ 6 w 7"/>
                <a:gd name="T7" fmla="*/ 3 h 10"/>
                <a:gd name="T8" fmla="*/ 3 w 7"/>
                <a:gd name="T9" fmla="*/ 5 h 10"/>
                <a:gd name="T10" fmla="*/ 2 w 7"/>
                <a:gd name="T11" fmla="*/ 9 h 10"/>
                <a:gd name="T12" fmla="*/ 1 w 7"/>
                <a:gd name="T13" fmla="*/ 10 h 10"/>
                <a:gd name="T14" fmla="*/ 0 w 7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0">
                  <a:moveTo>
                    <a:pt x="0" y="7"/>
                  </a:moveTo>
                  <a:cubicBezTo>
                    <a:pt x="0" y="6"/>
                    <a:pt x="1" y="3"/>
                    <a:pt x="1" y="2"/>
                  </a:cubicBezTo>
                  <a:cubicBezTo>
                    <a:pt x="2" y="2"/>
                    <a:pt x="5" y="0"/>
                    <a:pt x="6" y="0"/>
                  </a:cubicBezTo>
                  <a:cubicBezTo>
                    <a:pt x="7" y="1"/>
                    <a:pt x="6" y="2"/>
                    <a:pt x="6" y="3"/>
                  </a:cubicBezTo>
                  <a:cubicBezTo>
                    <a:pt x="6" y="3"/>
                    <a:pt x="3" y="4"/>
                    <a:pt x="3" y="5"/>
                  </a:cubicBezTo>
                  <a:cubicBezTo>
                    <a:pt x="3" y="5"/>
                    <a:pt x="2" y="8"/>
                    <a:pt x="2" y="9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0" y="10"/>
                    <a:pt x="0" y="9"/>
                    <a:pt x="0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3" name="Freeform 654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153768" y="2519274"/>
              <a:ext cx="53122" cy="43533"/>
            </a:xfrm>
            <a:custGeom>
              <a:avLst/>
              <a:gdLst>
                <a:gd name="T0" fmla="*/ 6 w 9"/>
                <a:gd name="T1" fmla="*/ 0 h 7"/>
                <a:gd name="T2" fmla="*/ 8 w 9"/>
                <a:gd name="T3" fmla="*/ 4 h 7"/>
                <a:gd name="T4" fmla="*/ 5 w 9"/>
                <a:gd name="T5" fmla="*/ 7 h 7"/>
                <a:gd name="T6" fmla="*/ 3 w 9"/>
                <a:gd name="T7" fmla="*/ 6 h 7"/>
                <a:gd name="T8" fmla="*/ 0 w 9"/>
                <a:gd name="T9" fmla="*/ 5 h 7"/>
                <a:gd name="T10" fmla="*/ 2 w 9"/>
                <a:gd name="T11" fmla="*/ 2 h 7"/>
                <a:gd name="T12" fmla="*/ 4 w 9"/>
                <a:gd name="T13" fmla="*/ 0 h 7"/>
                <a:gd name="T14" fmla="*/ 6 w 9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6" y="1"/>
                    <a:pt x="9" y="4"/>
                    <a:pt x="8" y="4"/>
                  </a:cubicBezTo>
                  <a:cubicBezTo>
                    <a:pt x="8" y="5"/>
                    <a:pt x="5" y="6"/>
                    <a:pt x="5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0" y="6"/>
                    <a:pt x="0" y="5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4" name="Freeform 654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175642" y="2395372"/>
              <a:ext cx="196866" cy="304729"/>
            </a:xfrm>
            <a:custGeom>
              <a:avLst/>
              <a:gdLst>
                <a:gd name="T0" fmla="*/ 0 w 32"/>
                <a:gd name="T1" fmla="*/ 8 h 47"/>
                <a:gd name="T2" fmla="*/ 1 w 32"/>
                <a:gd name="T3" fmla="*/ 6 h 47"/>
                <a:gd name="T4" fmla="*/ 3 w 32"/>
                <a:gd name="T5" fmla="*/ 7 h 47"/>
                <a:gd name="T6" fmla="*/ 6 w 32"/>
                <a:gd name="T7" fmla="*/ 1 h 47"/>
                <a:gd name="T8" fmla="*/ 13 w 32"/>
                <a:gd name="T9" fmla="*/ 0 h 47"/>
                <a:gd name="T10" fmla="*/ 14 w 32"/>
                <a:gd name="T11" fmla="*/ 1 h 47"/>
                <a:gd name="T12" fmla="*/ 10 w 32"/>
                <a:gd name="T13" fmla="*/ 5 h 47"/>
                <a:gd name="T14" fmla="*/ 9 w 32"/>
                <a:gd name="T15" fmla="*/ 6 h 47"/>
                <a:gd name="T16" fmla="*/ 18 w 32"/>
                <a:gd name="T17" fmla="*/ 6 h 47"/>
                <a:gd name="T18" fmla="*/ 15 w 32"/>
                <a:gd name="T19" fmla="*/ 12 h 47"/>
                <a:gd name="T20" fmla="*/ 12 w 32"/>
                <a:gd name="T21" fmla="*/ 14 h 47"/>
                <a:gd name="T22" fmla="*/ 15 w 32"/>
                <a:gd name="T23" fmla="*/ 16 h 47"/>
                <a:gd name="T24" fmla="*/ 18 w 32"/>
                <a:gd name="T25" fmla="*/ 17 h 47"/>
                <a:gd name="T26" fmla="*/ 21 w 32"/>
                <a:gd name="T27" fmla="*/ 22 h 47"/>
                <a:gd name="T28" fmla="*/ 24 w 32"/>
                <a:gd name="T29" fmla="*/ 24 h 47"/>
                <a:gd name="T30" fmla="*/ 26 w 32"/>
                <a:gd name="T31" fmla="*/ 29 h 47"/>
                <a:gd name="T32" fmla="*/ 25 w 32"/>
                <a:gd name="T33" fmla="*/ 32 h 47"/>
                <a:gd name="T34" fmla="*/ 27 w 32"/>
                <a:gd name="T35" fmla="*/ 32 h 47"/>
                <a:gd name="T36" fmla="*/ 29 w 32"/>
                <a:gd name="T37" fmla="*/ 31 h 47"/>
                <a:gd name="T38" fmla="*/ 31 w 32"/>
                <a:gd name="T39" fmla="*/ 32 h 47"/>
                <a:gd name="T40" fmla="*/ 31 w 32"/>
                <a:gd name="T41" fmla="*/ 36 h 47"/>
                <a:gd name="T42" fmla="*/ 27 w 32"/>
                <a:gd name="T43" fmla="*/ 38 h 47"/>
                <a:gd name="T44" fmla="*/ 31 w 32"/>
                <a:gd name="T45" fmla="*/ 40 h 47"/>
                <a:gd name="T46" fmla="*/ 26 w 32"/>
                <a:gd name="T47" fmla="*/ 43 h 47"/>
                <a:gd name="T48" fmla="*/ 19 w 32"/>
                <a:gd name="T49" fmla="*/ 42 h 47"/>
                <a:gd name="T50" fmla="*/ 13 w 32"/>
                <a:gd name="T51" fmla="*/ 43 h 47"/>
                <a:gd name="T52" fmla="*/ 11 w 32"/>
                <a:gd name="T53" fmla="*/ 46 h 47"/>
                <a:gd name="T54" fmla="*/ 8 w 32"/>
                <a:gd name="T55" fmla="*/ 45 h 47"/>
                <a:gd name="T56" fmla="*/ 5 w 32"/>
                <a:gd name="T57" fmla="*/ 47 h 47"/>
                <a:gd name="T58" fmla="*/ 2 w 32"/>
                <a:gd name="T59" fmla="*/ 46 h 47"/>
                <a:gd name="T60" fmla="*/ 6 w 32"/>
                <a:gd name="T61" fmla="*/ 43 h 47"/>
                <a:gd name="T62" fmla="*/ 8 w 32"/>
                <a:gd name="T63" fmla="*/ 41 h 47"/>
                <a:gd name="T64" fmla="*/ 13 w 32"/>
                <a:gd name="T65" fmla="*/ 40 h 47"/>
                <a:gd name="T66" fmla="*/ 15 w 32"/>
                <a:gd name="T67" fmla="*/ 39 h 47"/>
                <a:gd name="T68" fmla="*/ 10 w 32"/>
                <a:gd name="T69" fmla="*/ 38 h 47"/>
                <a:gd name="T70" fmla="*/ 5 w 32"/>
                <a:gd name="T71" fmla="*/ 37 h 47"/>
                <a:gd name="T72" fmla="*/ 6 w 32"/>
                <a:gd name="T73" fmla="*/ 36 h 47"/>
                <a:gd name="T74" fmla="*/ 10 w 32"/>
                <a:gd name="T75" fmla="*/ 34 h 47"/>
                <a:gd name="T76" fmla="*/ 9 w 32"/>
                <a:gd name="T77" fmla="*/ 32 h 47"/>
                <a:gd name="T78" fmla="*/ 7 w 32"/>
                <a:gd name="T79" fmla="*/ 31 h 47"/>
                <a:gd name="T80" fmla="*/ 9 w 32"/>
                <a:gd name="T81" fmla="*/ 29 h 47"/>
                <a:gd name="T82" fmla="*/ 14 w 32"/>
                <a:gd name="T83" fmla="*/ 29 h 47"/>
                <a:gd name="T84" fmla="*/ 14 w 32"/>
                <a:gd name="T85" fmla="*/ 25 h 47"/>
                <a:gd name="T86" fmla="*/ 12 w 32"/>
                <a:gd name="T87" fmla="*/ 23 h 47"/>
                <a:gd name="T88" fmla="*/ 14 w 32"/>
                <a:gd name="T89" fmla="*/ 21 h 47"/>
                <a:gd name="T90" fmla="*/ 10 w 32"/>
                <a:gd name="T91" fmla="*/ 21 h 47"/>
                <a:gd name="T92" fmla="*/ 7 w 32"/>
                <a:gd name="T93" fmla="*/ 23 h 47"/>
                <a:gd name="T94" fmla="*/ 6 w 32"/>
                <a:gd name="T95" fmla="*/ 21 h 47"/>
                <a:gd name="T96" fmla="*/ 6 w 32"/>
                <a:gd name="T97" fmla="*/ 19 h 47"/>
                <a:gd name="T98" fmla="*/ 8 w 32"/>
                <a:gd name="T99" fmla="*/ 18 h 47"/>
                <a:gd name="T100" fmla="*/ 7 w 32"/>
                <a:gd name="T101" fmla="*/ 15 h 47"/>
                <a:gd name="T102" fmla="*/ 5 w 32"/>
                <a:gd name="T103" fmla="*/ 14 h 47"/>
                <a:gd name="T104" fmla="*/ 3 w 32"/>
                <a:gd name="T105" fmla="*/ 16 h 47"/>
                <a:gd name="T106" fmla="*/ 2 w 32"/>
                <a:gd name="T107" fmla="*/ 13 h 47"/>
                <a:gd name="T108" fmla="*/ 2 w 32"/>
                <a:gd name="T109" fmla="*/ 10 h 47"/>
                <a:gd name="T110" fmla="*/ 0 w 32"/>
                <a:gd name="T111" fmla="*/ 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" h="47">
                  <a:moveTo>
                    <a:pt x="0" y="8"/>
                  </a:moveTo>
                  <a:cubicBezTo>
                    <a:pt x="0" y="7"/>
                    <a:pt x="1" y="6"/>
                    <a:pt x="1" y="6"/>
                  </a:cubicBezTo>
                  <a:cubicBezTo>
                    <a:pt x="1" y="6"/>
                    <a:pt x="3" y="8"/>
                    <a:pt x="3" y="7"/>
                  </a:cubicBezTo>
                  <a:cubicBezTo>
                    <a:pt x="4" y="6"/>
                    <a:pt x="5" y="1"/>
                    <a:pt x="6" y="1"/>
                  </a:cubicBezTo>
                  <a:cubicBezTo>
                    <a:pt x="6" y="0"/>
                    <a:pt x="13" y="0"/>
                    <a:pt x="13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4" y="3"/>
                    <a:pt x="10" y="4"/>
                    <a:pt x="10" y="5"/>
                  </a:cubicBezTo>
                  <a:cubicBezTo>
                    <a:pt x="9" y="5"/>
                    <a:pt x="8" y="6"/>
                    <a:pt x="9" y="6"/>
                  </a:cubicBezTo>
                  <a:cubicBezTo>
                    <a:pt x="10" y="7"/>
                    <a:pt x="17" y="6"/>
                    <a:pt x="18" y="6"/>
                  </a:cubicBezTo>
                  <a:cubicBezTo>
                    <a:pt x="18" y="6"/>
                    <a:pt x="16" y="12"/>
                    <a:pt x="15" y="12"/>
                  </a:cubicBezTo>
                  <a:cubicBezTo>
                    <a:pt x="15" y="13"/>
                    <a:pt x="12" y="14"/>
                    <a:pt x="12" y="14"/>
                  </a:cubicBezTo>
                  <a:cubicBezTo>
                    <a:pt x="11" y="15"/>
                    <a:pt x="14" y="16"/>
                    <a:pt x="15" y="16"/>
                  </a:cubicBezTo>
                  <a:cubicBezTo>
                    <a:pt x="16" y="16"/>
                    <a:pt x="17" y="15"/>
                    <a:pt x="18" y="17"/>
                  </a:cubicBezTo>
                  <a:cubicBezTo>
                    <a:pt x="19" y="19"/>
                    <a:pt x="20" y="22"/>
                    <a:pt x="21" y="22"/>
                  </a:cubicBezTo>
                  <a:cubicBezTo>
                    <a:pt x="22" y="23"/>
                    <a:pt x="23" y="22"/>
                    <a:pt x="24" y="24"/>
                  </a:cubicBezTo>
                  <a:cubicBezTo>
                    <a:pt x="24" y="25"/>
                    <a:pt x="26" y="28"/>
                    <a:pt x="26" y="29"/>
                  </a:cubicBezTo>
                  <a:cubicBezTo>
                    <a:pt x="26" y="30"/>
                    <a:pt x="25" y="31"/>
                    <a:pt x="25" y="32"/>
                  </a:cubicBezTo>
                  <a:cubicBezTo>
                    <a:pt x="26" y="32"/>
                    <a:pt x="27" y="33"/>
                    <a:pt x="27" y="32"/>
                  </a:cubicBezTo>
                  <a:cubicBezTo>
                    <a:pt x="28" y="32"/>
                    <a:pt x="29" y="31"/>
                    <a:pt x="29" y="31"/>
                  </a:cubicBezTo>
                  <a:cubicBezTo>
                    <a:pt x="29" y="31"/>
                    <a:pt x="31" y="31"/>
                    <a:pt x="31" y="32"/>
                  </a:cubicBezTo>
                  <a:cubicBezTo>
                    <a:pt x="32" y="33"/>
                    <a:pt x="32" y="35"/>
                    <a:pt x="31" y="36"/>
                  </a:cubicBezTo>
                  <a:cubicBezTo>
                    <a:pt x="29" y="37"/>
                    <a:pt x="27" y="38"/>
                    <a:pt x="27" y="38"/>
                  </a:cubicBezTo>
                  <a:cubicBezTo>
                    <a:pt x="26" y="39"/>
                    <a:pt x="31" y="40"/>
                    <a:pt x="31" y="40"/>
                  </a:cubicBezTo>
                  <a:cubicBezTo>
                    <a:pt x="31" y="41"/>
                    <a:pt x="26" y="43"/>
                    <a:pt x="26" y="43"/>
                  </a:cubicBezTo>
                  <a:cubicBezTo>
                    <a:pt x="25" y="42"/>
                    <a:pt x="20" y="42"/>
                    <a:pt x="19" y="42"/>
                  </a:cubicBezTo>
                  <a:cubicBezTo>
                    <a:pt x="18" y="43"/>
                    <a:pt x="13" y="43"/>
                    <a:pt x="13" y="43"/>
                  </a:cubicBezTo>
                  <a:cubicBezTo>
                    <a:pt x="12" y="44"/>
                    <a:pt x="12" y="46"/>
                    <a:pt x="11" y="46"/>
                  </a:cubicBezTo>
                  <a:cubicBezTo>
                    <a:pt x="10" y="45"/>
                    <a:pt x="10" y="44"/>
                    <a:pt x="8" y="45"/>
                  </a:cubicBezTo>
                  <a:cubicBezTo>
                    <a:pt x="8" y="45"/>
                    <a:pt x="5" y="47"/>
                    <a:pt x="5" y="47"/>
                  </a:cubicBezTo>
                  <a:cubicBezTo>
                    <a:pt x="4" y="47"/>
                    <a:pt x="2" y="47"/>
                    <a:pt x="2" y="46"/>
                  </a:cubicBezTo>
                  <a:cubicBezTo>
                    <a:pt x="2" y="45"/>
                    <a:pt x="5" y="43"/>
                    <a:pt x="6" y="43"/>
                  </a:cubicBezTo>
                  <a:cubicBezTo>
                    <a:pt x="7" y="43"/>
                    <a:pt x="8" y="41"/>
                    <a:pt x="8" y="41"/>
                  </a:cubicBezTo>
                  <a:cubicBezTo>
                    <a:pt x="9" y="40"/>
                    <a:pt x="13" y="40"/>
                    <a:pt x="13" y="40"/>
                  </a:cubicBezTo>
                  <a:cubicBezTo>
                    <a:pt x="14" y="40"/>
                    <a:pt x="15" y="39"/>
                    <a:pt x="15" y="39"/>
                  </a:cubicBezTo>
                  <a:cubicBezTo>
                    <a:pt x="14" y="38"/>
                    <a:pt x="11" y="38"/>
                    <a:pt x="10" y="38"/>
                  </a:cubicBezTo>
                  <a:cubicBezTo>
                    <a:pt x="10" y="37"/>
                    <a:pt x="6" y="38"/>
                    <a:pt x="5" y="37"/>
                  </a:cubicBezTo>
                  <a:cubicBezTo>
                    <a:pt x="5" y="37"/>
                    <a:pt x="6" y="36"/>
                    <a:pt x="6" y="36"/>
                  </a:cubicBezTo>
                  <a:cubicBezTo>
                    <a:pt x="7" y="35"/>
                    <a:pt x="10" y="35"/>
                    <a:pt x="10" y="34"/>
                  </a:cubicBezTo>
                  <a:cubicBezTo>
                    <a:pt x="10" y="34"/>
                    <a:pt x="10" y="32"/>
                    <a:pt x="9" y="32"/>
                  </a:cubicBezTo>
                  <a:cubicBezTo>
                    <a:pt x="8" y="31"/>
                    <a:pt x="7" y="32"/>
                    <a:pt x="7" y="31"/>
                  </a:cubicBezTo>
                  <a:cubicBezTo>
                    <a:pt x="7" y="31"/>
                    <a:pt x="8" y="30"/>
                    <a:pt x="9" y="29"/>
                  </a:cubicBezTo>
                  <a:cubicBezTo>
                    <a:pt x="10" y="29"/>
                    <a:pt x="13" y="30"/>
                    <a:pt x="14" y="29"/>
                  </a:cubicBezTo>
                  <a:cubicBezTo>
                    <a:pt x="14" y="29"/>
                    <a:pt x="14" y="26"/>
                    <a:pt x="14" y="25"/>
                  </a:cubicBezTo>
                  <a:cubicBezTo>
                    <a:pt x="13" y="25"/>
                    <a:pt x="12" y="23"/>
                    <a:pt x="12" y="23"/>
                  </a:cubicBezTo>
                  <a:cubicBezTo>
                    <a:pt x="12" y="22"/>
                    <a:pt x="14" y="21"/>
                    <a:pt x="14" y="21"/>
                  </a:cubicBezTo>
                  <a:cubicBezTo>
                    <a:pt x="13" y="20"/>
                    <a:pt x="11" y="21"/>
                    <a:pt x="10" y="21"/>
                  </a:cubicBezTo>
                  <a:cubicBezTo>
                    <a:pt x="10" y="22"/>
                    <a:pt x="8" y="23"/>
                    <a:pt x="7" y="23"/>
                  </a:cubicBezTo>
                  <a:cubicBezTo>
                    <a:pt x="6" y="22"/>
                    <a:pt x="7" y="22"/>
                    <a:pt x="6" y="21"/>
                  </a:cubicBezTo>
                  <a:cubicBezTo>
                    <a:pt x="5" y="20"/>
                    <a:pt x="6" y="19"/>
                    <a:pt x="6" y="19"/>
                  </a:cubicBezTo>
                  <a:cubicBezTo>
                    <a:pt x="6" y="18"/>
                    <a:pt x="8" y="18"/>
                    <a:pt x="8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6" y="14"/>
                    <a:pt x="5" y="14"/>
                  </a:cubicBezTo>
                  <a:cubicBezTo>
                    <a:pt x="5" y="14"/>
                    <a:pt x="4" y="17"/>
                    <a:pt x="3" y="16"/>
                  </a:cubicBezTo>
                  <a:cubicBezTo>
                    <a:pt x="2" y="16"/>
                    <a:pt x="2" y="14"/>
                    <a:pt x="2" y="13"/>
                  </a:cubicBezTo>
                  <a:cubicBezTo>
                    <a:pt x="2" y="13"/>
                    <a:pt x="3" y="10"/>
                    <a:pt x="2" y="10"/>
                  </a:cubicBezTo>
                  <a:cubicBezTo>
                    <a:pt x="2" y="9"/>
                    <a:pt x="0" y="8"/>
                    <a:pt x="0" y="8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5" name="Freeform 6549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147519" y="2395372"/>
              <a:ext cx="43748" cy="63625"/>
            </a:xfrm>
            <a:custGeom>
              <a:avLst/>
              <a:gdLst>
                <a:gd name="T0" fmla="*/ 0 w 7"/>
                <a:gd name="T1" fmla="*/ 7 h 10"/>
                <a:gd name="T2" fmla="*/ 1 w 7"/>
                <a:gd name="T3" fmla="*/ 2 h 10"/>
                <a:gd name="T4" fmla="*/ 6 w 7"/>
                <a:gd name="T5" fmla="*/ 0 h 10"/>
                <a:gd name="T6" fmla="*/ 6 w 7"/>
                <a:gd name="T7" fmla="*/ 3 h 10"/>
                <a:gd name="T8" fmla="*/ 3 w 7"/>
                <a:gd name="T9" fmla="*/ 5 h 10"/>
                <a:gd name="T10" fmla="*/ 2 w 7"/>
                <a:gd name="T11" fmla="*/ 9 h 10"/>
                <a:gd name="T12" fmla="*/ 1 w 7"/>
                <a:gd name="T13" fmla="*/ 10 h 10"/>
                <a:gd name="T14" fmla="*/ 0 w 7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0">
                  <a:moveTo>
                    <a:pt x="0" y="7"/>
                  </a:moveTo>
                  <a:cubicBezTo>
                    <a:pt x="0" y="6"/>
                    <a:pt x="1" y="3"/>
                    <a:pt x="1" y="2"/>
                  </a:cubicBezTo>
                  <a:cubicBezTo>
                    <a:pt x="2" y="2"/>
                    <a:pt x="5" y="0"/>
                    <a:pt x="6" y="0"/>
                  </a:cubicBezTo>
                  <a:cubicBezTo>
                    <a:pt x="7" y="1"/>
                    <a:pt x="6" y="2"/>
                    <a:pt x="6" y="3"/>
                  </a:cubicBezTo>
                  <a:cubicBezTo>
                    <a:pt x="6" y="3"/>
                    <a:pt x="3" y="4"/>
                    <a:pt x="3" y="5"/>
                  </a:cubicBezTo>
                  <a:cubicBezTo>
                    <a:pt x="3" y="5"/>
                    <a:pt x="2" y="8"/>
                    <a:pt x="2" y="9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0" y="10"/>
                    <a:pt x="0" y="9"/>
                    <a:pt x="0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6" name="Freeform 655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153768" y="2519274"/>
              <a:ext cx="53122" cy="43533"/>
            </a:xfrm>
            <a:custGeom>
              <a:avLst/>
              <a:gdLst>
                <a:gd name="T0" fmla="*/ 6 w 9"/>
                <a:gd name="T1" fmla="*/ 0 h 7"/>
                <a:gd name="T2" fmla="*/ 8 w 9"/>
                <a:gd name="T3" fmla="*/ 4 h 7"/>
                <a:gd name="T4" fmla="*/ 5 w 9"/>
                <a:gd name="T5" fmla="*/ 7 h 7"/>
                <a:gd name="T6" fmla="*/ 3 w 9"/>
                <a:gd name="T7" fmla="*/ 6 h 7"/>
                <a:gd name="T8" fmla="*/ 0 w 9"/>
                <a:gd name="T9" fmla="*/ 5 h 7"/>
                <a:gd name="T10" fmla="*/ 2 w 9"/>
                <a:gd name="T11" fmla="*/ 2 h 7"/>
                <a:gd name="T12" fmla="*/ 4 w 9"/>
                <a:gd name="T13" fmla="*/ 0 h 7"/>
                <a:gd name="T14" fmla="*/ 6 w 9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6" y="1"/>
                    <a:pt x="9" y="4"/>
                    <a:pt x="8" y="4"/>
                  </a:cubicBezTo>
                  <a:cubicBezTo>
                    <a:pt x="8" y="5"/>
                    <a:pt x="5" y="6"/>
                    <a:pt x="5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0" y="6"/>
                    <a:pt x="0" y="5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7" name="Freeform 655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4088147" y="2512576"/>
              <a:ext cx="103120" cy="137296"/>
            </a:xfrm>
            <a:custGeom>
              <a:avLst/>
              <a:gdLst>
                <a:gd name="T0" fmla="*/ 15 w 17"/>
                <a:gd name="T1" fmla="*/ 8 h 21"/>
                <a:gd name="T2" fmla="*/ 17 w 17"/>
                <a:gd name="T3" fmla="*/ 13 h 21"/>
                <a:gd name="T4" fmla="*/ 16 w 17"/>
                <a:gd name="T5" fmla="*/ 17 h 21"/>
                <a:gd name="T6" fmla="*/ 10 w 17"/>
                <a:gd name="T7" fmla="*/ 18 h 21"/>
                <a:gd name="T8" fmla="*/ 6 w 17"/>
                <a:gd name="T9" fmla="*/ 21 h 21"/>
                <a:gd name="T10" fmla="*/ 2 w 17"/>
                <a:gd name="T11" fmla="*/ 20 h 21"/>
                <a:gd name="T12" fmla="*/ 0 w 17"/>
                <a:gd name="T13" fmla="*/ 19 h 21"/>
                <a:gd name="T14" fmla="*/ 1 w 17"/>
                <a:gd name="T15" fmla="*/ 17 h 21"/>
                <a:gd name="T16" fmla="*/ 4 w 17"/>
                <a:gd name="T17" fmla="*/ 15 h 21"/>
                <a:gd name="T18" fmla="*/ 6 w 17"/>
                <a:gd name="T19" fmla="*/ 13 h 21"/>
                <a:gd name="T20" fmla="*/ 4 w 17"/>
                <a:gd name="T21" fmla="*/ 11 h 21"/>
                <a:gd name="T22" fmla="*/ 1 w 17"/>
                <a:gd name="T23" fmla="*/ 11 h 21"/>
                <a:gd name="T24" fmla="*/ 2 w 17"/>
                <a:gd name="T25" fmla="*/ 9 h 21"/>
                <a:gd name="T26" fmla="*/ 1 w 17"/>
                <a:gd name="T27" fmla="*/ 6 h 21"/>
                <a:gd name="T28" fmla="*/ 8 w 17"/>
                <a:gd name="T29" fmla="*/ 6 h 21"/>
                <a:gd name="T30" fmla="*/ 9 w 17"/>
                <a:gd name="T31" fmla="*/ 4 h 21"/>
                <a:gd name="T32" fmla="*/ 6 w 17"/>
                <a:gd name="T33" fmla="*/ 3 h 21"/>
                <a:gd name="T34" fmla="*/ 10 w 17"/>
                <a:gd name="T35" fmla="*/ 0 h 21"/>
                <a:gd name="T36" fmla="*/ 13 w 17"/>
                <a:gd name="T37" fmla="*/ 1 h 21"/>
                <a:gd name="T38" fmla="*/ 14 w 17"/>
                <a:gd name="T39" fmla="*/ 1 h 21"/>
                <a:gd name="T40" fmla="*/ 13 w 17"/>
                <a:gd name="T41" fmla="*/ 3 h 21"/>
                <a:gd name="T42" fmla="*/ 11 w 17"/>
                <a:gd name="T43" fmla="*/ 6 h 21"/>
                <a:gd name="T44" fmla="*/ 14 w 17"/>
                <a:gd name="T45" fmla="*/ 7 h 21"/>
                <a:gd name="T46" fmla="*/ 15 w 17"/>
                <a:gd name="T4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1">
                  <a:moveTo>
                    <a:pt x="15" y="8"/>
                  </a:moveTo>
                  <a:cubicBezTo>
                    <a:pt x="15" y="8"/>
                    <a:pt x="17" y="13"/>
                    <a:pt x="17" y="13"/>
                  </a:cubicBezTo>
                  <a:cubicBezTo>
                    <a:pt x="17" y="14"/>
                    <a:pt x="16" y="17"/>
                    <a:pt x="16" y="17"/>
                  </a:cubicBezTo>
                  <a:cubicBezTo>
                    <a:pt x="15" y="18"/>
                    <a:pt x="12" y="17"/>
                    <a:pt x="10" y="18"/>
                  </a:cubicBezTo>
                  <a:cubicBezTo>
                    <a:pt x="9" y="18"/>
                    <a:pt x="6" y="20"/>
                    <a:pt x="6" y="21"/>
                  </a:cubicBezTo>
                  <a:cubicBezTo>
                    <a:pt x="5" y="21"/>
                    <a:pt x="3" y="21"/>
                    <a:pt x="2" y="20"/>
                  </a:cubicBezTo>
                  <a:cubicBezTo>
                    <a:pt x="2" y="20"/>
                    <a:pt x="0" y="19"/>
                    <a:pt x="0" y="19"/>
                  </a:cubicBezTo>
                  <a:cubicBezTo>
                    <a:pt x="0" y="19"/>
                    <a:pt x="0" y="17"/>
                    <a:pt x="1" y="17"/>
                  </a:cubicBezTo>
                  <a:cubicBezTo>
                    <a:pt x="1" y="17"/>
                    <a:pt x="3" y="16"/>
                    <a:pt x="4" y="15"/>
                  </a:cubicBezTo>
                  <a:cubicBezTo>
                    <a:pt x="4" y="14"/>
                    <a:pt x="6" y="13"/>
                    <a:pt x="6" y="13"/>
                  </a:cubicBezTo>
                  <a:cubicBezTo>
                    <a:pt x="6" y="11"/>
                    <a:pt x="5" y="11"/>
                    <a:pt x="4" y="11"/>
                  </a:cubicBezTo>
                  <a:cubicBezTo>
                    <a:pt x="3" y="11"/>
                    <a:pt x="1" y="12"/>
                    <a:pt x="1" y="11"/>
                  </a:cubicBezTo>
                  <a:cubicBezTo>
                    <a:pt x="1" y="10"/>
                    <a:pt x="2" y="9"/>
                    <a:pt x="2" y="9"/>
                  </a:cubicBezTo>
                  <a:cubicBezTo>
                    <a:pt x="2" y="8"/>
                    <a:pt x="1" y="6"/>
                    <a:pt x="1" y="6"/>
                  </a:cubicBezTo>
                  <a:cubicBezTo>
                    <a:pt x="2" y="6"/>
                    <a:pt x="8" y="6"/>
                    <a:pt x="8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9" y="0"/>
                    <a:pt x="10" y="0"/>
                  </a:cubicBezTo>
                  <a:cubicBezTo>
                    <a:pt x="11" y="0"/>
                    <a:pt x="13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1" y="6"/>
                    <a:pt x="11" y="6"/>
                  </a:cubicBezTo>
                  <a:cubicBezTo>
                    <a:pt x="11" y="7"/>
                    <a:pt x="14" y="6"/>
                    <a:pt x="14" y="7"/>
                  </a:cubicBezTo>
                  <a:cubicBezTo>
                    <a:pt x="15" y="8"/>
                    <a:pt x="15" y="8"/>
                    <a:pt x="15" y="8"/>
                  </a:cubicBezTo>
                  <a:close/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8" name="Freeform 6552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2647591" y="3557364"/>
              <a:ext cx="87496" cy="63625"/>
            </a:xfrm>
            <a:custGeom>
              <a:avLst/>
              <a:gdLst>
                <a:gd name="T0" fmla="*/ 4 w 14"/>
                <a:gd name="T1" fmla="*/ 7 h 10"/>
                <a:gd name="T2" fmla="*/ 1 w 14"/>
                <a:gd name="T3" fmla="*/ 10 h 10"/>
                <a:gd name="T4" fmla="*/ 0 w 14"/>
                <a:gd name="T5" fmla="*/ 10 h 10"/>
                <a:gd name="T6" fmla="*/ 1 w 14"/>
                <a:gd name="T7" fmla="*/ 1 h 10"/>
                <a:gd name="T8" fmla="*/ 4 w 14"/>
                <a:gd name="T9" fmla="*/ 0 h 10"/>
                <a:gd name="T10" fmla="*/ 7 w 14"/>
                <a:gd name="T11" fmla="*/ 2 h 10"/>
                <a:gd name="T12" fmla="*/ 10 w 14"/>
                <a:gd name="T13" fmla="*/ 3 h 10"/>
                <a:gd name="T14" fmla="*/ 14 w 14"/>
                <a:gd name="T15" fmla="*/ 5 h 10"/>
                <a:gd name="T16" fmla="*/ 12 w 14"/>
                <a:gd name="T17" fmla="*/ 8 h 10"/>
                <a:gd name="T18" fmla="*/ 9 w 14"/>
                <a:gd name="T19" fmla="*/ 7 h 10"/>
                <a:gd name="T20" fmla="*/ 4 w 14"/>
                <a:gd name="T2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4" y="7"/>
                  </a:moveTo>
                  <a:cubicBezTo>
                    <a:pt x="3" y="8"/>
                    <a:pt x="2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8" y="2"/>
                    <a:pt x="9" y="3"/>
                    <a:pt x="10" y="3"/>
                  </a:cubicBezTo>
                  <a:cubicBezTo>
                    <a:pt x="10" y="3"/>
                    <a:pt x="14" y="5"/>
                    <a:pt x="14" y="5"/>
                  </a:cubicBezTo>
                  <a:cubicBezTo>
                    <a:pt x="14" y="6"/>
                    <a:pt x="13" y="7"/>
                    <a:pt x="12" y="8"/>
                  </a:cubicBezTo>
                  <a:cubicBezTo>
                    <a:pt x="12" y="8"/>
                    <a:pt x="10" y="7"/>
                    <a:pt x="9" y="7"/>
                  </a:cubicBezTo>
                  <a:cubicBezTo>
                    <a:pt x="7" y="7"/>
                    <a:pt x="5" y="7"/>
                    <a:pt x="4" y="7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89" name="Freeform 6553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2588218" y="3557364"/>
              <a:ext cx="65622" cy="63625"/>
            </a:xfrm>
            <a:custGeom>
              <a:avLst/>
              <a:gdLst>
                <a:gd name="T0" fmla="*/ 11 w 11"/>
                <a:gd name="T1" fmla="*/ 1 h 10"/>
                <a:gd name="T2" fmla="*/ 10 w 11"/>
                <a:gd name="T3" fmla="*/ 10 h 10"/>
                <a:gd name="T4" fmla="*/ 8 w 11"/>
                <a:gd name="T5" fmla="*/ 9 h 10"/>
                <a:gd name="T6" fmla="*/ 3 w 11"/>
                <a:gd name="T7" fmla="*/ 9 h 10"/>
                <a:gd name="T8" fmla="*/ 0 w 11"/>
                <a:gd name="T9" fmla="*/ 6 h 10"/>
                <a:gd name="T10" fmla="*/ 6 w 11"/>
                <a:gd name="T11" fmla="*/ 6 h 10"/>
                <a:gd name="T12" fmla="*/ 5 w 11"/>
                <a:gd name="T13" fmla="*/ 3 h 10"/>
                <a:gd name="T14" fmla="*/ 3 w 11"/>
                <a:gd name="T15" fmla="*/ 1 h 10"/>
                <a:gd name="T16" fmla="*/ 7 w 11"/>
                <a:gd name="T17" fmla="*/ 0 h 10"/>
                <a:gd name="T18" fmla="*/ 10 w 11"/>
                <a:gd name="T19" fmla="*/ 1 h 10"/>
                <a:gd name="T20" fmla="*/ 11 w 11"/>
                <a:gd name="T21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0">
                  <a:moveTo>
                    <a:pt x="11" y="1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7" y="9"/>
                    <a:pt x="4" y="9"/>
                    <a:pt x="3" y="9"/>
                  </a:cubicBezTo>
                  <a:cubicBezTo>
                    <a:pt x="2" y="9"/>
                    <a:pt x="0" y="7"/>
                    <a:pt x="0" y="6"/>
                  </a:cubicBezTo>
                  <a:cubicBezTo>
                    <a:pt x="0" y="5"/>
                    <a:pt x="6" y="7"/>
                    <a:pt x="6" y="6"/>
                  </a:cubicBezTo>
                  <a:cubicBezTo>
                    <a:pt x="6" y="5"/>
                    <a:pt x="6" y="3"/>
                    <a:pt x="5" y="3"/>
                  </a:cubicBezTo>
                  <a:cubicBezTo>
                    <a:pt x="5" y="2"/>
                    <a:pt x="3" y="1"/>
                    <a:pt x="3" y="1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7" y="0"/>
                    <a:pt x="9" y="1"/>
                    <a:pt x="10" y="1"/>
                  </a:cubicBezTo>
                  <a:cubicBezTo>
                    <a:pt x="10" y="1"/>
                    <a:pt x="10" y="1"/>
                    <a:pt x="11" y="1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0" name="Freeform 6554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7603603" y="2830701"/>
              <a:ext cx="140618" cy="127249"/>
            </a:xfrm>
            <a:custGeom>
              <a:avLst/>
              <a:gdLst>
                <a:gd name="T0" fmla="*/ 0 w 23"/>
                <a:gd name="T1" fmla="*/ 16 h 20"/>
                <a:gd name="T2" fmla="*/ 3 w 23"/>
                <a:gd name="T3" fmla="*/ 12 h 20"/>
                <a:gd name="T4" fmla="*/ 7 w 23"/>
                <a:gd name="T5" fmla="*/ 11 h 20"/>
                <a:gd name="T6" fmla="*/ 8 w 23"/>
                <a:gd name="T7" fmla="*/ 5 h 20"/>
                <a:gd name="T8" fmla="*/ 7 w 23"/>
                <a:gd name="T9" fmla="*/ 2 h 20"/>
                <a:gd name="T10" fmla="*/ 10 w 23"/>
                <a:gd name="T11" fmla="*/ 2 h 20"/>
                <a:gd name="T12" fmla="*/ 13 w 23"/>
                <a:gd name="T13" fmla="*/ 5 h 20"/>
                <a:gd name="T14" fmla="*/ 19 w 23"/>
                <a:gd name="T15" fmla="*/ 7 h 20"/>
                <a:gd name="T16" fmla="*/ 22 w 23"/>
                <a:gd name="T17" fmla="*/ 7 h 20"/>
                <a:gd name="T18" fmla="*/ 22 w 23"/>
                <a:gd name="T19" fmla="*/ 10 h 20"/>
                <a:gd name="T20" fmla="*/ 23 w 23"/>
                <a:gd name="T21" fmla="*/ 12 h 20"/>
                <a:gd name="T22" fmla="*/ 17 w 23"/>
                <a:gd name="T23" fmla="*/ 14 h 20"/>
                <a:gd name="T24" fmla="*/ 14 w 23"/>
                <a:gd name="T25" fmla="*/ 18 h 20"/>
                <a:gd name="T26" fmla="*/ 8 w 23"/>
                <a:gd name="T27" fmla="*/ 15 h 20"/>
                <a:gd name="T28" fmla="*/ 4 w 23"/>
                <a:gd name="T29" fmla="*/ 16 h 20"/>
                <a:gd name="T30" fmla="*/ 6 w 23"/>
                <a:gd name="T31" fmla="*/ 18 h 20"/>
                <a:gd name="T32" fmla="*/ 1 w 23"/>
                <a:gd name="T33" fmla="*/ 20 h 20"/>
                <a:gd name="T34" fmla="*/ 0 w 23"/>
                <a:gd name="T35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" h="20">
                  <a:moveTo>
                    <a:pt x="0" y="16"/>
                  </a:moveTo>
                  <a:cubicBezTo>
                    <a:pt x="0" y="15"/>
                    <a:pt x="2" y="14"/>
                    <a:pt x="3" y="12"/>
                  </a:cubicBezTo>
                  <a:cubicBezTo>
                    <a:pt x="3" y="11"/>
                    <a:pt x="6" y="12"/>
                    <a:pt x="7" y="11"/>
                  </a:cubicBezTo>
                  <a:cubicBezTo>
                    <a:pt x="7" y="9"/>
                    <a:pt x="8" y="6"/>
                    <a:pt x="8" y="5"/>
                  </a:cubicBezTo>
                  <a:cubicBezTo>
                    <a:pt x="8" y="4"/>
                    <a:pt x="6" y="2"/>
                    <a:pt x="7" y="2"/>
                  </a:cubicBezTo>
                  <a:cubicBezTo>
                    <a:pt x="8" y="0"/>
                    <a:pt x="8" y="2"/>
                    <a:pt x="10" y="2"/>
                  </a:cubicBezTo>
                  <a:cubicBezTo>
                    <a:pt x="10" y="2"/>
                    <a:pt x="13" y="5"/>
                    <a:pt x="13" y="5"/>
                  </a:cubicBezTo>
                  <a:cubicBezTo>
                    <a:pt x="15" y="7"/>
                    <a:pt x="17" y="7"/>
                    <a:pt x="19" y="7"/>
                  </a:cubicBezTo>
                  <a:cubicBezTo>
                    <a:pt x="20" y="7"/>
                    <a:pt x="21" y="6"/>
                    <a:pt x="22" y="7"/>
                  </a:cubicBezTo>
                  <a:cubicBezTo>
                    <a:pt x="23" y="7"/>
                    <a:pt x="21" y="9"/>
                    <a:pt x="22" y="10"/>
                  </a:cubicBezTo>
                  <a:cubicBezTo>
                    <a:pt x="22" y="11"/>
                    <a:pt x="23" y="12"/>
                    <a:pt x="23" y="12"/>
                  </a:cubicBezTo>
                  <a:cubicBezTo>
                    <a:pt x="23" y="13"/>
                    <a:pt x="18" y="13"/>
                    <a:pt x="17" y="14"/>
                  </a:cubicBezTo>
                  <a:cubicBezTo>
                    <a:pt x="16" y="15"/>
                    <a:pt x="15" y="18"/>
                    <a:pt x="14" y="18"/>
                  </a:cubicBezTo>
                  <a:cubicBezTo>
                    <a:pt x="13" y="18"/>
                    <a:pt x="9" y="15"/>
                    <a:pt x="8" y="15"/>
                  </a:cubicBezTo>
                  <a:cubicBezTo>
                    <a:pt x="7" y="15"/>
                    <a:pt x="4" y="15"/>
                    <a:pt x="4" y="16"/>
                  </a:cubicBezTo>
                  <a:cubicBezTo>
                    <a:pt x="4" y="16"/>
                    <a:pt x="6" y="18"/>
                    <a:pt x="6" y="18"/>
                  </a:cubicBezTo>
                  <a:cubicBezTo>
                    <a:pt x="5" y="19"/>
                    <a:pt x="2" y="19"/>
                    <a:pt x="1" y="20"/>
                  </a:cubicBezTo>
                  <a:cubicBezTo>
                    <a:pt x="0" y="20"/>
                    <a:pt x="0" y="17"/>
                    <a:pt x="0" y="16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1" name="Freeform 6555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7369239" y="3185661"/>
              <a:ext cx="62497" cy="77020"/>
            </a:xfrm>
            <a:custGeom>
              <a:avLst/>
              <a:gdLst>
                <a:gd name="T0" fmla="*/ 8 w 10"/>
                <a:gd name="T1" fmla="*/ 5 h 12"/>
                <a:gd name="T2" fmla="*/ 7 w 10"/>
                <a:gd name="T3" fmla="*/ 9 h 12"/>
                <a:gd name="T4" fmla="*/ 4 w 10"/>
                <a:gd name="T5" fmla="*/ 12 h 12"/>
                <a:gd name="T6" fmla="*/ 2 w 10"/>
                <a:gd name="T7" fmla="*/ 10 h 12"/>
                <a:gd name="T8" fmla="*/ 3 w 10"/>
                <a:gd name="T9" fmla="*/ 5 h 12"/>
                <a:gd name="T10" fmla="*/ 0 w 10"/>
                <a:gd name="T11" fmla="*/ 2 h 12"/>
                <a:gd name="T12" fmla="*/ 3 w 10"/>
                <a:gd name="T13" fmla="*/ 0 h 12"/>
                <a:gd name="T14" fmla="*/ 6 w 10"/>
                <a:gd name="T15" fmla="*/ 2 h 12"/>
                <a:gd name="T16" fmla="*/ 9 w 10"/>
                <a:gd name="T17" fmla="*/ 3 h 12"/>
                <a:gd name="T18" fmla="*/ 8 w 10"/>
                <a:gd name="T1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2">
                  <a:moveTo>
                    <a:pt x="8" y="5"/>
                  </a:moveTo>
                  <a:cubicBezTo>
                    <a:pt x="8" y="7"/>
                    <a:pt x="8" y="9"/>
                    <a:pt x="7" y="9"/>
                  </a:cubicBezTo>
                  <a:cubicBezTo>
                    <a:pt x="5" y="11"/>
                    <a:pt x="4" y="12"/>
                    <a:pt x="4" y="12"/>
                  </a:cubicBezTo>
                  <a:cubicBezTo>
                    <a:pt x="3" y="12"/>
                    <a:pt x="2" y="11"/>
                    <a:pt x="2" y="10"/>
                  </a:cubicBezTo>
                  <a:cubicBezTo>
                    <a:pt x="2" y="8"/>
                    <a:pt x="4" y="6"/>
                    <a:pt x="3" y="5"/>
                  </a:cubicBezTo>
                  <a:cubicBezTo>
                    <a:pt x="2" y="4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5" y="2"/>
                    <a:pt x="6" y="2"/>
                  </a:cubicBezTo>
                  <a:cubicBezTo>
                    <a:pt x="6" y="2"/>
                    <a:pt x="9" y="1"/>
                    <a:pt x="9" y="3"/>
                  </a:cubicBezTo>
                  <a:cubicBezTo>
                    <a:pt x="10" y="4"/>
                    <a:pt x="8" y="5"/>
                    <a:pt x="8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2" name="Freeform 6556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7400488" y="2971345"/>
              <a:ext cx="259363" cy="214315"/>
            </a:xfrm>
            <a:custGeom>
              <a:avLst/>
              <a:gdLst>
                <a:gd name="T0" fmla="*/ 10 w 43"/>
                <a:gd name="T1" fmla="*/ 30 h 33"/>
                <a:gd name="T2" fmla="*/ 2 w 43"/>
                <a:gd name="T3" fmla="*/ 32 h 33"/>
                <a:gd name="T4" fmla="*/ 2 w 43"/>
                <a:gd name="T5" fmla="*/ 30 h 33"/>
                <a:gd name="T6" fmla="*/ 7 w 43"/>
                <a:gd name="T7" fmla="*/ 25 h 33"/>
                <a:gd name="T8" fmla="*/ 16 w 43"/>
                <a:gd name="T9" fmla="*/ 24 h 33"/>
                <a:gd name="T10" fmla="*/ 19 w 43"/>
                <a:gd name="T11" fmla="*/ 25 h 33"/>
                <a:gd name="T12" fmla="*/ 22 w 43"/>
                <a:gd name="T13" fmla="*/ 18 h 33"/>
                <a:gd name="T14" fmla="*/ 25 w 43"/>
                <a:gd name="T15" fmla="*/ 17 h 33"/>
                <a:gd name="T16" fmla="*/ 26 w 43"/>
                <a:gd name="T17" fmla="*/ 19 h 33"/>
                <a:gd name="T18" fmla="*/ 30 w 43"/>
                <a:gd name="T19" fmla="*/ 17 h 33"/>
                <a:gd name="T20" fmla="*/ 33 w 43"/>
                <a:gd name="T21" fmla="*/ 14 h 33"/>
                <a:gd name="T22" fmla="*/ 35 w 43"/>
                <a:gd name="T23" fmla="*/ 8 h 33"/>
                <a:gd name="T24" fmla="*/ 35 w 43"/>
                <a:gd name="T25" fmla="*/ 2 h 33"/>
                <a:gd name="T26" fmla="*/ 37 w 43"/>
                <a:gd name="T27" fmla="*/ 1 h 33"/>
                <a:gd name="T28" fmla="*/ 40 w 43"/>
                <a:gd name="T29" fmla="*/ 1 h 33"/>
                <a:gd name="T30" fmla="*/ 42 w 43"/>
                <a:gd name="T31" fmla="*/ 4 h 33"/>
                <a:gd name="T32" fmla="*/ 42 w 43"/>
                <a:gd name="T33" fmla="*/ 11 h 33"/>
                <a:gd name="T34" fmla="*/ 39 w 43"/>
                <a:gd name="T35" fmla="*/ 14 h 33"/>
                <a:gd name="T36" fmla="*/ 38 w 43"/>
                <a:gd name="T37" fmla="*/ 20 h 33"/>
                <a:gd name="T38" fmla="*/ 39 w 43"/>
                <a:gd name="T39" fmla="*/ 25 h 33"/>
                <a:gd name="T40" fmla="*/ 35 w 43"/>
                <a:gd name="T41" fmla="*/ 28 h 33"/>
                <a:gd name="T42" fmla="*/ 25 w 43"/>
                <a:gd name="T43" fmla="*/ 28 h 33"/>
                <a:gd name="T44" fmla="*/ 23 w 43"/>
                <a:gd name="T45" fmla="*/ 28 h 33"/>
                <a:gd name="T46" fmla="*/ 20 w 43"/>
                <a:gd name="T47" fmla="*/ 33 h 33"/>
                <a:gd name="T48" fmla="*/ 19 w 43"/>
                <a:gd name="T49" fmla="*/ 33 h 33"/>
                <a:gd name="T50" fmla="*/ 16 w 43"/>
                <a:gd name="T51" fmla="*/ 32 h 33"/>
                <a:gd name="T52" fmla="*/ 17 w 43"/>
                <a:gd name="T53" fmla="*/ 29 h 33"/>
                <a:gd name="T54" fmla="*/ 14 w 43"/>
                <a:gd name="T55" fmla="*/ 29 h 33"/>
                <a:gd name="T56" fmla="*/ 10 w 43"/>
                <a:gd name="T57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33">
                  <a:moveTo>
                    <a:pt x="10" y="30"/>
                  </a:moveTo>
                  <a:cubicBezTo>
                    <a:pt x="8" y="31"/>
                    <a:pt x="4" y="32"/>
                    <a:pt x="2" y="32"/>
                  </a:cubicBezTo>
                  <a:cubicBezTo>
                    <a:pt x="0" y="31"/>
                    <a:pt x="1" y="30"/>
                    <a:pt x="2" y="30"/>
                  </a:cubicBezTo>
                  <a:cubicBezTo>
                    <a:pt x="4" y="28"/>
                    <a:pt x="6" y="25"/>
                    <a:pt x="7" y="25"/>
                  </a:cubicBezTo>
                  <a:cubicBezTo>
                    <a:pt x="9" y="24"/>
                    <a:pt x="15" y="25"/>
                    <a:pt x="16" y="24"/>
                  </a:cubicBezTo>
                  <a:cubicBezTo>
                    <a:pt x="17" y="24"/>
                    <a:pt x="18" y="26"/>
                    <a:pt x="19" y="25"/>
                  </a:cubicBezTo>
                  <a:cubicBezTo>
                    <a:pt x="20" y="24"/>
                    <a:pt x="22" y="19"/>
                    <a:pt x="22" y="18"/>
                  </a:cubicBezTo>
                  <a:cubicBezTo>
                    <a:pt x="24" y="16"/>
                    <a:pt x="25" y="17"/>
                    <a:pt x="25" y="17"/>
                  </a:cubicBezTo>
                  <a:cubicBezTo>
                    <a:pt x="25" y="17"/>
                    <a:pt x="24" y="19"/>
                    <a:pt x="26" y="19"/>
                  </a:cubicBezTo>
                  <a:cubicBezTo>
                    <a:pt x="28" y="19"/>
                    <a:pt x="30" y="17"/>
                    <a:pt x="30" y="17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4" y="11"/>
                    <a:pt x="35" y="9"/>
                    <a:pt x="35" y="8"/>
                  </a:cubicBezTo>
                  <a:cubicBezTo>
                    <a:pt x="35" y="6"/>
                    <a:pt x="35" y="3"/>
                    <a:pt x="35" y="2"/>
                  </a:cubicBezTo>
                  <a:cubicBezTo>
                    <a:pt x="36" y="2"/>
                    <a:pt x="37" y="1"/>
                    <a:pt x="37" y="1"/>
                  </a:cubicBezTo>
                  <a:cubicBezTo>
                    <a:pt x="37" y="1"/>
                    <a:pt x="40" y="0"/>
                    <a:pt x="40" y="1"/>
                  </a:cubicBezTo>
                  <a:cubicBezTo>
                    <a:pt x="40" y="1"/>
                    <a:pt x="41" y="2"/>
                    <a:pt x="42" y="4"/>
                  </a:cubicBezTo>
                  <a:cubicBezTo>
                    <a:pt x="43" y="5"/>
                    <a:pt x="43" y="9"/>
                    <a:pt x="42" y="11"/>
                  </a:cubicBezTo>
                  <a:cubicBezTo>
                    <a:pt x="41" y="13"/>
                    <a:pt x="39" y="12"/>
                    <a:pt x="39" y="14"/>
                  </a:cubicBezTo>
                  <a:cubicBezTo>
                    <a:pt x="39" y="16"/>
                    <a:pt x="38" y="19"/>
                    <a:pt x="38" y="20"/>
                  </a:cubicBezTo>
                  <a:cubicBezTo>
                    <a:pt x="37" y="22"/>
                    <a:pt x="39" y="24"/>
                    <a:pt x="39" y="25"/>
                  </a:cubicBezTo>
                  <a:cubicBezTo>
                    <a:pt x="38" y="25"/>
                    <a:pt x="36" y="28"/>
                    <a:pt x="35" y="28"/>
                  </a:cubicBezTo>
                  <a:cubicBezTo>
                    <a:pt x="34" y="28"/>
                    <a:pt x="27" y="28"/>
                    <a:pt x="25" y="28"/>
                  </a:cubicBezTo>
                  <a:cubicBezTo>
                    <a:pt x="25" y="28"/>
                    <a:pt x="24" y="27"/>
                    <a:pt x="23" y="28"/>
                  </a:cubicBezTo>
                  <a:cubicBezTo>
                    <a:pt x="22" y="29"/>
                    <a:pt x="22" y="32"/>
                    <a:pt x="20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8" y="33"/>
                    <a:pt x="16" y="33"/>
                    <a:pt x="16" y="32"/>
                  </a:cubicBezTo>
                  <a:cubicBezTo>
                    <a:pt x="16" y="31"/>
                    <a:pt x="18" y="30"/>
                    <a:pt x="17" y="29"/>
                  </a:cubicBezTo>
                  <a:cubicBezTo>
                    <a:pt x="17" y="28"/>
                    <a:pt x="14" y="29"/>
                    <a:pt x="14" y="29"/>
                  </a:cubicBezTo>
                  <a:cubicBezTo>
                    <a:pt x="13" y="29"/>
                    <a:pt x="10" y="30"/>
                    <a:pt x="10" y="30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3" name="Freeform 6557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7444236" y="3182312"/>
              <a:ext cx="46873" cy="36835"/>
            </a:xfrm>
            <a:custGeom>
              <a:avLst/>
              <a:gdLst>
                <a:gd name="T0" fmla="*/ 1 w 8"/>
                <a:gd name="T1" fmla="*/ 2 h 6"/>
                <a:gd name="T2" fmla="*/ 6 w 8"/>
                <a:gd name="T3" fmla="*/ 0 h 6"/>
                <a:gd name="T4" fmla="*/ 8 w 8"/>
                <a:gd name="T5" fmla="*/ 4 h 6"/>
                <a:gd name="T6" fmla="*/ 5 w 8"/>
                <a:gd name="T7" fmla="*/ 3 h 6"/>
                <a:gd name="T8" fmla="*/ 1 w 8"/>
                <a:gd name="T9" fmla="*/ 6 h 6"/>
                <a:gd name="T10" fmla="*/ 0 w 8"/>
                <a:gd name="T11" fmla="*/ 4 h 6"/>
                <a:gd name="T12" fmla="*/ 1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5" y="0"/>
                    <a:pt x="6" y="0"/>
                  </a:cubicBezTo>
                  <a:cubicBezTo>
                    <a:pt x="7" y="1"/>
                    <a:pt x="8" y="4"/>
                    <a:pt x="8" y="4"/>
                  </a:cubicBezTo>
                  <a:cubicBezTo>
                    <a:pt x="7" y="4"/>
                    <a:pt x="6" y="4"/>
                    <a:pt x="5" y="3"/>
                  </a:cubicBezTo>
                  <a:cubicBezTo>
                    <a:pt x="4" y="3"/>
                    <a:pt x="2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4" name="Freeform 6558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7444236" y="3182312"/>
              <a:ext cx="46873" cy="36835"/>
            </a:xfrm>
            <a:custGeom>
              <a:avLst/>
              <a:gdLst>
                <a:gd name="T0" fmla="*/ 1 w 8"/>
                <a:gd name="T1" fmla="*/ 2 h 6"/>
                <a:gd name="T2" fmla="*/ 6 w 8"/>
                <a:gd name="T3" fmla="*/ 0 h 6"/>
                <a:gd name="T4" fmla="*/ 8 w 8"/>
                <a:gd name="T5" fmla="*/ 4 h 6"/>
                <a:gd name="T6" fmla="*/ 5 w 8"/>
                <a:gd name="T7" fmla="*/ 3 h 6"/>
                <a:gd name="T8" fmla="*/ 1 w 8"/>
                <a:gd name="T9" fmla="*/ 6 h 6"/>
                <a:gd name="T10" fmla="*/ 0 w 8"/>
                <a:gd name="T11" fmla="*/ 4 h 6"/>
                <a:gd name="T12" fmla="*/ 1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5" y="0"/>
                    <a:pt x="6" y="0"/>
                  </a:cubicBezTo>
                  <a:cubicBezTo>
                    <a:pt x="7" y="1"/>
                    <a:pt x="8" y="4"/>
                    <a:pt x="8" y="4"/>
                  </a:cubicBezTo>
                  <a:cubicBezTo>
                    <a:pt x="7" y="4"/>
                    <a:pt x="6" y="4"/>
                    <a:pt x="5" y="3"/>
                  </a:cubicBezTo>
                  <a:cubicBezTo>
                    <a:pt x="4" y="3"/>
                    <a:pt x="2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295" name="Freeform 6310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734895" y="3470298"/>
              <a:ext cx="162492" cy="391795"/>
            </a:xfrm>
            <a:custGeom>
              <a:avLst/>
              <a:gdLst>
                <a:gd name="T0" fmla="*/ 1 w 27"/>
                <a:gd name="T1" fmla="*/ 5 h 60"/>
                <a:gd name="T2" fmla="*/ 0 w 27"/>
                <a:gd name="T3" fmla="*/ 3 h 60"/>
                <a:gd name="T4" fmla="*/ 2 w 27"/>
                <a:gd name="T5" fmla="*/ 3 h 60"/>
                <a:gd name="T6" fmla="*/ 10 w 27"/>
                <a:gd name="T7" fmla="*/ 0 h 60"/>
                <a:gd name="T8" fmla="*/ 13 w 27"/>
                <a:gd name="T9" fmla="*/ 2 h 60"/>
                <a:gd name="T10" fmla="*/ 16 w 27"/>
                <a:gd name="T11" fmla="*/ 2 h 60"/>
                <a:gd name="T12" fmla="*/ 16 w 27"/>
                <a:gd name="T13" fmla="*/ 5 h 60"/>
                <a:gd name="T14" fmla="*/ 21 w 27"/>
                <a:gd name="T15" fmla="*/ 8 h 60"/>
                <a:gd name="T16" fmla="*/ 18 w 27"/>
                <a:gd name="T17" fmla="*/ 10 h 60"/>
                <a:gd name="T18" fmla="*/ 16 w 27"/>
                <a:gd name="T19" fmla="*/ 12 h 60"/>
                <a:gd name="T20" fmla="*/ 13 w 27"/>
                <a:gd name="T21" fmla="*/ 16 h 60"/>
                <a:gd name="T22" fmla="*/ 14 w 27"/>
                <a:gd name="T23" fmla="*/ 20 h 60"/>
                <a:gd name="T24" fmla="*/ 16 w 27"/>
                <a:gd name="T25" fmla="*/ 22 h 60"/>
                <a:gd name="T26" fmla="*/ 19 w 27"/>
                <a:gd name="T27" fmla="*/ 25 h 60"/>
                <a:gd name="T28" fmla="*/ 24 w 27"/>
                <a:gd name="T29" fmla="*/ 30 h 60"/>
                <a:gd name="T30" fmla="*/ 27 w 27"/>
                <a:gd name="T31" fmla="*/ 37 h 60"/>
                <a:gd name="T32" fmla="*/ 27 w 27"/>
                <a:gd name="T33" fmla="*/ 45 h 60"/>
                <a:gd name="T34" fmla="*/ 25 w 27"/>
                <a:gd name="T35" fmla="*/ 49 h 60"/>
                <a:gd name="T36" fmla="*/ 17 w 27"/>
                <a:gd name="T37" fmla="*/ 52 h 60"/>
                <a:gd name="T38" fmla="*/ 15 w 27"/>
                <a:gd name="T39" fmla="*/ 56 h 60"/>
                <a:gd name="T40" fmla="*/ 12 w 27"/>
                <a:gd name="T41" fmla="*/ 58 h 60"/>
                <a:gd name="T42" fmla="*/ 8 w 27"/>
                <a:gd name="T43" fmla="*/ 59 h 60"/>
                <a:gd name="T44" fmla="*/ 9 w 27"/>
                <a:gd name="T45" fmla="*/ 53 h 60"/>
                <a:gd name="T46" fmla="*/ 7 w 27"/>
                <a:gd name="T47" fmla="*/ 52 h 60"/>
                <a:gd name="T48" fmla="*/ 10 w 27"/>
                <a:gd name="T49" fmla="*/ 50 h 60"/>
                <a:gd name="T50" fmla="*/ 14 w 27"/>
                <a:gd name="T51" fmla="*/ 49 h 60"/>
                <a:gd name="T52" fmla="*/ 14 w 27"/>
                <a:gd name="T53" fmla="*/ 46 h 60"/>
                <a:gd name="T54" fmla="*/ 19 w 27"/>
                <a:gd name="T55" fmla="*/ 43 h 60"/>
                <a:gd name="T56" fmla="*/ 19 w 27"/>
                <a:gd name="T57" fmla="*/ 38 h 60"/>
                <a:gd name="T58" fmla="*/ 19 w 27"/>
                <a:gd name="T59" fmla="*/ 32 h 60"/>
                <a:gd name="T60" fmla="*/ 16 w 27"/>
                <a:gd name="T61" fmla="*/ 28 h 60"/>
                <a:gd name="T62" fmla="*/ 13 w 27"/>
                <a:gd name="T63" fmla="*/ 24 h 60"/>
                <a:gd name="T64" fmla="*/ 9 w 27"/>
                <a:gd name="T65" fmla="*/ 19 h 60"/>
                <a:gd name="T66" fmla="*/ 5 w 27"/>
                <a:gd name="T67" fmla="*/ 17 h 60"/>
                <a:gd name="T68" fmla="*/ 6 w 27"/>
                <a:gd name="T69" fmla="*/ 15 h 60"/>
                <a:gd name="T70" fmla="*/ 9 w 27"/>
                <a:gd name="T71" fmla="*/ 14 h 60"/>
                <a:gd name="T72" fmla="*/ 10 w 27"/>
                <a:gd name="T73" fmla="*/ 12 h 60"/>
                <a:gd name="T74" fmla="*/ 7 w 27"/>
                <a:gd name="T75" fmla="*/ 10 h 60"/>
                <a:gd name="T76" fmla="*/ 5 w 27"/>
                <a:gd name="T77" fmla="*/ 11 h 60"/>
                <a:gd name="T78" fmla="*/ 1 w 27"/>
                <a:gd name="T79" fmla="*/ 9 h 60"/>
                <a:gd name="T80" fmla="*/ 1 w 27"/>
                <a:gd name="T81" fmla="*/ 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7" h="60">
                  <a:moveTo>
                    <a:pt x="1" y="5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10" y="1"/>
                    <a:pt x="10" y="0"/>
                  </a:cubicBezTo>
                  <a:cubicBezTo>
                    <a:pt x="11" y="0"/>
                    <a:pt x="12" y="1"/>
                    <a:pt x="13" y="2"/>
                  </a:cubicBezTo>
                  <a:cubicBezTo>
                    <a:pt x="14" y="2"/>
                    <a:pt x="15" y="2"/>
                    <a:pt x="16" y="2"/>
                  </a:cubicBezTo>
                  <a:cubicBezTo>
                    <a:pt x="17" y="2"/>
                    <a:pt x="15" y="5"/>
                    <a:pt x="16" y="5"/>
                  </a:cubicBezTo>
                  <a:cubicBezTo>
                    <a:pt x="16" y="5"/>
                    <a:pt x="21" y="8"/>
                    <a:pt x="21" y="8"/>
                  </a:cubicBezTo>
                  <a:cubicBezTo>
                    <a:pt x="20" y="8"/>
                    <a:pt x="19" y="10"/>
                    <a:pt x="18" y="10"/>
                  </a:cubicBezTo>
                  <a:cubicBezTo>
                    <a:pt x="17" y="10"/>
                    <a:pt x="17" y="11"/>
                    <a:pt x="16" y="12"/>
                  </a:cubicBezTo>
                  <a:cubicBezTo>
                    <a:pt x="15" y="13"/>
                    <a:pt x="13" y="14"/>
                    <a:pt x="13" y="16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4" y="20"/>
                    <a:pt x="16" y="22"/>
                    <a:pt x="16" y="22"/>
                  </a:cubicBezTo>
                  <a:cubicBezTo>
                    <a:pt x="16" y="23"/>
                    <a:pt x="18" y="25"/>
                    <a:pt x="19" y="25"/>
                  </a:cubicBezTo>
                  <a:cubicBezTo>
                    <a:pt x="19" y="26"/>
                    <a:pt x="23" y="28"/>
                    <a:pt x="24" y="30"/>
                  </a:cubicBezTo>
                  <a:cubicBezTo>
                    <a:pt x="24" y="31"/>
                    <a:pt x="26" y="36"/>
                    <a:pt x="27" y="37"/>
                  </a:cubicBezTo>
                  <a:cubicBezTo>
                    <a:pt x="27" y="38"/>
                    <a:pt x="27" y="43"/>
                    <a:pt x="27" y="45"/>
                  </a:cubicBezTo>
                  <a:cubicBezTo>
                    <a:pt x="26" y="46"/>
                    <a:pt x="25" y="48"/>
                    <a:pt x="25" y="49"/>
                  </a:cubicBezTo>
                  <a:cubicBezTo>
                    <a:pt x="24" y="49"/>
                    <a:pt x="18" y="51"/>
                    <a:pt x="17" y="52"/>
                  </a:cubicBezTo>
                  <a:cubicBezTo>
                    <a:pt x="16" y="53"/>
                    <a:pt x="16" y="56"/>
                    <a:pt x="15" y="56"/>
                  </a:cubicBezTo>
                  <a:cubicBezTo>
                    <a:pt x="14" y="56"/>
                    <a:pt x="12" y="57"/>
                    <a:pt x="12" y="58"/>
                  </a:cubicBezTo>
                  <a:cubicBezTo>
                    <a:pt x="11" y="59"/>
                    <a:pt x="9" y="60"/>
                    <a:pt x="8" y="59"/>
                  </a:cubicBezTo>
                  <a:cubicBezTo>
                    <a:pt x="7" y="59"/>
                    <a:pt x="9" y="53"/>
                    <a:pt x="9" y="53"/>
                  </a:cubicBezTo>
                  <a:cubicBezTo>
                    <a:pt x="8" y="53"/>
                    <a:pt x="8" y="52"/>
                    <a:pt x="7" y="52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1" y="49"/>
                    <a:pt x="13" y="50"/>
                    <a:pt x="14" y="49"/>
                  </a:cubicBezTo>
                  <a:cubicBezTo>
                    <a:pt x="15" y="48"/>
                    <a:pt x="13" y="46"/>
                    <a:pt x="14" y="46"/>
                  </a:cubicBezTo>
                  <a:cubicBezTo>
                    <a:pt x="15" y="46"/>
                    <a:pt x="18" y="44"/>
                    <a:pt x="19" y="43"/>
                  </a:cubicBezTo>
                  <a:cubicBezTo>
                    <a:pt x="20" y="42"/>
                    <a:pt x="18" y="38"/>
                    <a:pt x="19" y="38"/>
                  </a:cubicBezTo>
                  <a:cubicBezTo>
                    <a:pt x="19" y="37"/>
                    <a:pt x="19" y="33"/>
                    <a:pt x="19" y="32"/>
                  </a:cubicBezTo>
                  <a:cubicBezTo>
                    <a:pt x="18" y="31"/>
                    <a:pt x="16" y="29"/>
                    <a:pt x="16" y="28"/>
                  </a:cubicBezTo>
                  <a:cubicBezTo>
                    <a:pt x="15" y="27"/>
                    <a:pt x="13" y="25"/>
                    <a:pt x="13" y="24"/>
                  </a:cubicBezTo>
                  <a:cubicBezTo>
                    <a:pt x="12" y="23"/>
                    <a:pt x="10" y="20"/>
                    <a:pt x="9" y="19"/>
                  </a:cubicBezTo>
                  <a:cubicBezTo>
                    <a:pt x="8" y="19"/>
                    <a:pt x="6" y="17"/>
                    <a:pt x="5" y="17"/>
                  </a:cubicBezTo>
                  <a:cubicBezTo>
                    <a:pt x="5" y="17"/>
                    <a:pt x="6" y="15"/>
                    <a:pt x="6" y="15"/>
                  </a:cubicBezTo>
                  <a:cubicBezTo>
                    <a:pt x="6" y="15"/>
                    <a:pt x="9" y="15"/>
                    <a:pt x="9" y="14"/>
                  </a:cubicBezTo>
                  <a:cubicBezTo>
                    <a:pt x="9" y="14"/>
                    <a:pt x="10" y="12"/>
                    <a:pt x="10" y="12"/>
                  </a:cubicBezTo>
                  <a:cubicBezTo>
                    <a:pt x="10" y="12"/>
                    <a:pt x="8" y="10"/>
                    <a:pt x="7" y="10"/>
                  </a:cubicBezTo>
                  <a:cubicBezTo>
                    <a:pt x="6" y="9"/>
                    <a:pt x="5" y="10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8"/>
                    <a:pt x="2" y="6"/>
                    <a:pt x="1" y="5"/>
                  </a:cubicBezTo>
                </a:path>
              </a:pathLst>
            </a:custGeom>
            <a:grpFill/>
            <a:ln w="952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sz="2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" name="Gruppo 1"/>
          <p:cNvGrpSpPr/>
          <p:nvPr userDrawn="1"/>
        </p:nvGrpSpPr>
        <p:grpSpPr>
          <a:xfrm>
            <a:off x="2687133" y="2792593"/>
            <a:ext cx="1539803" cy="1190654"/>
            <a:chOff x="539571" y="5132303"/>
            <a:chExt cx="1224170" cy="1190654"/>
          </a:xfrm>
          <a:solidFill>
            <a:schemeClr val="accent1"/>
          </a:solidFill>
        </p:grpSpPr>
        <p:sp>
          <p:nvSpPr>
            <p:cNvPr id="297" name="Fumetto 1 296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298" name="Ovale 297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grpSp>
        <p:nvGrpSpPr>
          <p:cNvPr id="299" name="Gruppo 298"/>
          <p:cNvGrpSpPr/>
          <p:nvPr userDrawn="1"/>
        </p:nvGrpSpPr>
        <p:grpSpPr>
          <a:xfrm>
            <a:off x="4059622" y="4424480"/>
            <a:ext cx="1539803" cy="1190654"/>
            <a:chOff x="539571" y="5132303"/>
            <a:chExt cx="1224170" cy="1190654"/>
          </a:xfrm>
          <a:solidFill>
            <a:srgbClr val="00A99D"/>
          </a:solidFill>
        </p:grpSpPr>
        <p:sp>
          <p:nvSpPr>
            <p:cNvPr id="300" name="Fumetto 1 299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01" name="Ovale 300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grpSp>
        <p:nvGrpSpPr>
          <p:cNvPr id="302" name="Gruppo 301"/>
          <p:cNvGrpSpPr/>
          <p:nvPr userDrawn="1"/>
        </p:nvGrpSpPr>
        <p:grpSpPr>
          <a:xfrm>
            <a:off x="6887512" y="4105366"/>
            <a:ext cx="1539803" cy="1190654"/>
            <a:chOff x="539571" y="5132303"/>
            <a:chExt cx="1224170" cy="1190654"/>
          </a:xfrm>
          <a:solidFill>
            <a:srgbClr val="00A99D"/>
          </a:solidFill>
        </p:grpSpPr>
        <p:sp>
          <p:nvSpPr>
            <p:cNvPr id="303" name="Fumetto 1 302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04" name="Ovale 303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grpSp>
        <p:nvGrpSpPr>
          <p:cNvPr id="305" name="Gruppo 304"/>
          <p:cNvGrpSpPr/>
          <p:nvPr userDrawn="1"/>
        </p:nvGrpSpPr>
        <p:grpSpPr>
          <a:xfrm>
            <a:off x="6079151" y="2576990"/>
            <a:ext cx="1539803" cy="1190654"/>
            <a:chOff x="539571" y="5132303"/>
            <a:chExt cx="1224170" cy="1190654"/>
          </a:xfrm>
          <a:solidFill>
            <a:srgbClr val="00A99D"/>
          </a:solidFill>
        </p:grpSpPr>
        <p:sp>
          <p:nvSpPr>
            <p:cNvPr id="306" name="Fumetto 1 305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07" name="Ovale 306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grpSp>
        <p:nvGrpSpPr>
          <p:cNvPr id="308" name="Gruppo 307"/>
          <p:cNvGrpSpPr/>
          <p:nvPr userDrawn="1"/>
        </p:nvGrpSpPr>
        <p:grpSpPr>
          <a:xfrm>
            <a:off x="9315638" y="2771799"/>
            <a:ext cx="1539803" cy="1190654"/>
            <a:chOff x="539571" y="5132303"/>
            <a:chExt cx="1224170" cy="1190654"/>
          </a:xfrm>
          <a:solidFill>
            <a:srgbClr val="00A99D"/>
          </a:solidFill>
        </p:grpSpPr>
        <p:sp>
          <p:nvSpPr>
            <p:cNvPr id="309" name="Fumetto 1 308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10" name="Ovale 309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grpSp>
        <p:nvGrpSpPr>
          <p:cNvPr id="311" name="Gruppo 310"/>
          <p:cNvGrpSpPr/>
          <p:nvPr userDrawn="1"/>
        </p:nvGrpSpPr>
        <p:grpSpPr>
          <a:xfrm>
            <a:off x="10171592" y="4690456"/>
            <a:ext cx="1539803" cy="1190654"/>
            <a:chOff x="539571" y="5132303"/>
            <a:chExt cx="1224170" cy="1190654"/>
          </a:xfrm>
          <a:solidFill>
            <a:srgbClr val="00A99D"/>
          </a:solidFill>
        </p:grpSpPr>
        <p:sp>
          <p:nvSpPr>
            <p:cNvPr id="312" name="Fumetto 1 311"/>
            <p:cNvSpPr/>
            <p:nvPr/>
          </p:nvSpPr>
          <p:spPr>
            <a:xfrm>
              <a:off x="539571" y="5132303"/>
              <a:ext cx="1224170" cy="864120"/>
            </a:xfrm>
            <a:prstGeom prst="wedgeRectCallou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7994">
                <a:buClr>
                  <a:schemeClr val="accent6"/>
                </a:buClr>
                <a:buSzPct val="120000"/>
              </a:pPr>
              <a:endParaRPr lang="de-DE" sz="1400" dirty="0">
                <a:cs typeface="Arial"/>
              </a:endParaRPr>
            </a:p>
          </p:txBody>
        </p:sp>
        <p:sp>
          <p:nvSpPr>
            <p:cNvPr id="313" name="Ovale 312"/>
            <p:cNvSpPr/>
            <p:nvPr/>
          </p:nvSpPr>
          <p:spPr>
            <a:xfrm>
              <a:off x="810507" y="6143880"/>
              <a:ext cx="179077" cy="179077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2100" dirty="0"/>
            </a:p>
          </p:txBody>
        </p:sp>
      </p:grpSp>
      <p:sp>
        <p:nvSpPr>
          <p:cNvPr id="4" name="Segnaposto testo 3"/>
          <p:cNvSpPr>
            <a:spLocks noGrp="1"/>
          </p:cNvSpPr>
          <p:nvPr>
            <p:ph type="body" sz="quarter" idx="21"/>
          </p:nvPr>
        </p:nvSpPr>
        <p:spPr>
          <a:xfrm>
            <a:off x="2687135" y="2792593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4" name="Segnaposto testo 3"/>
          <p:cNvSpPr>
            <a:spLocks noGrp="1"/>
          </p:cNvSpPr>
          <p:nvPr>
            <p:ph type="body" sz="quarter" idx="22"/>
          </p:nvPr>
        </p:nvSpPr>
        <p:spPr>
          <a:xfrm>
            <a:off x="6087595" y="2589128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5" name="Segnaposto testo 3"/>
          <p:cNvSpPr>
            <a:spLocks noGrp="1"/>
          </p:cNvSpPr>
          <p:nvPr>
            <p:ph type="body" sz="quarter" idx="23"/>
          </p:nvPr>
        </p:nvSpPr>
        <p:spPr>
          <a:xfrm>
            <a:off x="4059621" y="4424215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6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6902977" y="4107043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7" name="Segnaposto testo 3"/>
          <p:cNvSpPr>
            <a:spLocks noGrp="1"/>
          </p:cNvSpPr>
          <p:nvPr>
            <p:ph type="body" sz="quarter" idx="25"/>
          </p:nvPr>
        </p:nvSpPr>
        <p:spPr>
          <a:xfrm>
            <a:off x="9324083" y="2772449"/>
            <a:ext cx="1531358" cy="852806"/>
          </a:xfrm>
          <a:prstGeom prst="rect">
            <a:avLst/>
          </a:prstGeom>
          <a:solidFill>
            <a:srgbClr val="00A99D"/>
          </a:solidFill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8" name="Segnaposto testo 3"/>
          <p:cNvSpPr>
            <a:spLocks noGrp="1"/>
          </p:cNvSpPr>
          <p:nvPr>
            <p:ph type="body" sz="quarter" idx="26"/>
          </p:nvPr>
        </p:nvSpPr>
        <p:spPr>
          <a:xfrm>
            <a:off x="10180030" y="4691772"/>
            <a:ext cx="1531358" cy="852806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200">
                <a:solidFill>
                  <a:schemeClr val="bg1"/>
                </a:solidFill>
                <a:latin typeface="Open Sans"/>
                <a:cs typeface="Open Sans"/>
              </a:defRPr>
            </a:lvl1pPr>
            <a:lvl2pPr>
              <a:defRPr sz="1400">
                <a:latin typeface="Novecento wide DemiBold"/>
                <a:cs typeface="Novecento wide DemiBold"/>
              </a:defRPr>
            </a:lvl2pPr>
            <a:lvl3pPr>
              <a:defRPr sz="1400">
                <a:latin typeface="Novecento wide DemiBold"/>
                <a:cs typeface="Novecento wide DemiBold"/>
              </a:defRPr>
            </a:lvl3pPr>
            <a:lvl4pPr>
              <a:defRPr sz="1400">
                <a:latin typeface="Novecento wide DemiBold"/>
                <a:cs typeface="Novecento wide DemiBold"/>
              </a:defRPr>
            </a:lvl4pPr>
            <a:lvl5pPr>
              <a:defRPr sz="1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19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04399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4995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glifo2.png">
            <a:hlinkClick r:id="rId2" action="ppaction://hlinkfile"/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134" y="3392858"/>
            <a:ext cx="784310" cy="75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1762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(+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 descr="glifo2.png">
            <a:hlinkClick r:id="rId2" action="ppaction://hlinkfile"/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778" y="3402383"/>
            <a:ext cx="745760" cy="758084"/>
          </a:xfrm>
          <a:prstGeom prst="rect">
            <a:avLst/>
          </a:prstGeom>
        </p:spPr>
      </p:pic>
      <p:sp>
        <p:nvSpPr>
          <p:cNvPr id="3" name="Segnaposto immagine 2"/>
          <p:cNvSpPr>
            <a:spLocks noGrp="1"/>
          </p:cNvSpPr>
          <p:nvPr>
            <p:ph type="pic" sz="quarter" idx="10"/>
          </p:nvPr>
        </p:nvSpPr>
        <p:spPr>
          <a:xfrm>
            <a:off x="7391108" y="3402013"/>
            <a:ext cx="954476" cy="7588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chemeClr val="accent1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5" name="CasellaDiTesto 4"/>
          <p:cNvSpPr txBox="1"/>
          <p:nvPr userDrawn="1"/>
        </p:nvSpPr>
        <p:spPr>
          <a:xfrm>
            <a:off x="6053433" y="3389010"/>
            <a:ext cx="1337677" cy="7848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4500" dirty="0">
                <a:solidFill>
                  <a:srgbClr val="B2B2B2"/>
                </a:solidFill>
                <a:latin typeface="Novecento wide Book"/>
                <a:cs typeface="Novecento wide Book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9117161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(F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/>
          <p:cNvSpPr>
            <a:spLocks noGrp="1"/>
          </p:cNvSpPr>
          <p:nvPr>
            <p:ph type="pic" sz="quarter" idx="10"/>
          </p:nvPr>
        </p:nvSpPr>
        <p:spPr>
          <a:xfrm>
            <a:off x="7710447" y="3402013"/>
            <a:ext cx="954476" cy="758825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800">
                <a:solidFill>
                  <a:srgbClr val="00A19A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5" name="CasellaDiTesto 4"/>
          <p:cNvSpPr txBox="1"/>
          <p:nvPr userDrawn="1"/>
        </p:nvSpPr>
        <p:spPr>
          <a:xfrm>
            <a:off x="5734094" y="3504426"/>
            <a:ext cx="1976350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t-IT" sz="3000" dirty="0">
                <a:solidFill>
                  <a:srgbClr val="B2B2B2"/>
                </a:solidFill>
                <a:latin typeface="Novecento wide Book"/>
                <a:cs typeface="Novecento wide Book"/>
              </a:rPr>
              <a:t>for</a:t>
            </a:r>
          </a:p>
        </p:txBody>
      </p:sp>
      <p:pic>
        <p:nvPicPr>
          <p:cNvPr id="6" name="Immagine 3" descr="glifo2.png">
            <a:hlinkClick r:id="rId2" action="ppaction://hlinkfile"/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3778" y="3402383"/>
            <a:ext cx="745760" cy="75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239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5" y="2225675"/>
            <a:ext cx="2852769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21"/>
          </p:nvPr>
        </p:nvSpPr>
        <p:spPr>
          <a:xfrm>
            <a:off x="546705" y="3357568"/>
            <a:ext cx="2852769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4" name="Segnaposto testo 3"/>
          <p:cNvSpPr>
            <a:spLocks noGrp="1"/>
          </p:cNvSpPr>
          <p:nvPr>
            <p:ph type="body" sz="quarter" idx="22"/>
          </p:nvPr>
        </p:nvSpPr>
        <p:spPr>
          <a:xfrm>
            <a:off x="10006702" y="2225675"/>
            <a:ext cx="2852769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12"/>
          <p:cNvSpPr>
            <a:spLocks noGrp="1"/>
          </p:cNvSpPr>
          <p:nvPr>
            <p:ph type="body" sz="quarter" idx="23"/>
          </p:nvPr>
        </p:nvSpPr>
        <p:spPr>
          <a:xfrm>
            <a:off x="10006702" y="3357568"/>
            <a:ext cx="2852769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3706257" y="2225675"/>
            <a:ext cx="2852769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7" name="Segnaposto testo 12"/>
          <p:cNvSpPr>
            <a:spLocks noGrp="1"/>
          </p:cNvSpPr>
          <p:nvPr>
            <p:ph type="body" sz="quarter" idx="25"/>
          </p:nvPr>
        </p:nvSpPr>
        <p:spPr>
          <a:xfrm>
            <a:off x="3706257" y="3357568"/>
            <a:ext cx="2852769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8" name="Segnaposto testo 3"/>
          <p:cNvSpPr>
            <a:spLocks noGrp="1"/>
          </p:cNvSpPr>
          <p:nvPr>
            <p:ph type="body" sz="quarter" idx="26"/>
          </p:nvPr>
        </p:nvSpPr>
        <p:spPr>
          <a:xfrm>
            <a:off x="6865453" y="2225675"/>
            <a:ext cx="2852769" cy="99695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9" name="Segnaposto testo 12"/>
          <p:cNvSpPr>
            <a:spLocks noGrp="1"/>
          </p:cNvSpPr>
          <p:nvPr>
            <p:ph type="body" sz="quarter" idx="27"/>
          </p:nvPr>
        </p:nvSpPr>
        <p:spPr>
          <a:xfrm>
            <a:off x="6865453" y="3357568"/>
            <a:ext cx="2852769" cy="3348037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200">
                <a:solidFill>
                  <a:srgbClr val="808284"/>
                </a:solidFill>
                <a:latin typeface="Open Sans"/>
                <a:cs typeface="Open Sans"/>
              </a:defRPr>
            </a:lvl1pPr>
            <a:lvl2pPr marL="521410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030999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546705" y="2156251"/>
            <a:ext cx="5933238" cy="454935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800" b="0" i="0">
                <a:solidFill>
                  <a:schemeClr val="accent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6" name="TextBox 12"/>
          <p:cNvSpPr txBox="1"/>
          <p:nvPr userDrawn="1"/>
        </p:nvSpPr>
        <p:spPr>
          <a:xfrm>
            <a:off x="11379937" y="6989668"/>
            <a:ext cx="1085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rgbClr val="B2B2B2"/>
                </a:solidFill>
                <a:latin typeface="Open Sans" charset="0"/>
                <a:ea typeface="Open Sans" charset="0"/>
                <a:cs typeface="Open Sans" charset="0"/>
              </a:rPr>
              <a:t>A document by</a:t>
            </a:r>
          </a:p>
        </p:txBody>
      </p:sp>
      <p:sp>
        <p:nvSpPr>
          <p:cNvPr id="7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21"/>
          </p:nvPr>
        </p:nvSpPr>
        <p:spPr>
          <a:xfrm>
            <a:off x="6926233" y="2156251"/>
            <a:ext cx="5933238" cy="454935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buNone/>
              <a:defRPr sz="1800" b="0" i="0">
                <a:solidFill>
                  <a:schemeClr val="accent4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800">
                <a:latin typeface="Novecento wide Book"/>
                <a:cs typeface="Novecento wide Book"/>
              </a:defRPr>
            </a:lvl2pPr>
            <a:lvl3pPr marL="1042823" indent="0">
              <a:buNone/>
              <a:defRPr sz="1800">
                <a:latin typeface="Novecento wide Book"/>
                <a:cs typeface="Novecento wide Book"/>
              </a:defRPr>
            </a:lvl3pPr>
            <a:lvl4pPr marL="1564233" indent="0">
              <a:buNone/>
              <a:defRPr sz="1800">
                <a:latin typeface="Novecento wide Book"/>
                <a:cs typeface="Novecento wide Book"/>
              </a:defRPr>
            </a:lvl4pPr>
            <a:lvl5pPr marL="2085645" indent="0">
              <a:buNone/>
              <a:defRPr sz="1800"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pic>
        <p:nvPicPr>
          <p:cNvPr id="8" name="Immagine 9" descr="glifo.png">
            <a:hlinkClick r:id="rId2"/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7732" y="6944178"/>
            <a:ext cx="365468" cy="374358"/>
          </a:xfrm>
          <a:prstGeom prst="rect">
            <a:avLst/>
          </a:prstGeom>
        </p:spPr>
      </p:pic>
      <p:sp>
        <p:nvSpPr>
          <p:cNvPr id="10" name="TextBox 13"/>
          <p:cNvSpPr txBox="1"/>
          <p:nvPr userDrawn="1"/>
        </p:nvSpPr>
        <p:spPr>
          <a:xfrm>
            <a:off x="433903" y="365648"/>
            <a:ext cx="57082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CRAQ DESIGN STUDIO per Il </a:t>
            </a:r>
            <a:r>
              <a:rPr lang="en-US" sz="10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Biologico</a:t>
            </a:r>
            <a:endParaRPr lang="en-US" sz="1000" dirty="0">
              <a:solidFill>
                <a:schemeClr val="tx2">
                  <a:lumMod val="60000"/>
                  <a:lumOff val="40000"/>
                </a:schemeClr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01261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 vert="horz" anchor="t"/>
          <a:lstStyle>
            <a:lvl1pPr marL="0" indent="0" algn="ctr">
              <a:buNone/>
              <a:defRPr sz="2000">
                <a:solidFill>
                  <a:srgbClr val="00A19A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1"/>
          </p:nvPr>
        </p:nvSpPr>
        <p:spPr>
          <a:xfrm>
            <a:off x="0" y="1033021"/>
            <a:ext cx="13444538" cy="1944376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4400" b="0" i="0">
                <a:solidFill>
                  <a:schemeClr val="bg1"/>
                </a:solidFill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  <a:latin typeface="Montserrat Semi Bold"/>
                <a:cs typeface="Montserrat Semi Bold"/>
              </a:defRPr>
            </a:lvl1pPr>
            <a:lvl2pPr marL="521410" indent="0" algn="ctr">
              <a:buNone/>
              <a:defRPr sz="4400">
                <a:latin typeface="Novecento wide DemiBold"/>
                <a:cs typeface="Novecento wide DemiBold"/>
              </a:defRPr>
            </a:lvl2pPr>
            <a:lvl3pPr marL="1042823" indent="0" algn="ctr">
              <a:buNone/>
              <a:defRPr sz="4400">
                <a:latin typeface="Novecento wide DemiBold"/>
                <a:cs typeface="Novecento wide DemiBold"/>
              </a:defRPr>
            </a:lvl3pPr>
            <a:lvl4pPr marL="1564233" indent="0" algn="ctr">
              <a:buNone/>
              <a:defRPr sz="4400">
                <a:latin typeface="Novecento wide DemiBold"/>
                <a:cs typeface="Novecento wide DemiBold"/>
              </a:defRPr>
            </a:lvl4pPr>
            <a:lvl5pPr marL="2085645" indent="0" algn="ctr">
              <a:buNone/>
              <a:defRPr sz="4400">
                <a:latin typeface="Novecento wide DemiBold"/>
                <a:cs typeface="Novecento wide DemiBold"/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59571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2"/>
          <p:cNvSpPr>
            <a:spLocks noGrp="1"/>
          </p:cNvSpPr>
          <p:nvPr>
            <p:ph type="body" sz="quarter" idx="11"/>
          </p:nvPr>
        </p:nvSpPr>
        <p:spPr>
          <a:xfrm>
            <a:off x="0" y="4674122"/>
            <a:ext cx="13444538" cy="35507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400" b="0" i="0">
                <a:solidFill>
                  <a:schemeClr val="accent5"/>
                </a:solidFill>
                <a:latin typeface="Montserrat Light"/>
                <a:cs typeface="Montserrat Light"/>
              </a:defRPr>
            </a:lvl1pPr>
            <a:lvl2pPr marL="521410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2pPr>
            <a:lvl3pPr marL="104282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3pPr>
            <a:lvl4pPr marL="156423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4pPr>
            <a:lvl5pPr marL="2085645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CasellaDiTesto 8"/>
          <p:cNvSpPr txBox="1"/>
          <p:nvPr userDrawn="1"/>
        </p:nvSpPr>
        <p:spPr>
          <a:xfrm>
            <a:off x="5297950" y="4318003"/>
            <a:ext cx="2848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5214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400" dirty="0" err="1">
                <a:solidFill>
                  <a:srgbClr val="B2B2B2"/>
                </a:solidFill>
                <a:latin typeface="Novecento wide Book"/>
                <a:cs typeface="Novecento wide Book"/>
              </a:rPr>
              <a:t>Craqdesignstudio.it</a:t>
            </a:r>
            <a:endParaRPr lang="it-IT" sz="1400" dirty="0">
              <a:solidFill>
                <a:srgbClr val="B2B2B2"/>
              </a:solidFill>
              <a:latin typeface="Novecento wide Book"/>
              <a:cs typeface="Novecento wide Book"/>
            </a:endParaRPr>
          </a:p>
        </p:txBody>
      </p:sp>
      <p:sp>
        <p:nvSpPr>
          <p:cNvPr id="10" name="Segnaposto testo 2"/>
          <p:cNvSpPr>
            <a:spLocks noGrp="1"/>
          </p:cNvSpPr>
          <p:nvPr>
            <p:ph type="body" sz="quarter" idx="12"/>
          </p:nvPr>
        </p:nvSpPr>
        <p:spPr>
          <a:xfrm>
            <a:off x="0" y="5072053"/>
            <a:ext cx="13444538" cy="35507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400" b="0" i="0">
                <a:solidFill>
                  <a:schemeClr val="accent5"/>
                </a:solidFill>
                <a:latin typeface="Montserrat Light"/>
                <a:cs typeface="Montserrat Light"/>
              </a:defRPr>
            </a:lvl1pPr>
            <a:lvl2pPr marL="521410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2pPr>
            <a:lvl3pPr marL="104282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3pPr>
            <a:lvl4pPr marL="156423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4pPr>
            <a:lvl5pPr marL="2085645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1" name="Segnaposto testo 2"/>
          <p:cNvSpPr>
            <a:spLocks noGrp="1"/>
          </p:cNvSpPr>
          <p:nvPr>
            <p:ph type="body" sz="quarter" idx="13"/>
          </p:nvPr>
        </p:nvSpPr>
        <p:spPr>
          <a:xfrm>
            <a:off x="0" y="5469985"/>
            <a:ext cx="13444538" cy="355070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400" b="0" i="0">
                <a:solidFill>
                  <a:schemeClr val="accent5"/>
                </a:solidFill>
                <a:latin typeface="Montserrat Light"/>
                <a:cs typeface="Montserrat Light"/>
              </a:defRPr>
            </a:lvl1pPr>
            <a:lvl2pPr marL="521410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2pPr>
            <a:lvl3pPr marL="104282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3pPr>
            <a:lvl4pPr marL="1564233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4pPr>
            <a:lvl5pPr marL="2085645" indent="0" algn="ctr">
              <a:buNone/>
              <a:defRPr sz="1600">
                <a:solidFill>
                  <a:schemeClr val="accent5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pic>
        <p:nvPicPr>
          <p:cNvPr id="7" name="Immagine 3" descr="glifo2.png">
            <a:hlinkClick r:id="rId2" action="ppaction://hlinkfile"/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134" y="3392858"/>
            <a:ext cx="784310" cy="75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8020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449283" y="679451"/>
            <a:ext cx="12410188" cy="1325563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4400">
                <a:solidFill>
                  <a:schemeClr val="tx1"/>
                </a:solidFill>
                <a:latin typeface="Novecento wide DemiBold"/>
                <a:cs typeface="Novecento wide DemiBold"/>
              </a:defRPr>
            </a:lvl1pPr>
            <a:lvl2pPr marL="521436" indent="0">
              <a:buNone/>
              <a:defRPr>
                <a:solidFill>
                  <a:schemeClr val="tx1"/>
                </a:solidFill>
              </a:defRPr>
            </a:lvl2pPr>
            <a:lvl3pPr marL="1042874" indent="0">
              <a:buNone/>
              <a:defRPr>
                <a:solidFill>
                  <a:schemeClr val="tx1"/>
                </a:solidFill>
              </a:defRPr>
            </a:lvl3pPr>
            <a:lvl4pPr marL="1564310" indent="0">
              <a:buNone/>
              <a:defRPr>
                <a:solidFill>
                  <a:schemeClr val="tx1"/>
                </a:solidFill>
              </a:defRPr>
            </a:lvl4pPr>
            <a:lvl5pPr marL="2085747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23"/>
          </p:nvPr>
        </p:nvSpPr>
        <p:spPr>
          <a:xfrm>
            <a:off x="572236" y="4624902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8" name="Segnaposto immagine 2"/>
          <p:cNvSpPr>
            <a:spLocks noGrp="1"/>
          </p:cNvSpPr>
          <p:nvPr>
            <p:ph type="pic" sz="quarter" idx="24"/>
          </p:nvPr>
        </p:nvSpPr>
        <p:spPr>
          <a:xfrm>
            <a:off x="572236" y="2217680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0" name="Segnaposto immagine 2"/>
          <p:cNvSpPr>
            <a:spLocks noGrp="1"/>
          </p:cNvSpPr>
          <p:nvPr>
            <p:ph type="pic" sz="quarter" idx="25"/>
          </p:nvPr>
        </p:nvSpPr>
        <p:spPr>
          <a:xfrm>
            <a:off x="4792468" y="4624902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2" name="Segnaposto immagine 2"/>
          <p:cNvSpPr>
            <a:spLocks noGrp="1"/>
          </p:cNvSpPr>
          <p:nvPr>
            <p:ph type="pic" sz="quarter" idx="26"/>
          </p:nvPr>
        </p:nvSpPr>
        <p:spPr>
          <a:xfrm>
            <a:off x="4792468" y="2217680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3" name="Segnaposto immagine 2"/>
          <p:cNvSpPr>
            <a:spLocks noGrp="1"/>
          </p:cNvSpPr>
          <p:nvPr>
            <p:ph type="pic" sz="quarter" idx="27"/>
          </p:nvPr>
        </p:nvSpPr>
        <p:spPr>
          <a:xfrm>
            <a:off x="9008809" y="4624902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14" name="Segnaposto immagine 2"/>
          <p:cNvSpPr>
            <a:spLocks noGrp="1"/>
          </p:cNvSpPr>
          <p:nvPr>
            <p:ph type="pic" sz="quarter" idx="28"/>
          </p:nvPr>
        </p:nvSpPr>
        <p:spPr>
          <a:xfrm>
            <a:off x="9008809" y="2217680"/>
            <a:ext cx="3850663" cy="20806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1pPr>
          </a:lstStyle>
          <a:p>
            <a:endParaRPr lang="it-IT" dirty="0"/>
          </a:p>
        </p:txBody>
      </p:sp>
      <p:sp>
        <p:nvSpPr>
          <p:cNvPr id="9" name="TextBox 13"/>
          <p:cNvSpPr txBox="1"/>
          <p:nvPr userDrawn="1"/>
        </p:nvSpPr>
        <p:spPr>
          <a:xfrm>
            <a:off x="433903" y="365648"/>
            <a:ext cx="57082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CRAQ DESIGN STUDIO per Il </a:t>
            </a:r>
            <a:r>
              <a:rPr lang="en-US" sz="10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Biologico</a:t>
            </a:r>
            <a:endParaRPr lang="en-US" sz="1000" dirty="0">
              <a:solidFill>
                <a:schemeClr val="tx2">
                  <a:lumMod val="60000"/>
                  <a:lumOff val="40000"/>
                </a:schemeClr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3490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449283" y="679451"/>
            <a:ext cx="12410188" cy="1325563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4400">
                <a:solidFill>
                  <a:schemeClr val="tx1"/>
                </a:solidFill>
                <a:latin typeface="Novecento wide DemiBold"/>
                <a:cs typeface="Novecento wide DemiBold"/>
              </a:defRPr>
            </a:lvl1pPr>
            <a:lvl2pPr marL="521436" indent="0">
              <a:buNone/>
              <a:defRPr>
                <a:solidFill>
                  <a:schemeClr val="tx1"/>
                </a:solidFill>
              </a:defRPr>
            </a:lvl2pPr>
            <a:lvl3pPr marL="1042874" indent="0">
              <a:buNone/>
              <a:defRPr>
                <a:solidFill>
                  <a:schemeClr val="tx1"/>
                </a:solidFill>
              </a:defRPr>
            </a:lvl3pPr>
            <a:lvl4pPr marL="1564310" indent="0">
              <a:buNone/>
              <a:defRPr>
                <a:solidFill>
                  <a:schemeClr val="tx1"/>
                </a:solidFill>
              </a:defRPr>
            </a:lvl4pPr>
            <a:lvl5pPr marL="2085747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23"/>
          </p:nvPr>
        </p:nvSpPr>
        <p:spPr>
          <a:xfrm>
            <a:off x="10051104" y="2225676"/>
            <a:ext cx="2808367" cy="3197052"/>
          </a:xfrm>
          <a:prstGeom prst="rect">
            <a:avLst/>
          </a:prstGeom>
          <a:solidFill>
            <a:schemeClr val="accent4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FFFFFF"/>
                </a:solidFill>
                <a:latin typeface="Novecento wide Book"/>
                <a:cs typeface="Novecento wide Book"/>
              </a:defRPr>
            </a:lvl1pPr>
            <a:lvl2pPr marL="521436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74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3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747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59702" y="2225676"/>
            <a:ext cx="2807487" cy="3197051"/>
          </a:xfrm>
          <a:prstGeom prst="rect">
            <a:avLst/>
          </a:prstGeom>
          <a:solidFill>
            <a:schemeClr val="accent2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 baseline="0">
                <a:solidFill>
                  <a:srgbClr val="FFFFFF"/>
                </a:solidFill>
                <a:latin typeface="Novecento wide Book"/>
                <a:cs typeface="Novecento wide Book"/>
              </a:defRPr>
            </a:lvl1pPr>
            <a:lvl2pPr marL="521436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74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3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747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6900559" y="2225676"/>
            <a:ext cx="2808162" cy="3197051"/>
          </a:xfrm>
          <a:prstGeom prst="rect">
            <a:avLst/>
          </a:prstGeom>
          <a:solidFill>
            <a:schemeClr val="accent3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FFFFFF"/>
                </a:solidFill>
                <a:latin typeface="Novecento wide Book"/>
                <a:cs typeface="Novecento wide Book"/>
              </a:defRPr>
            </a:lvl1pPr>
            <a:lvl2pPr marL="521436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74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3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747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7"/>
          </p:nvPr>
        </p:nvSpPr>
        <p:spPr>
          <a:xfrm>
            <a:off x="3729478" y="2225676"/>
            <a:ext cx="2808162" cy="31970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 baseline="0">
                <a:solidFill>
                  <a:schemeClr val="bg1"/>
                </a:solidFill>
                <a:latin typeface="Novecento wide Book"/>
                <a:cs typeface="Novecento wide Book"/>
              </a:defRPr>
            </a:lvl1pPr>
            <a:lvl2pPr marL="521436" indent="0">
              <a:buNone/>
              <a:defRPr sz="1200">
                <a:latin typeface="Open Sans"/>
                <a:cs typeface="Open Sans"/>
              </a:defRPr>
            </a:lvl2pPr>
            <a:lvl3pPr marL="1042874" indent="0">
              <a:buNone/>
              <a:defRPr sz="1200">
                <a:latin typeface="Open Sans"/>
                <a:cs typeface="Open Sans"/>
              </a:defRPr>
            </a:lvl3pPr>
            <a:lvl4pPr marL="1564310" indent="0">
              <a:buNone/>
              <a:defRPr sz="1200">
                <a:latin typeface="Open Sans"/>
                <a:cs typeface="Open Sans"/>
              </a:defRPr>
            </a:lvl4pPr>
            <a:lvl5pPr marL="2085747" indent="0"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7" name="Connettore 1 6"/>
          <p:cNvCxnSpPr/>
          <p:nvPr userDrawn="1"/>
        </p:nvCxnSpPr>
        <p:spPr>
          <a:xfrm>
            <a:off x="559702" y="6525400"/>
            <a:ext cx="2807487" cy="0"/>
          </a:xfrm>
          <a:prstGeom prst="line">
            <a:avLst/>
          </a:prstGeom>
          <a:ln w="28575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437624" y="5589584"/>
            <a:ext cx="2929565" cy="89039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29"/>
          </p:nvPr>
        </p:nvSpPr>
        <p:spPr>
          <a:xfrm>
            <a:off x="3591438" y="5589584"/>
            <a:ext cx="2946201" cy="89039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6761315" y="5589584"/>
            <a:ext cx="2947406" cy="89039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9901764" y="5589584"/>
            <a:ext cx="2957707" cy="890395"/>
          </a:xfrm>
          <a:prstGeom prst="rect">
            <a:avLst/>
          </a:prstGeom>
        </p:spPr>
        <p:txBody>
          <a:bodyPr vert="horz" anchor="b"/>
          <a:lstStyle>
            <a:lvl1pPr marL="0" indent="0">
              <a:buNone/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21" name="Connettore 1 20"/>
          <p:cNvCxnSpPr/>
          <p:nvPr userDrawn="1"/>
        </p:nvCxnSpPr>
        <p:spPr>
          <a:xfrm>
            <a:off x="3729477" y="6525400"/>
            <a:ext cx="2807487" cy="0"/>
          </a:xfrm>
          <a:prstGeom prst="line">
            <a:avLst/>
          </a:prstGeom>
          <a:ln w="28575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1 21"/>
          <p:cNvCxnSpPr/>
          <p:nvPr userDrawn="1"/>
        </p:nvCxnSpPr>
        <p:spPr>
          <a:xfrm>
            <a:off x="6900558" y="6525400"/>
            <a:ext cx="2807487" cy="0"/>
          </a:xfrm>
          <a:prstGeom prst="line">
            <a:avLst/>
          </a:prstGeom>
          <a:ln w="28575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 userDrawn="1"/>
        </p:nvCxnSpPr>
        <p:spPr>
          <a:xfrm>
            <a:off x="10051104" y="6525400"/>
            <a:ext cx="2807487" cy="0"/>
          </a:xfrm>
          <a:prstGeom prst="line">
            <a:avLst/>
          </a:prstGeom>
          <a:ln w="28575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Box 13"/>
          <p:cNvSpPr txBox="1"/>
          <p:nvPr userDrawn="1"/>
        </p:nvSpPr>
        <p:spPr>
          <a:xfrm>
            <a:off x="433903" y="365648"/>
            <a:ext cx="57082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CRAQ DESIGN STUDIO per Il </a:t>
            </a:r>
            <a:r>
              <a:rPr lang="en-US" sz="1000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Montserrat" charset="0"/>
                <a:ea typeface="Montserrat" charset="0"/>
                <a:cs typeface="Montserrat" charset="0"/>
              </a:rPr>
              <a:t>Biologico</a:t>
            </a:r>
            <a:endParaRPr lang="en-US" sz="1000" dirty="0">
              <a:solidFill>
                <a:schemeClr val="tx2">
                  <a:lumMod val="60000"/>
                  <a:lumOff val="40000"/>
                </a:schemeClr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583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13"/>
          <p:cNvSpPr>
            <a:spLocks noGrp="1"/>
          </p:cNvSpPr>
          <p:nvPr>
            <p:ph type="body" sz="quarter" idx="23"/>
          </p:nvPr>
        </p:nvSpPr>
        <p:spPr>
          <a:xfrm>
            <a:off x="10051104" y="2225676"/>
            <a:ext cx="2808367" cy="3197052"/>
          </a:xfrm>
          <a:prstGeom prst="rect">
            <a:avLst/>
          </a:prstGeom>
          <a:solidFill>
            <a:schemeClr val="accent6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59702" y="2225676"/>
            <a:ext cx="2807487" cy="3197051"/>
          </a:xfrm>
          <a:prstGeom prst="rect">
            <a:avLst/>
          </a:prstGeom>
          <a:solidFill>
            <a:schemeClr val="accent1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5305066" y="2225676"/>
            <a:ext cx="2808162" cy="3197051"/>
          </a:xfrm>
          <a:prstGeom prst="rect">
            <a:avLst/>
          </a:prstGeom>
          <a:solidFill>
            <a:schemeClr val="accent5"/>
          </a:solidFill>
        </p:spPr>
        <p:txBody>
          <a:bodyPr vert="horz" tIns="93600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7" name="Connettore 1 6"/>
          <p:cNvCxnSpPr/>
          <p:nvPr userDrawn="1"/>
        </p:nvCxnSpPr>
        <p:spPr>
          <a:xfrm>
            <a:off x="559702" y="6525400"/>
            <a:ext cx="2807487" cy="0"/>
          </a:xfrm>
          <a:prstGeom prst="line">
            <a:avLst/>
          </a:prstGeom>
          <a:ln w="28575" cmpd="sng">
            <a:solidFill>
              <a:srgbClr val="00A19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559702" y="5589588"/>
            <a:ext cx="2807487" cy="89039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5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5305066" y="5589588"/>
            <a:ext cx="2808162" cy="89039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10051104" y="5589588"/>
            <a:ext cx="2808367" cy="89039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None/>
              <a:defRPr sz="1800" b="0" i="0">
                <a:solidFill>
                  <a:srgbClr val="808284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cxnSp>
        <p:nvCxnSpPr>
          <p:cNvPr id="22" name="Connettore 1 21"/>
          <p:cNvCxnSpPr/>
          <p:nvPr userDrawn="1"/>
        </p:nvCxnSpPr>
        <p:spPr>
          <a:xfrm>
            <a:off x="5305065" y="6525400"/>
            <a:ext cx="2807487" cy="0"/>
          </a:xfrm>
          <a:prstGeom prst="line">
            <a:avLst/>
          </a:prstGeom>
          <a:ln w="2857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 userDrawn="1"/>
        </p:nvCxnSpPr>
        <p:spPr>
          <a:xfrm>
            <a:off x="10051104" y="6525400"/>
            <a:ext cx="2807487" cy="0"/>
          </a:xfrm>
          <a:prstGeom prst="line">
            <a:avLst/>
          </a:prstGeom>
          <a:ln w="28575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31467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73375" y="2225675"/>
            <a:ext cx="3741007" cy="14763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573375" y="5239430"/>
            <a:ext cx="3741007" cy="14763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7"/>
          </p:nvPr>
        </p:nvSpPr>
        <p:spPr>
          <a:xfrm>
            <a:off x="573579" y="3752962"/>
            <a:ext cx="3740829" cy="144033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chemeClr val="bg1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latin typeface="Open Sans"/>
                <a:cs typeface="Open Sans"/>
              </a:defRPr>
            </a:lvl2pPr>
            <a:lvl3pPr marL="1042823" indent="0">
              <a:buNone/>
              <a:defRPr sz="1200">
                <a:latin typeface="Open Sans"/>
                <a:cs typeface="Open Sans"/>
              </a:defRPr>
            </a:lvl3pPr>
            <a:lvl4pPr marL="1564233" indent="0">
              <a:buNone/>
              <a:defRPr sz="1200">
                <a:latin typeface="Open Sans"/>
                <a:cs typeface="Open Sans"/>
              </a:defRPr>
            </a:lvl4pPr>
            <a:lvl5pPr marL="2085645" indent="0"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4384343" y="5239435"/>
            <a:ext cx="8475128" cy="1476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4384343" y="3752962"/>
            <a:ext cx="8475128" cy="1440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4384343" y="2225677"/>
            <a:ext cx="8475128" cy="14763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06177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gnaposto testo 13"/>
          <p:cNvSpPr>
            <a:spLocks noGrp="1"/>
          </p:cNvSpPr>
          <p:nvPr>
            <p:ph type="body" sz="quarter" idx="23"/>
          </p:nvPr>
        </p:nvSpPr>
        <p:spPr>
          <a:xfrm>
            <a:off x="573375" y="2225677"/>
            <a:ext cx="3741007" cy="1080340"/>
          </a:xfrm>
          <a:prstGeom prst="rect">
            <a:avLst/>
          </a:prstGeom>
          <a:solidFill>
            <a:schemeClr val="accent4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73375" y="3365836"/>
            <a:ext cx="3741007" cy="1080340"/>
          </a:xfrm>
          <a:prstGeom prst="rect">
            <a:avLst/>
          </a:prstGeom>
          <a:solidFill>
            <a:schemeClr val="accent2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573375" y="5635531"/>
            <a:ext cx="3741007" cy="1080340"/>
          </a:xfrm>
          <a:prstGeom prst="rect">
            <a:avLst/>
          </a:prstGeom>
          <a:solidFill>
            <a:schemeClr val="accent3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7"/>
          </p:nvPr>
        </p:nvSpPr>
        <p:spPr>
          <a:xfrm>
            <a:off x="573579" y="4499973"/>
            <a:ext cx="3740829" cy="10803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chemeClr val="bg1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latin typeface="Open Sans"/>
                <a:cs typeface="Open Sans"/>
              </a:defRPr>
            </a:lvl2pPr>
            <a:lvl3pPr marL="1042823" indent="0">
              <a:buNone/>
              <a:defRPr sz="1200">
                <a:latin typeface="Open Sans"/>
                <a:cs typeface="Open Sans"/>
              </a:defRPr>
            </a:lvl3pPr>
            <a:lvl4pPr marL="1564233" indent="0">
              <a:buNone/>
              <a:defRPr sz="1200">
                <a:latin typeface="Open Sans"/>
                <a:cs typeface="Open Sans"/>
              </a:defRPr>
            </a:lvl4pPr>
            <a:lvl5pPr marL="2085645" indent="0"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4384343" y="5635531"/>
            <a:ext cx="8475128" cy="10803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5" name="Segnaposto testo 4"/>
          <p:cNvSpPr>
            <a:spLocks noGrp="1"/>
          </p:cNvSpPr>
          <p:nvPr>
            <p:ph type="body" sz="quarter" idx="29"/>
          </p:nvPr>
        </p:nvSpPr>
        <p:spPr>
          <a:xfrm>
            <a:off x="4384345" y="4499973"/>
            <a:ext cx="8475129" cy="10803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4384343" y="3365836"/>
            <a:ext cx="8475128" cy="10803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4384343" y="2225677"/>
            <a:ext cx="8475128" cy="10803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22399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73373" y="2463237"/>
            <a:ext cx="2598500" cy="12603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573372" y="5248567"/>
            <a:ext cx="2598503" cy="1260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7"/>
          </p:nvPr>
        </p:nvSpPr>
        <p:spPr>
          <a:xfrm>
            <a:off x="573578" y="3853469"/>
            <a:ext cx="2598296" cy="12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chemeClr val="bg1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latin typeface="Open Sans"/>
                <a:cs typeface="Open Sans"/>
              </a:defRPr>
            </a:lvl2pPr>
            <a:lvl3pPr marL="1042823" indent="0">
              <a:buNone/>
              <a:defRPr sz="1200">
                <a:latin typeface="Open Sans"/>
                <a:cs typeface="Open Sans"/>
              </a:defRPr>
            </a:lvl3pPr>
            <a:lvl4pPr marL="1564233" indent="0">
              <a:buNone/>
              <a:defRPr sz="1200">
                <a:latin typeface="Open Sans"/>
                <a:cs typeface="Open Sans"/>
              </a:defRPr>
            </a:lvl4pPr>
            <a:lvl5pPr marL="2085645" indent="0"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13"/>
          <p:cNvSpPr>
            <a:spLocks noGrp="1"/>
          </p:cNvSpPr>
          <p:nvPr>
            <p:ph type="body" sz="quarter" idx="23"/>
          </p:nvPr>
        </p:nvSpPr>
        <p:spPr>
          <a:xfrm>
            <a:off x="8354843" y="2225676"/>
            <a:ext cx="4504630" cy="44988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576000" tIns="468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3349991" y="5248572"/>
            <a:ext cx="5441610" cy="12603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3349991" y="3853469"/>
            <a:ext cx="5441610" cy="12603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3349991" y="2463237"/>
            <a:ext cx="5441610" cy="12603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anchor="ctr"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0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48846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5"/>
          <p:cNvSpPr>
            <a:spLocks noGrp="1"/>
          </p:cNvSpPr>
          <p:nvPr>
            <p:ph type="body" sz="quarter" idx="24"/>
          </p:nvPr>
        </p:nvSpPr>
        <p:spPr>
          <a:xfrm>
            <a:off x="573373" y="5611167"/>
            <a:ext cx="2598500" cy="900334"/>
          </a:xfrm>
          <a:prstGeom prst="rect">
            <a:avLst/>
          </a:prstGeom>
          <a:solidFill>
            <a:schemeClr val="accent2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2" name="Segnaposto testo 11"/>
          <p:cNvSpPr>
            <a:spLocks noGrp="1"/>
          </p:cNvSpPr>
          <p:nvPr>
            <p:ph type="body" sz="quarter" idx="26"/>
          </p:nvPr>
        </p:nvSpPr>
        <p:spPr>
          <a:xfrm>
            <a:off x="573372" y="4553074"/>
            <a:ext cx="2598503" cy="899997"/>
          </a:xfrm>
          <a:prstGeom prst="rect">
            <a:avLst/>
          </a:prstGeom>
          <a:solidFill>
            <a:schemeClr val="accent3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27"/>
          </p:nvPr>
        </p:nvSpPr>
        <p:spPr>
          <a:xfrm>
            <a:off x="573578" y="3513971"/>
            <a:ext cx="2598296" cy="9003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 baseline="0">
                <a:solidFill>
                  <a:schemeClr val="bg1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latin typeface="Open Sans"/>
                <a:cs typeface="Open Sans"/>
              </a:defRPr>
            </a:lvl2pPr>
            <a:lvl3pPr marL="1042823" indent="0">
              <a:buNone/>
              <a:defRPr sz="1200">
                <a:latin typeface="Open Sans"/>
                <a:cs typeface="Open Sans"/>
              </a:defRPr>
            </a:lvl3pPr>
            <a:lvl4pPr marL="1564233" indent="0">
              <a:buNone/>
              <a:defRPr sz="1200">
                <a:latin typeface="Open Sans"/>
                <a:cs typeface="Open Sans"/>
              </a:defRPr>
            </a:lvl4pPr>
            <a:lvl5pPr marL="2085645" indent="0">
              <a:buNone/>
              <a:defRPr sz="1200"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9" name="Segnaposto testo 13"/>
          <p:cNvSpPr>
            <a:spLocks noGrp="1"/>
          </p:cNvSpPr>
          <p:nvPr>
            <p:ph type="body" sz="quarter" idx="23"/>
          </p:nvPr>
        </p:nvSpPr>
        <p:spPr>
          <a:xfrm>
            <a:off x="8354843" y="2225676"/>
            <a:ext cx="4504630" cy="4498888"/>
          </a:xfrm>
          <a:prstGeom prst="rect">
            <a:avLst/>
          </a:prstGeom>
          <a:solidFill>
            <a:schemeClr val="bg2"/>
          </a:solidFill>
        </p:spPr>
        <p:txBody>
          <a:bodyPr vert="horz" lIns="576000" tIns="468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2pPr>
            <a:lvl3pPr marL="104282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3pPr>
            <a:lvl4pPr marL="1564233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4pPr>
            <a:lvl5pPr marL="2085645" indent="0">
              <a:lnSpc>
                <a:spcPct val="150000"/>
              </a:lnSpc>
              <a:buNone/>
              <a:defRPr sz="1200">
                <a:solidFill>
                  <a:srgbClr val="B2B2B2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8"/>
          </p:nvPr>
        </p:nvSpPr>
        <p:spPr>
          <a:xfrm>
            <a:off x="3349991" y="4553074"/>
            <a:ext cx="5441610" cy="899997"/>
          </a:xfrm>
          <a:prstGeom prst="rect">
            <a:avLst/>
          </a:prstGeom>
          <a:solidFill>
            <a:srgbClr val="F2F2F2"/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rgbClr val="58595B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6" name="Segnaposto testo 4"/>
          <p:cNvSpPr>
            <a:spLocks noGrp="1"/>
          </p:cNvSpPr>
          <p:nvPr>
            <p:ph type="body" sz="quarter" idx="30"/>
          </p:nvPr>
        </p:nvSpPr>
        <p:spPr>
          <a:xfrm>
            <a:off x="3349991" y="3520916"/>
            <a:ext cx="5441610" cy="893392"/>
          </a:xfrm>
          <a:prstGeom prst="rect">
            <a:avLst/>
          </a:prstGeom>
          <a:solidFill>
            <a:srgbClr val="F2F2F2"/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rgbClr val="58595B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27" name="Segnaposto testo 4"/>
          <p:cNvSpPr>
            <a:spLocks noGrp="1"/>
          </p:cNvSpPr>
          <p:nvPr>
            <p:ph type="body" sz="quarter" idx="31"/>
          </p:nvPr>
        </p:nvSpPr>
        <p:spPr>
          <a:xfrm>
            <a:off x="3349991" y="2463242"/>
            <a:ext cx="5441610" cy="900335"/>
          </a:xfrm>
          <a:prstGeom prst="rect">
            <a:avLst/>
          </a:prstGeom>
          <a:solidFill>
            <a:srgbClr val="F2F2F2"/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rgbClr val="58595B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0" name="Segnaposto testo 11"/>
          <p:cNvSpPr>
            <a:spLocks noGrp="1"/>
          </p:cNvSpPr>
          <p:nvPr>
            <p:ph type="body" sz="quarter" idx="32"/>
          </p:nvPr>
        </p:nvSpPr>
        <p:spPr>
          <a:xfrm>
            <a:off x="573372" y="2463242"/>
            <a:ext cx="2598503" cy="899997"/>
          </a:xfrm>
          <a:prstGeom prst="rect">
            <a:avLst/>
          </a:prstGeom>
          <a:solidFill>
            <a:schemeClr val="accent4"/>
          </a:solidFill>
        </p:spPr>
        <p:txBody>
          <a:bodyPr vert="horz" tIns="93600" anchor="ctr"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rgbClr val="FFFFFF"/>
                </a:solidFill>
                <a:latin typeface="Montserrat Light"/>
                <a:cs typeface="Montserrat Light"/>
              </a:defRPr>
            </a:lvl1pPr>
            <a:lvl2pPr marL="521410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2pPr>
            <a:lvl3pPr marL="104282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3pPr>
            <a:lvl4pPr marL="1564233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4pPr>
            <a:lvl5pPr marL="2085645" indent="0">
              <a:buNone/>
              <a:defRPr sz="1200">
                <a:solidFill>
                  <a:schemeClr val="accent5"/>
                </a:solidFill>
                <a:latin typeface="Open Sans"/>
                <a:cs typeface="Open Sans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3" name="Segnaposto testo 4"/>
          <p:cNvSpPr>
            <a:spLocks noGrp="1"/>
          </p:cNvSpPr>
          <p:nvPr>
            <p:ph type="body" sz="quarter" idx="33"/>
          </p:nvPr>
        </p:nvSpPr>
        <p:spPr>
          <a:xfrm>
            <a:off x="3349991" y="5602294"/>
            <a:ext cx="5441610" cy="899997"/>
          </a:xfrm>
          <a:prstGeom prst="rect">
            <a:avLst/>
          </a:prstGeom>
          <a:solidFill>
            <a:srgbClr val="F2F2F2"/>
          </a:solidFill>
        </p:spPr>
        <p:txBody>
          <a:bodyPr vert="horz" anchor="ctr"/>
          <a:lstStyle>
            <a:lvl1pPr marL="0" indent="0">
              <a:buNone/>
              <a:defRPr sz="1800" b="0" i="0">
                <a:solidFill>
                  <a:srgbClr val="58595B"/>
                </a:solidFill>
                <a:latin typeface="Montserrat Light"/>
                <a:cs typeface="Montserrat Light"/>
              </a:defRPr>
            </a:lvl1pPr>
            <a:lvl2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2pPr>
            <a:lvl3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3pPr>
            <a:lvl4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4pPr>
            <a:lvl5pPr>
              <a:defRPr sz="1800">
                <a:solidFill>
                  <a:schemeClr val="accent4"/>
                </a:solidFill>
                <a:latin typeface="Novecento wide Book"/>
                <a:cs typeface="Novecento wide Book"/>
              </a:defRPr>
            </a:lvl5pPr>
          </a:lstStyle>
          <a:p>
            <a:pPr lvl="0"/>
            <a:endParaRPr lang="it-IT" dirty="0"/>
          </a:p>
        </p:txBody>
      </p:sp>
      <p:sp>
        <p:nvSpPr>
          <p:cNvPr id="14" name="Segnaposto testo 10"/>
          <p:cNvSpPr>
            <a:spLocks noGrp="1"/>
          </p:cNvSpPr>
          <p:nvPr>
            <p:ph type="body" sz="quarter" idx="20"/>
          </p:nvPr>
        </p:nvSpPr>
        <p:spPr>
          <a:xfrm>
            <a:off x="546705" y="679455"/>
            <a:ext cx="12312766" cy="1325563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Montserrat Semi Bold"/>
                <a:cs typeface="Montserrat Semi Bold"/>
              </a:defRPr>
            </a:lvl1pPr>
            <a:lvl2pPr marL="521410" indent="0">
              <a:buNone/>
              <a:defRPr>
                <a:solidFill>
                  <a:schemeClr val="tx1"/>
                </a:solidFill>
              </a:defRPr>
            </a:lvl2pPr>
            <a:lvl3pPr marL="1042823" indent="0">
              <a:buNone/>
              <a:defRPr>
                <a:solidFill>
                  <a:schemeClr val="tx1"/>
                </a:solidFill>
              </a:defRPr>
            </a:lvl3pPr>
            <a:lvl4pPr marL="1564233" indent="0">
              <a:buNone/>
              <a:defRPr>
                <a:solidFill>
                  <a:schemeClr val="tx1"/>
                </a:solidFill>
              </a:defRPr>
            </a:lvl4pPr>
            <a:lvl5pPr marL="208564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19326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3">
            <a:extLst>
              <a:ext uri="{FF2B5EF4-FFF2-40B4-BE49-F238E27FC236}">
                <a16:creationId xmlns:a16="http://schemas.microsoft.com/office/drawing/2014/main" id="{DBDDB286-751A-C549-BB1F-CBF091A80BD8}"/>
              </a:ext>
            </a:extLst>
          </p:cNvPr>
          <p:cNvSpPr txBox="1"/>
          <p:nvPr userDrawn="1"/>
        </p:nvSpPr>
        <p:spPr>
          <a:xfrm>
            <a:off x="433902" y="365648"/>
            <a:ext cx="61475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i="0" dirty="0">
                <a:solidFill>
                  <a:schemeClr val="tx1">
                    <a:lumMod val="50000"/>
                    <a:lumOff val="50000"/>
                  </a:schemeClr>
                </a:solidFill>
                <a:latin typeface="Product Sans" charset="0"/>
                <a:ea typeface="Product Sans" charset="0"/>
                <a:cs typeface="Product Sans" charset="0"/>
              </a:rPr>
              <a:t>CRAQ DESIGN STUDIO – CAMPAIGN DESIGN FOR REGIONE EMILIA-ROMAGNA </a:t>
            </a:r>
            <a:r>
              <a:rPr lang="en-US" sz="1000" b="1" i="0" dirty="0">
                <a:solidFill>
                  <a:schemeClr val="accent3"/>
                </a:solidFill>
                <a:latin typeface="Product Sans" charset="0"/>
                <a:ea typeface="Product Sans" charset="0"/>
                <a:cs typeface="Product Sans" charset="0"/>
              </a:rPr>
              <a:t>QUALITÀ DELL’ARIA</a:t>
            </a:r>
            <a:endParaRPr lang="en-US" sz="1000" b="1" i="0" dirty="0">
              <a:solidFill>
                <a:schemeClr val="tx1">
                  <a:lumMod val="50000"/>
                  <a:lumOff val="50000"/>
                </a:schemeClr>
              </a:solidFill>
              <a:latin typeface="Product Sans" charset="0"/>
              <a:ea typeface="Product Sans" charset="0"/>
              <a:cs typeface="Product Sans" charset="0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214FBCB7-5E3D-194A-B88A-68AA821E7572}"/>
              </a:ext>
            </a:extLst>
          </p:cNvPr>
          <p:cNvSpPr txBox="1"/>
          <p:nvPr userDrawn="1"/>
        </p:nvSpPr>
        <p:spPr>
          <a:xfrm>
            <a:off x="1049097" y="6999145"/>
            <a:ext cx="4644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1" i="0" dirty="0">
                <a:solidFill>
                  <a:schemeClr val="tx1">
                    <a:lumMod val="50000"/>
                    <a:lumOff val="50000"/>
                  </a:schemeClr>
                </a:solidFill>
                <a:latin typeface="Product Sans" charset="0"/>
                <a:ea typeface="Product Sans" charset="0"/>
                <a:cs typeface="Product Sans" charset="0"/>
              </a:rPr>
              <a:t>DRAFT 01 - 25/03/2021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F3CCCAED-0445-084A-B72F-8D797E53C80A}"/>
              </a:ext>
            </a:extLst>
          </p:cNvPr>
          <p:cNvSpPr txBox="1">
            <a:spLocks/>
          </p:cNvSpPr>
          <p:nvPr userDrawn="1"/>
        </p:nvSpPr>
        <p:spPr>
          <a:xfrm>
            <a:off x="417374" y="6999142"/>
            <a:ext cx="584036" cy="246220"/>
          </a:xfrm>
          <a:prstGeom prst="rect">
            <a:avLst/>
          </a:prstGeom>
        </p:spPr>
        <p:txBody>
          <a:bodyPr vert="horz" wrap="none" lIns="108000" tIns="46800" rIns="108000" bIns="4680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C9FC9374-C738-B34F-BE6A-A9A19B18BC65}" type="slidenum">
              <a:rPr lang="it-IT" sz="1000" b="1" i="0" smtClean="0">
                <a:solidFill>
                  <a:schemeClr val="tx1">
                    <a:lumMod val="50000"/>
                    <a:lumOff val="50000"/>
                  </a:schemeClr>
                </a:solidFill>
                <a:latin typeface="Product Sans" charset="0"/>
                <a:ea typeface="Product Sans" charset="0"/>
                <a:cs typeface="Product Sans" charset="0"/>
              </a:rPr>
              <a:t>‹N›</a:t>
            </a:fld>
            <a:endParaRPr lang="it-IT" sz="1000" b="1" i="0" dirty="0">
              <a:solidFill>
                <a:schemeClr val="tx1">
                  <a:lumMod val="50000"/>
                  <a:lumOff val="50000"/>
                </a:schemeClr>
              </a:solidFill>
              <a:latin typeface="Product Sans" charset="0"/>
              <a:ea typeface="Product Sans" charset="0"/>
              <a:cs typeface="Product Sans" charset="0"/>
            </a:endParaRP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A014AF17-FD43-A743-AE39-29329A37CB5D}"/>
              </a:ext>
            </a:extLst>
          </p:cNvPr>
          <p:cNvSpPr txBox="1"/>
          <p:nvPr userDrawn="1"/>
        </p:nvSpPr>
        <p:spPr>
          <a:xfrm>
            <a:off x="11415109" y="7037611"/>
            <a:ext cx="122822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i="0" dirty="0">
                <a:solidFill>
                  <a:schemeClr val="tx1">
                    <a:lumMod val="50000"/>
                    <a:lumOff val="50000"/>
                  </a:schemeClr>
                </a:solidFill>
                <a:latin typeface="Product Sans" charset="0"/>
                <a:ea typeface="Product Sans" charset="0"/>
                <a:cs typeface="Product Sans" charset="0"/>
              </a:rPr>
              <a:t>A DOCUMENT BY</a:t>
            </a:r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2C0895A9-4BA6-6246-A534-2A9C6F835872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0932" y="6972606"/>
            <a:ext cx="376232" cy="376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70" r:id="rId1"/>
    <p:sldLayoutId id="2147493517" r:id="rId2"/>
    <p:sldLayoutId id="2147493518" r:id="rId3"/>
    <p:sldLayoutId id="2147493519" r:id="rId4"/>
    <p:sldLayoutId id="2147493481" r:id="rId5"/>
    <p:sldLayoutId id="2147493506" r:id="rId6"/>
    <p:sldLayoutId id="2147493505" r:id="rId7"/>
    <p:sldLayoutId id="2147493513" r:id="rId8"/>
    <p:sldLayoutId id="2147493512" r:id="rId9"/>
    <p:sldLayoutId id="2147493508" r:id="rId10"/>
    <p:sldLayoutId id="2147493511" r:id="rId11"/>
    <p:sldLayoutId id="2147493482" r:id="rId12"/>
    <p:sldLayoutId id="2147493489" r:id="rId13"/>
    <p:sldLayoutId id="2147493503" r:id="rId14"/>
    <p:sldLayoutId id="2147493504" r:id="rId15"/>
    <p:sldLayoutId id="2147493520" r:id="rId16"/>
    <p:sldLayoutId id="2147493471" r:id="rId17"/>
    <p:sldLayoutId id="2147493500" r:id="rId18"/>
    <p:sldLayoutId id="2147493521" r:id="rId19"/>
    <p:sldLayoutId id="2147493501" r:id="rId20"/>
    <p:sldLayoutId id="2147493522" r:id="rId21"/>
    <p:sldLayoutId id="2147493523" r:id="rId22"/>
    <p:sldLayoutId id="2147493524" r:id="rId23"/>
    <p:sldLayoutId id="2147493526" r:id="rId24"/>
    <p:sldLayoutId id="2147493527" r:id="rId25"/>
    <p:sldLayoutId id="2147493525" r:id="rId26"/>
    <p:sldLayoutId id="2147493484" r:id="rId27"/>
    <p:sldLayoutId id="2147493478" r:id="rId28"/>
    <p:sldLayoutId id="2147493507" r:id="rId29"/>
    <p:sldLayoutId id="2147493486" r:id="rId30"/>
    <p:sldLayoutId id="2147493479" r:id="rId31"/>
    <p:sldLayoutId id="2147493488" r:id="rId32"/>
    <p:sldLayoutId id="2147493529" r:id="rId33"/>
    <p:sldLayoutId id="2147493528" r:id="rId34"/>
    <p:sldLayoutId id="2147493515" r:id="rId35"/>
    <p:sldLayoutId id="2147493531" r:id="rId36"/>
  </p:sldLayoutIdLst>
  <p:hf hdr="0" ftr="0"/>
  <p:txStyles>
    <p:titleStyle>
      <a:lvl1pPr algn="ctr" defTabSz="521411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58" indent="-391058" algn="l" defTabSz="521411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293" indent="-325882" algn="l" defTabSz="521411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28" indent="-260705" algn="l" defTabSz="52141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938" indent="-260705" algn="l" defTabSz="521411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50" indent="-260705" algn="l" defTabSz="521411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761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172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58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99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11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22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233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644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055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46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87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289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8917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3" r:id="rId1"/>
    <p:sldLayoutId id="2147493485" r:id="rId2"/>
    <p:sldLayoutId id="2147493516" r:id="rId3"/>
    <p:sldLayoutId id="2147493514" r:id="rId4"/>
    <p:sldLayoutId id="2147493476" r:id="rId5"/>
    <p:sldLayoutId id="2147493502" r:id="rId6"/>
    <p:sldLayoutId id="2147493538" r:id="rId7"/>
    <p:sldLayoutId id="2147493539" r:id="rId8"/>
  </p:sldLayoutIdLst>
  <p:hf hdr="0" ftr="0"/>
  <p:txStyles>
    <p:titleStyle>
      <a:lvl1pPr algn="ctr" defTabSz="521411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58" indent="-391058" algn="l" defTabSz="521411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293" indent="-325882" algn="l" defTabSz="521411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28" indent="-260705" algn="l" defTabSz="521411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938" indent="-260705" algn="l" defTabSz="521411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50" indent="-260705" algn="l" defTabSz="521411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761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172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58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994" indent="-260705" algn="l" defTabSz="521411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11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22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233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644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055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46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877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289" algn="l" defTabSz="52141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hyperlink" Target="https://fonts.google.com/specimen/Raleway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96BAAE7-5008-CC42-8176-76637A15BB0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-1223" b="-1223"/>
          <a:stretch/>
        </p:blipFill>
        <p:spPr>
          <a:xfrm>
            <a:off x="7710447" y="3289466"/>
            <a:ext cx="954476" cy="983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806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4"/>
          <p:cNvSpPr/>
          <p:nvPr/>
        </p:nvSpPr>
        <p:spPr>
          <a:xfrm>
            <a:off x="2" y="0"/>
            <a:ext cx="13444536" cy="75628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Segnaposto testo 2"/>
          <p:cNvSpPr txBox="1">
            <a:spLocks/>
          </p:cNvSpPr>
          <p:nvPr/>
        </p:nvSpPr>
        <p:spPr>
          <a:xfrm>
            <a:off x="1854651" y="3354668"/>
            <a:ext cx="9723507" cy="1325563"/>
          </a:xfrm>
          <a:prstGeom prst="rect">
            <a:avLst/>
          </a:prstGeom>
        </p:spPr>
        <p:txBody>
          <a:bodyPr anchor="ctr"/>
          <a:lstStyle>
            <a:lvl1pPr marL="391058" indent="-391058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47293" indent="-325882" algn="l" defTabSz="521411" rtl="0" eaLnBrk="1" latinLnBrk="0" hangingPunct="1">
              <a:spcBef>
                <a:spcPct val="20000"/>
              </a:spcBef>
              <a:buFont typeface="Arial"/>
              <a:buChar char="–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3528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4938" indent="-260705" algn="l" defTabSz="521411" rtl="0" eaLnBrk="1" latinLnBrk="0" hangingPunct="1">
              <a:spcBef>
                <a:spcPct val="20000"/>
              </a:spcBef>
              <a:buFont typeface="Arial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46350" indent="-260705" algn="l" defTabSz="521411" rtl="0" eaLnBrk="1" latinLnBrk="0" hangingPunct="1">
              <a:spcBef>
                <a:spcPct val="20000"/>
              </a:spcBef>
              <a:buFont typeface="Arial"/>
              <a:buChar char="»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7761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72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8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199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4799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Campagna Bike to Work</a:t>
            </a:r>
          </a:p>
          <a:p>
            <a:pPr marL="0" indent="0" algn="ctr">
              <a:buNone/>
            </a:pPr>
            <a:r>
              <a:rPr lang="it-IT" sz="2000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• Guida all’uso dei materiali di comunicazione •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"/>
            <a:ext cx="138545" cy="7562851"/>
          </a:xfrm>
          <a:prstGeom prst="rect">
            <a:avLst/>
          </a:prstGeom>
          <a:solidFill>
            <a:srgbClr val="00EF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76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690505"/>
          </a:xfrm>
        </p:spPr>
        <p:txBody>
          <a:bodyPr/>
          <a:lstStyle/>
          <a:p>
            <a:r>
              <a:rPr lang="en-US" dirty="0">
                <a:latin typeface="Montserrat Semi Bold"/>
              </a:rPr>
              <a:t>Manifesto base – Card </a:t>
            </a:r>
            <a:r>
              <a:rPr lang="en-US" dirty="0" err="1">
                <a:latin typeface="Montserrat Semi Bold"/>
              </a:rPr>
              <a:t>orizzontale</a:t>
            </a:r>
            <a:endParaRPr lang="en-US" dirty="0">
              <a:latin typeface="Montserrat Semi Bold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09D0603-2535-654E-B2CC-82BA7CACDA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2269" y="1560914"/>
            <a:ext cx="7620000" cy="50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Rettangolo 11">
            <a:extLst>
              <a:ext uri="{FF2B5EF4-FFF2-40B4-BE49-F238E27FC236}">
                <a16:creationId xmlns:a16="http://schemas.microsoft.com/office/drawing/2014/main" id="{BDFD51FE-3813-7A41-8D88-9A9F17F624BD}"/>
              </a:ext>
            </a:extLst>
          </p:cNvPr>
          <p:cNvSpPr/>
          <p:nvPr/>
        </p:nvSpPr>
        <p:spPr>
          <a:xfrm>
            <a:off x="6587613" y="2861187"/>
            <a:ext cx="3667432" cy="1828800"/>
          </a:xfrm>
          <a:prstGeom prst="rect">
            <a:avLst/>
          </a:prstGeom>
          <a:solidFill>
            <a:srgbClr val="46B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85F766ED-87DA-4C48-B41A-4AB2EDC145F1}"/>
              </a:ext>
            </a:extLst>
          </p:cNvPr>
          <p:cNvSpPr/>
          <p:nvPr/>
        </p:nvSpPr>
        <p:spPr>
          <a:xfrm>
            <a:off x="9861755" y="6056671"/>
            <a:ext cx="530942" cy="3932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5599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>
            <a:extLst>
              <a:ext uri="{FF2B5EF4-FFF2-40B4-BE49-F238E27FC236}">
                <a16:creationId xmlns:a16="http://schemas.microsoft.com/office/drawing/2014/main" id="{6DD474D7-7249-904C-950D-C3028BB877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0627" y="1601181"/>
            <a:ext cx="7620000" cy="50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7" name="Rettangolo 16">
            <a:extLst>
              <a:ext uri="{FF2B5EF4-FFF2-40B4-BE49-F238E27FC236}">
                <a16:creationId xmlns:a16="http://schemas.microsoft.com/office/drawing/2014/main" id="{AACC22F1-56AA-6B4A-B211-A311FCD61D47}"/>
              </a:ext>
            </a:extLst>
          </p:cNvPr>
          <p:cNvSpPr/>
          <p:nvPr/>
        </p:nvSpPr>
        <p:spPr>
          <a:xfrm>
            <a:off x="4925971" y="2901454"/>
            <a:ext cx="3667432" cy="1828800"/>
          </a:xfrm>
          <a:prstGeom prst="rect">
            <a:avLst/>
          </a:prstGeom>
          <a:solidFill>
            <a:srgbClr val="46B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998BA6BC-9114-294A-88EC-AFC7BB5D9029}"/>
              </a:ext>
            </a:extLst>
          </p:cNvPr>
          <p:cNvSpPr/>
          <p:nvPr/>
        </p:nvSpPr>
        <p:spPr>
          <a:xfrm>
            <a:off x="8200113" y="6096938"/>
            <a:ext cx="530942" cy="3932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690505"/>
          </a:xfrm>
        </p:spPr>
        <p:txBody>
          <a:bodyPr/>
          <a:lstStyle/>
          <a:p>
            <a:r>
              <a:rPr lang="en-US" dirty="0">
                <a:latin typeface="Montserrat Semi Bold"/>
              </a:rPr>
              <a:t>Manifesto base – Card </a:t>
            </a:r>
            <a:r>
              <a:rPr lang="en-US" dirty="0" err="1">
                <a:latin typeface="Montserrat Semi Bold"/>
              </a:rPr>
              <a:t>orizzontale</a:t>
            </a:r>
            <a:endParaRPr lang="en-US" dirty="0">
              <a:latin typeface="Montserrat Semi Bold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85F766ED-87DA-4C48-B41A-4AB2EDC145F1}"/>
              </a:ext>
            </a:extLst>
          </p:cNvPr>
          <p:cNvSpPr/>
          <p:nvPr/>
        </p:nvSpPr>
        <p:spPr>
          <a:xfrm>
            <a:off x="9861755" y="6056671"/>
            <a:ext cx="530942" cy="3932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1830DAF-5EFE-2149-9535-7078A7CA533A}"/>
              </a:ext>
            </a:extLst>
          </p:cNvPr>
          <p:cNvSpPr txBox="1"/>
          <p:nvPr/>
        </p:nvSpPr>
        <p:spPr>
          <a:xfrm>
            <a:off x="9861755" y="3119796"/>
            <a:ext cx="28820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6"/>
                </a:solidFill>
              </a:rPr>
              <a:t>Spazio per</a:t>
            </a:r>
            <a:br>
              <a:rPr lang="it-IT" b="1" dirty="0">
                <a:solidFill>
                  <a:schemeClr val="accent6"/>
                </a:solidFill>
              </a:rPr>
            </a:br>
            <a:r>
              <a:rPr lang="it-IT" b="1" dirty="0">
                <a:solidFill>
                  <a:schemeClr val="accent6"/>
                </a:solidFill>
              </a:rPr>
              <a:t>testo informativo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C7DD3AC-A2D0-C94C-AC17-FB9FA22759DD}"/>
              </a:ext>
            </a:extLst>
          </p:cNvPr>
          <p:cNvSpPr txBox="1"/>
          <p:nvPr/>
        </p:nvSpPr>
        <p:spPr>
          <a:xfrm>
            <a:off x="9861755" y="6003834"/>
            <a:ext cx="28820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accent6"/>
                </a:solidFill>
              </a:rPr>
              <a:t>Spazio per</a:t>
            </a:r>
            <a:br>
              <a:rPr lang="it-IT" b="1" dirty="0">
                <a:solidFill>
                  <a:schemeClr val="accent6"/>
                </a:solidFill>
              </a:rPr>
            </a:br>
            <a:r>
              <a:rPr lang="it-IT" b="1" dirty="0">
                <a:solidFill>
                  <a:schemeClr val="accent6"/>
                </a:solidFill>
              </a:rPr>
              <a:t>logo del Comune</a:t>
            </a:r>
          </a:p>
        </p:txBody>
      </p:sp>
      <p:cxnSp>
        <p:nvCxnSpPr>
          <p:cNvPr id="7" name="Connettore 2 6">
            <a:extLst>
              <a:ext uri="{FF2B5EF4-FFF2-40B4-BE49-F238E27FC236}">
                <a16:creationId xmlns:a16="http://schemas.microsoft.com/office/drawing/2014/main" id="{F85D5C7F-7BCA-9946-B120-EC0B08609C83}"/>
              </a:ext>
            </a:extLst>
          </p:cNvPr>
          <p:cNvCxnSpPr>
            <a:stCxn id="4" idx="1"/>
          </p:cNvCxnSpPr>
          <p:nvPr/>
        </p:nvCxnSpPr>
        <p:spPr>
          <a:xfrm flipH="1">
            <a:off x="8459833" y="3489128"/>
            <a:ext cx="1401922" cy="46166"/>
          </a:xfrm>
          <a:prstGeom prst="straightConnector1">
            <a:avLst/>
          </a:prstGeom>
          <a:ln w="38100">
            <a:tailEnd type="triangle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" name="Connettore 2 10">
            <a:extLst>
              <a:ext uri="{FF2B5EF4-FFF2-40B4-BE49-F238E27FC236}">
                <a16:creationId xmlns:a16="http://schemas.microsoft.com/office/drawing/2014/main" id="{7BB55079-152B-AA45-8F6D-567F30AE0D33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8725303" y="6303315"/>
            <a:ext cx="1136452" cy="69851"/>
          </a:xfrm>
          <a:prstGeom prst="straightConnector1">
            <a:avLst/>
          </a:prstGeom>
          <a:ln w="38100">
            <a:tailEnd type="triangle"/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4" name="Rettangolo 13">
            <a:extLst>
              <a:ext uri="{FF2B5EF4-FFF2-40B4-BE49-F238E27FC236}">
                <a16:creationId xmlns:a16="http://schemas.microsoft.com/office/drawing/2014/main" id="{451587B9-6AAD-9540-9578-47BA0128E812}"/>
              </a:ext>
            </a:extLst>
          </p:cNvPr>
          <p:cNvSpPr/>
          <p:nvPr/>
        </p:nvSpPr>
        <p:spPr>
          <a:xfrm>
            <a:off x="5060627" y="2939970"/>
            <a:ext cx="3399205" cy="1666754"/>
          </a:xfrm>
          <a:prstGeom prst="rect">
            <a:avLst/>
          </a:prstGeom>
          <a:noFill/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36BCA540-E939-5047-A902-0E1BFD6B12E8}"/>
              </a:ext>
            </a:extLst>
          </p:cNvPr>
          <p:cNvSpPr/>
          <p:nvPr/>
        </p:nvSpPr>
        <p:spPr>
          <a:xfrm>
            <a:off x="8194361" y="5955316"/>
            <a:ext cx="530942" cy="662843"/>
          </a:xfrm>
          <a:prstGeom prst="rect">
            <a:avLst/>
          </a:prstGeom>
          <a:noFill/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0588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690505"/>
          </a:xfrm>
        </p:spPr>
        <p:txBody>
          <a:bodyPr/>
          <a:lstStyle/>
          <a:p>
            <a:r>
              <a:rPr lang="en-US" dirty="0">
                <a:latin typeface="Montserrat Semi Bold"/>
              </a:rPr>
              <a:t>Manifesto </a:t>
            </a:r>
            <a:r>
              <a:rPr lang="en-US" dirty="0"/>
              <a:t>custom - Card </a:t>
            </a:r>
            <a:r>
              <a:rPr lang="en-US" dirty="0" err="1"/>
              <a:t>orizzontale</a:t>
            </a:r>
            <a:endParaRPr lang="en-US" dirty="0">
              <a:latin typeface="Montserrat Semi Bold"/>
            </a:endParaRP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09D0603-2535-654E-B2CC-82BA7CACDA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2269" y="1560914"/>
            <a:ext cx="7620000" cy="50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Rettangolo 12">
            <a:extLst>
              <a:ext uri="{FF2B5EF4-FFF2-40B4-BE49-F238E27FC236}">
                <a16:creationId xmlns:a16="http://schemas.microsoft.com/office/drawing/2014/main" id="{85F766ED-87DA-4C48-B41A-4AB2EDC145F1}"/>
              </a:ext>
            </a:extLst>
          </p:cNvPr>
          <p:cNvSpPr/>
          <p:nvPr/>
        </p:nvSpPr>
        <p:spPr>
          <a:xfrm>
            <a:off x="9861755" y="6056671"/>
            <a:ext cx="530942" cy="3932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29C5FC34-CCD8-9542-B248-6CF27EBCC9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5289"/>
          <a:stretch/>
        </p:blipFill>
        <p:spPr>
          <a:xfrm>
            <a:off x="9925379" y="6056671"/>
            <a:ext cx="403694" cy="424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361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546705" y="2453832"/>
            <a:ext cx="5767215" cy="311299"/>
          </a:xfrm>
        </p:spPr>
        <p:txBody>
          <a:bodyPr/>
          <a:lstStyle/>
          <a:p>
            <a:r>
              <a:rPr lang="en-US" sz="2000" dirty="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rPr>
              <a:t>Testo </a:t>
            </a:r>
            <a:r>
              <a:rPr lang="en-US" sz="2000" dirty="0" err="1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rPr>
              <a:t>informativo</a:t>
            </a:r>
            <a:endParaRPr lang="en-US" sz="2000" dirty="0">
              <a:solidFill>
                <a:schemeClr val="tx1"/>
              </a:solidFill>
              <a:highlight>
                <a:srgbClr val="FFFF00"/>
              </a:highlight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733654"/>
          </a:xfrm>
        </p:spPr>
        <p:txBody>
          <a:bodyPr/>
          <a:lstStyle/>
          <a:p>
            <a:r>
              <a:rPr lang="en-US" dirty="0" err="1"/>
              <a:t>Formati</a:t>
            </a:r>
            <a:r>
              <a:rPr lang="en-US" dirty="0"/>
              <a:t> </a:t>
            </a:r>
            <a:r>
              <a:rPr lang="en-US" dirty="0" err="1"/>
              <a:t>elementi</a:t>
            </a:r>
            <a:r>
              <a:rPr lang="en-US" dirty="0"/>
              <a:t> custom</a:t>
            </a:r>
            <a:endParaRPr lang="en-US" dirty="0">
              <a:latin typeface="Montserrat Semi Bold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546705" y="2900076"/>
            <a:ext cx="5805577" cy="113949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Font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: </a:t>
            </a:r>
            <a:r>
              <a:rPr lang="it-IT" sz="1400" dirty="0" err="1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Raleway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 </a:t>
            </a:r>
            <a:r>
              <a:rPr lang="it-IT" sz="1400" dirty="0" err="1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Extrabold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 (scaricabile liberamente da Google </a:t>
            </a:r>
            <a:r>
              <a:rPr lang="it-IT" sz="1400" dirty="0" err="1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Fonts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 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  <a:hlinkClick r:id="rId2"/>
              </a:rPr>
              <a:t>a questo link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Disposizione testo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: al centr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Dimensione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: variabile a seconda del testo inserito 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9F59E43-DA42-874D-A710-114F1D696932}"/>
              </a:ext>
            </a:extLst>
          </p:cNvPr>
          <p:cNvSpPr txBox="1">
            <a:spLocks/>
          </p:cNvSpPr>
          <p:nvPr/>
        </p:nvSpPr>
        <p:spPr>
          <a:xfrm>
            <a:off x="585067" y="4634044"/>
            <a:ext cx="5767215" cy="311299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defTabSz="521411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rgbClr val="808284"/>
                </a:solidFill>
                <a:latin typeface="Montserrat Light"/>
                <a:ea typeface="+mn-ea"/>
                <a:cs typeface="Montserrat Light"/>
              </a:defRPr>
            </a:lvl1pPr>
            <a:lvl2pPr marL="521410" indent="0" algn="l" defTabSz="521411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Novecento wide Book"/>
                <a:ea typeface="+mn-ea"/>
                <a:cs typeface="Novecento wide Book"/>
              </a:defRPr>
            </a:lvl2pPr>
            <a:lvl3pPr marL="1042823" indent="0" algn="l" defTabSz="521411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Novecento wide Book"/>
                <a:ea typeface="+mn-ea"/>
                <a:cs typeface="Novecento wide Book"/>
              </a:defRPr>
            </a:lvl3pPr>
            <a:lvl4pPr marL="1564233" indent="0" algn="l" defTabSz="521411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Novecento wide Book"/>
                <a:ea typeface="+mn-ea"/>
                <a:cs typeface="Novecento wide Book"/>
              </a:defRPr>
            </a:lvl4pPr>
            <a:lvl5pPr marL="2085645" indent="0" algn="l" defTabSz="521411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Novecento wide Book"/>
                <a:ea typeface="+mn-ea"/>
                <a:cs typeface="Novecento wide Book"/>
              </a:defRPr>
            </a:lvl5pPr>
            <a:lvl6pPr marL="2867761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72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8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199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rPr>
              <a:t>Logo </a:t>
            </a:r>
            <a:r>
              <a:rPr lang="en-US" sz="2000" dirty="0" err="1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rPr>
              <a:t>Comune</a:t>
            </a:r>
            <a:endParaRPr lang="en-US" sz="2000" dirty="0">
              <a:solidFill>
                <a:schemeClr val="tx1"/>
              </a:solidFill>
              <a:highlight>
                <a:srgbClr val="FFFF00"/>
              </a:highlight>
              <a:latin typeface="Montserrat Light" charset="0"/>
              <a:ea typeface="Montserrat Light" charset="0"/>
              <a:cs typeface="Montserrat Light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D304D82-B8C2-C841-8E98-FB9DD080C6C2}"/>
              </a:ext>
            </a:extLst>
          </p:cNvPr>
          <p:cNvSpPr txBox="1">
            <a:spLocks/>
          </p:cNvSpPr>
          <p:nvPr/>
        </p:nvSpPr>
        <p:spPr>
          <a:xfrm>
            <a:off x="585067" y="5080288"/>
            <a:ext cx="5767215" cy="741778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 algn="l" defTabSz="521411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None/>
              <a:defRPr sz="1200" kern="1200">
                <a:solidFill>
                  <a:srgbClr val="808284"/>
                </a:solidFill>
                <a:latin typeface="Open Sans"/>
                <a:ea typeface="+mn-ea"/>
                <a:cs typeface="Open Sans"/>
              </a:defRPr>
            </a:lvl1pPr>
            <a:lvl2pPr marL="521410" indent="0" algn="l" defTabSz="521411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2pPr>
            <a:lvl3pPr marL="1042823" indent="0" algn="l" defTabSz="521411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3pPr>
            <a:lvl4pPr marL="1564233" indent="0" algn="l" defTabSz="521411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4pPr>
            <a:lvl5pPr marL="2085645" indent="0" algn="l" defTabSz="521411" rtl="0" eaLnBrk="1" latinLnBrk="0" hangingPunct="1">
              <a:lnSpc>
                <a:spcPct val="150000"/>
              </a:lnSpc>
              <a:spcBef>
                <a:spcPct val="20000"/>
              </a:spcBef>
              <a:buFont typeface="Arial"/>
              <a:buNone/>
              <a:defRPr sz="1200" kern="1200">
                <a:solidFill>
                  <a:schemeClr val="tx1"/>
                </a:solidFill>
                <a:latin typeface="Open Sans"/>
                <a:ea typeface="+mn-ea"/>
                <a:cs typeface="Open Sans"/>
              </a:defRPr>
            </a:lvl5pPr>
            <a:lvl6pPr marL="2867761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172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058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1994" indent="-260705" algn="l" defTabSz="521411" rtl="0" eaLnBrk="1" latinLnBrk="0" hangingPunct="1">
              <a:spcBef>
                <a:spcPct val="20000"/>
              </a:spcBef>
              <a:buFont typeface="Arial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Formato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: a colo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Dimensioni</a:t>
            </a:r>
            <a:r>
              <a:rPr lang="it-IT" sz="1400" dirty="0">
                <a:solidFill>
                  <a:schemeClr val="tx1"/>
                </a:solidFill>
                <a:latin typeface="Montserrat Light" pitchFamily="2" charset="77"/>
                <a:ea typeface="Montserrat Light" charset="0"/>
                <a:cs typeface="Montserrat Light" charset="0"/>
              </a:rPr>
              <a:t>: non deve eccedere le dimensioni dei loghi a fianco.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146679AE-3FFE-A14A-8EDD-D4FBA05F5352}"/>
              </a:ext>
            </a:extLst>
          </p:cNvPr>
          <p:cNvGrpSpPr/>
          <p:nvPr/>
        </p:nvGrpSpPr>
        <p:grpSpPr>
          <a:xfrm>
            <a:off x="6825815" y="2225675"/>
            <a:ext cx="6033656" cy="4022437"/>
            <a:chOff x="6825815" y="2225675"/>
            <a:chExt cx="6033656" cy="4022437"/>
          </a:xfrm>
        </p:grpSpPr>
        <p:grpSp>
          <p:nvGrpSpPr>
            <p:cNvPr id="12" name="Gruppo 11">
              <a:extLst>
                <a:ext uri="{FF2B5EF4-FFF2-40B4-BE49-F238E27FC236}">
                  <a16:creationId xmlns:a16="http://schemas.microsoft.com/office/drawing/2014/main" id="{F071F82D-63C4-D54D-B670-3CED798DC4C9}"/>
                </a:ext>
              </a:extLst>
            </p:cNvPr>
            <p:cNvGrpSpPr/>
            <p:nvPr/>
          </p:nvGrpSpPr>
          <p:grpSpPr>
            <a:xfrm>
              <a:off x="6825815" y="2225675"/>
              <a:ext cx="6033656" cy="4022437"/>
              <a:chOff x="6825815" y="2225675"/>
              <a:chExt cx="6033656" cy="4022437"/>
            </a:xfrm>
          </p:grpSpPr>
          <p:pic>
            <p:nvPicPr>
              <p:cNvPr id="6" name="Immagine 5">
                <a:extLst>
                  <a:ext uri="{FF2B5EF4-FFF2-40B4-BE49-F238E27FC236}">
                    <a16:creationId xmlns:a16="http://schemas.microsoft.com/office/drawing/2014/main" id="{E383B4C0-84A6-2E4D-A9B8-A3171E130B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825815" y="2225675"/>
                <a:ext cx="6033656" cy="4022437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sp>
            <p:nvSpPr>
              <p:cNvPr id="11" name="Rettangolo 10">
                <a:extLst>
                  <a:ext uri="{FF2B5EF4-FFF2-40B4-BE49-F238E27FC236}">
                    <a16:creationId xmlns:a16="http://schemas.microsoft.com/office/drawing/2014/main" id="{0DE8C215-1290-6640-923F-2E162589FC2C}"/>
                  </a:ext>
                </a:extLst>
              </p:cNvPr>
              <p:cNvSpPr/>
              <p:nvPr/>
            </p:nvSpPr>
            <p:spPr>
              <a:xfrm>
                <a:off x="12246015" y="5717894"/>
                <a:ext cx="520861" cy="43983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pic>
          <p:nvPicPr>
            <p:cNvPr id="10" name="Immagine 9">
              <a:extLst>
                <a:ext uri="{FF2B5EF4-FFF2-40B4-BE49-F238E27FC236}">
                  <a16:creationId xmlns:a16="http://schemas.microsoft.com/office/drawing/2014/main" id="{1996A0D1-9F65-3247-8659-5E85ADB2F3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75289"/>
            <a:stretch/>
          </p:blipFill>
          <p:spPr>
            <a:xfrm>
              <a:off x="12343499" y="5754441"/>
              <a:ext cx="363271" cy="3823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75938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AF84A767-50D6-3F4E-8AA1-9E54664BDE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it-IT" dirty="0" err="1"/>
              <a:t>Keep</a:t>
            </a:r>
            <a:r>
              <a:rPr lang="it-IT" dirty="0"/>
              <a:t>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simple</a:t>
            </a:r>
            <a:endParaRPr lang="it-IT" dirty="0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CBDCA6E9-890E-FF42-B229-2F53B1BCCF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732655"/>
          </a:xfrm>
        </p:spPr>
        <p:txBody>
          <a:bodyPr/>
          <a:lstStyle/>
          <a:p>
            <a:r>
              <a:rPr lang="it-IT" dirty="0"/>
              <a:t>Suggerimenti utili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ADD5436-27C1-8A48-A742-5B84947CF88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it-IT" dirty="0"/>
              <a:t>Per personalizzare il manifesto non servono programmi avanzati di grafica. Anteprima e Paint, disponibili </a:t>
            </a:r>
            <a:r>
              <a:rPr lang="it-IT" dirty="0" err="1"/>
              <a:t>nativamente</a:t>
            </a:r>
            <a:r>
              <a:rPr lang="it-IT" dirty="0"/>
              <a:t> su Mac e Windows, permettono di inserire caselle di testo all’interno di un file grafico.</a:t>
            </a: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42782C4C-EEE5-964D-905E-DCB4C7CAACD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it-IT" dirty="0" err="1"/>
              <a:t>Keep</a:t>
            </a:r>
            <a:r>
              <a:rPr lang="it-IT" dirty="0"/>
              <a:t> </a:t>
            </a:r>
            <a:r>
              <a:rPr lang="it-IT" dirty="0" err="1"/>
              <a:t>its</a:t>
            </a:r>
            <a:r>
              <a:rPr lang="it-IT" dirty="0"/>
              <a:t> </a:t>
            </a:r>
            <a:r>
              <a:rPr lang="it-IT" dirty="0" err="1"/>
              <a:t>colours</a:t>
            </a:r>
            <a:endParaRPr lang="it-IT" dirty="0"/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4319A284-8BCF-C645-8C77-12696242410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it-IT" dirty="0"/>
              <a:t>All’interno del box verde scrivi in bianco. Se vuoi accentuare determinate parole (o evidenziare link) usa il colore nero.</a:t>
            </a:r>
          </a:p>
          <a:p>
            <a:endParaRPr lang="it-IT" dirty="0"/>
          </a:p>
        </p:txBody>
      </p:sp>
      <p:sp>
        <p:nvSpPr>
          <p:cNvPr id="9" name="Segnaposto testo 8">
            <a:extLst>
              <a:ext uri="{FF2B5EF4-FFF2-40B4-BE49-F238E27FC236}">
                <a16:creationId xmlns:a16="http://schemas.microsoft.com/office/drawing/2014/main" id="{612A0BBB-11A8-3B43-9468-2B61C41FE7D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it-IT" dirty="0" err="1"/>
              <a:t>Keep</a:t>
            </a:r>
            <a:r>
              <a:rPr lang="it-IT" dirty="0"/>
              <a:t> </a:t>
            </a:r>
            <a:r>
              <a:rPr lang="it-IT" dirty="0" err="1"/>
              <a:t>it</a:t>
            </a:r>
            <a:r>
              <a:rPr lang="it-IT" dirty="0"/>
              <a:t> short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4F06436E-E5AD-5F41-AB6C-8518BFCBAC7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it-IT" dirty="0"/>
              <a:t>Nel box informativo fornisci soltanto le informazioni prioritarie sul progetto del tuo Comune. Inserisci una Call to Action alla fine, magari corredata da un link a cui è possibile ottenere maggiori informazioni.</a:t>
            </a:r>
          </a:p>
        </p:txBody>
      </p:sp>
    </p:spTree>
    <p:extLst>
      <p:ext uri="{BB962C8B-B14F-4D97-AF65-F5344CB8AC3E}">
        <p14:creationId xmlns:p14="http://schemas.microsoft.com/office/powerpoint/2010/main" val="2203704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595699" y="2066984"/>
            <a:ext cx="5767215" cy="317379"/>
          </a:xfrm>
        </p:spPr>
        <p:txBody>
          <a:bodyPr/>
          <a:lstStyle/>
          <a:p>
            <a:r>
              <a:rPr lang="en-US" sz="2000" dirty="0">
                <a:solidFill>
                  <a:schemeClr val="tx1"/>
                </a:solidFill>
                <a:latin typeface="Montserrat Light" charset="0"/>
                <a:ea typeface="Montserrat Light" charset="0"/>
                <a:cs typeface="Montserrat Light" charset="0"/>
              </a:rPr>
              <a:t>Base</a:t>
            </a:r>
            <a:endParaRPr lang="en-US" sz="2000" dirty="0">
              <a:solidFill>
                <a:schemeClr val="tx1"/>
              </a:solidFill>
              <a:highlight>
                <a:srgbClr val="FFFF00"/>
              </a:highlight>
              <a:latin typeface="Montserrat Light" charset="0"/>
              <a:ea typeface="Montserrat Light" charset="0"/>
              <a:cs typeface="Montserrat Light" charset="0"/>
            </a:endParaRPr>
          </a:p>
        </p:txBody>
      </p:sp>
      <p:pic>
        <p:nvPicPr>
          <p:cNvPr id="15" name="Segnaposto immagine 14">
            <a:extLst>
              <a:ext uri="{FF2B5EF4-FFF2-40B4-BE49-F238E27FC236}">
                <a16:creationId xmlns:a16="http://schemas.microsoft.com/office/drawing/2014/main" id="{AC9179A4-F9FB-2D48-9D84-235E7D955668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 rotWithShape="1">
          <a:blip r:embed="rId2"/>
          <a:srcRect t="-115" b="168"/>
          <a:stretch/>
        </p:blipFill>
        <p:spPr>
          <a:xfrm>
            <a:off x="731905" y="2569580"/>
            <a:ext cx="4152729" cy="4150553"/>
          </a:xfrm>
        </p:spPr>
      </p:pic>
      <p:sp>
        <p:nvSpPr>
          <p:cNvPr id="9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705" y="679456"/>
            <a:ext cx="12312766" cy="732656"/>
          </a:xfrm>
        </p:spPr>
        <p:txBody>
          <a:bodyPr/>
          <a:lstStyle/>
          <a:p>
            <a:r>
              <a:rPr lang="en-US" dirty="0"/>
              <a:t>Manifesto - </a:t>
            </a:r>
            <a:r>
              <a:rPr lang="en-US" dirty="0" err="1"/>
              <a:t>Formato</a:t>
            </a:r>
            <a:r>
              <a:rPr lang="en-US" dirty="0"/>
              <a:t> </a:t>
            </a:r>
            <a:r>
              <a:rPr lang="en-US" dirty="0" err="1"/>
              <a:t>quadrato</a:t>
            </a:r>
            <a:endParaRPr lang="en-US" dirty="0">
              <a:latin typeface="Montserrat Semi Bold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7092256" y="2066985"/>
            <a:ext cx="5767215" cy="317379"/>
          </a:xfrm>
        </p:spPr>
        <p:txBody>
          <a:bodyPr/>
          <a:lstStyle/>
          <a:p>
            <a:r>
              <a:rPr lang="it-IT" sz="2000" dirty="0">
                <a:solidFill>
                  <a:schemeClr val="tx1"/>
                </a:solidFill>
                <a:latin typeface="Montserrat Light" charset="0"/>
              </a:rPr>
              <a:t>Custom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2F439D23-B540-6249-801D-7A4C6002A526}"/>
              </a:ext>
            </a:extLst>
          </p:cNvPr>
          <p:cNvSpPr/>
          <p:nvPr/>
        </p:nvSpPr>
        <p:spPr>
          <a:xfrm>
            <a:off x="1203767" y="3530278"/>
            <a:ext cx="3194613" cy="555585"/>
          </a:xfrm>
          <a:prstGeom prst="rect">
            <a:avLst/>
          </a:prstGeom>
          <a:solidFill>
            <a:srgbClr val="46B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9" name="Gruppo 18">
            <a:extLst>
              <a:ext uri="{FF2B5EF4-FFF2-40B4-BE49-F238E27FC236}">
                <a16:creationId xmlns:a16="http://schemas.microsoft.com/office/drawing/2014/main" id="{EEA6EC36-AA0E-6541-9EFF-3AA301E956C2}"/>
              </a:ext>
            </a:extLst>
          </p:cNvPr>
          <p:cNvGrpSpPr/>
          <p:nvPr/>
        </p:nvGrpSpPr>
        <p:grpSpPr>
          <a:xfrm>
            <a:off x="7092259" y="2569580"/>
            <a:ext cx="4152729" cy="4150553"/>
            <a:chOff x="7092259" y="2569580"/>
            <a:chExt cx="4152729" cy="4150553"/>
          </a:xfrm>
        </p:grpSpPr>
        <p:pic>
          <p:nvPicPr>
            <p:cNvPr id="16" name="Segnaposto immagine 14">
              <a:extLst>
                <a:ext uri="{FF2B5EF4-FFF2-40B4-BE49-F238E27FC236}">
                  <a16:creationId xmlns:a16="http://schemas.microsoft.com/office/drawing/2014/main" id="{23EE8A65-EC99-0240-ABFA-9317E3B2C1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-115" b="168"/>
            <a:stretch/>
          </p:blipFill>
          <p:spPr>
            <a:xfrm>
              <a:off x="7092259" y="2569580"/>
              <a:ext cx="4152729" cy="4150553"/>
            </a:xfrm>
            <a:prstGeom prst="rect">
              <a:avLst/>
            </a:prstGeom>
          </p:spPr>
        </p:pic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5F1591EA-5BDD-554C-8AC9-FB491F32DC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76748" b="-3270"/>
            <a:stretch/>
          </p:blipFill>
          <p:spPr>
            <a:xfrm>
              <a:off x="10880204" y="6370956"/>
              <a:ext cx="272187" cy="314452"/>
            </a:xfrm>
            <a:prstGeom prst="rect">
              <a:avLst/>
            </a:prstGeom>
          </p:spPr>
        </p:pic>
      </p:grpSp>
      <p:sp>
        <p:nvSpPr>
          <p:cNvPr id="20" name="Rettangolo 19">
            <a:extLst>
              <a:ext uri="{FF2B5EF4-FFF2-40B4-BE49-F238E27FC236}">
                <a16:creationId xmlns:a16="http://schemas.microsoft.com/office/drawing/2014/main" id="{B4053328-02B9-D74B-B733-596168C5EDDD}"/>
              </a:ext>
            </a:extLst>
          </p:cNvPr>
          <p:cNvSpPr/>
          <p:nvPr/>
        </p:nvSpPr>
        <p:spPr>
          <a:xfrm>
            <a:off x="4479403" y="6370956"/>
            <a:ext cx="312516" cy="314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8044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118" y="3447068"/>
            <a:ext cx="654304" cy="66871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586205" y="4390041"/>
            <a:ext cx="2272126" cy="331355"/>
          </a:xfrm>
          <a:prstGeom prst="rect">
            <a:avLst/>
          </a:prstGeom>
          <a:noFill/>
          <a:ln>
            <a:noFill/>
          </a:ln>
        </p:spPr>
        <p:txBody>
          <a:bodyPr wrap="none" lIns="99551" tIns="49775" rIns="99551" bIns="49775">
            <a:spAutoFit/>
          </a:bodyPr>
          <a:lstStyle/>
          <a:p>
            <a:pPr algn="ctr"/>
            <a:r>
              <a:rPr lang="en-US" sz="1500" dirty="0">
                <a:latin typeface="Product Sans" charset="0"/>
                <a:ea typeface="Product Sans" charset="0"/>
                <a:cs typeface="Product Sans" charset="0"/>
              </a:rPr>
              <a:t>CRAQDESIGNSTUDIO.IT</a:t>
            </a:r>
          </a:p>
        </p:txBody>
      </p:sp>
      <p:sp>
        <p:nvSpPr>
          <p:cNvPr id="5" name="Rectangle 4"/>
          <p:cNvSpPr/>
          <p:nvPr/>
        </p:nvSpPr>
        <p:spPr>
          <a:xfrm>
            <a:off x="5841084" y="4729450"/>
            <a:ext cx="1762371" cy="331355"/>
          </a:xfrm>
          <a:prstGeom prst="rect">
            <a:avLst/>
          </a:prstGeom>
        </p:spPr>
        <p:txBody>
          <a:bodyPr wrap="none" lIns="99551" tIns="49775" rIns="99551" bIns="49775">
            <a:spAutoFit/>
          </a:bodyPr>
          <a:lstStyle/>
          <a:p>
            <a:pPr algn="ctr"/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Product Sans" charset="0"/>
                <a:ea typeface="Product Sans" charset="0"/>
                <a:cs typeface="Product Sans" charset="0"/>
              </a:rPr>
              <a:t>STUDIO@CRAQ.IT</a:t>
            </a:r>
            <a:endParaRPr lang="en-US" sz="1500" dirty="0">
              <a:latin typeface="Product Sans" charset="0"/>
              <a:ea typeface="Product Sans" charset="0"/>
              <a:cs typeface="Product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128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o6K6yq4kWTSPlA2.DM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XBJDOgUUyiQm1Cizmsr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_cQnjzIkC4bCS2CiEt3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Gks6l4z0.vkG8BgMou9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_R1I33W0ionN2t52p_P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DBY5amh0GFuSpCzokK3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VWGIonvkCMMQ_qAwZv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LPpjFphUeV1IK0NRlMV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E.bYjqVE.blNR66WhF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QWtIE4mke.TP1R30xr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S9ijt62EecZa_rwdMh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Lw4J9Wa0KrdrY4M_h9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kBKtmGpUeBal8sz9OUt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lKqBJbX02A5bH8fJsS2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18g8o7GE.lOCJmhMD0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EzKPsn.kiJlJ_z5ZIMu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WqZUQym0yhZZdyeVHVA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fWK3aRvEqYhlH_WzrS8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qONztkvk.m.DEGy9xtK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tRyVvyVEGWgbAnXJaN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uPoaprh0SQ1gtuk_qv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aMfYUZE.UtoI417MBw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xLxK8ZaEOgx33Nr0TZ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UW8ZQ7B0CN1kE0.GdxL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CbevnrwkecrdtCArt1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krUvE68kyXCKkvBPjFg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HE.vlRPE.EAsBhe42DB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O1fYnyP0.Ozwhr9EA_.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uc2vFgiUe_eksEewVZT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cq5a3eRkGnFPdtuR8F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tN1R5h2UeC62Ts_zEEe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IacV4jt0mvGeUuQmuR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lHbnRDx0e250miRZJ3q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USGcqw2Ue7PdZFjBDq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0sHL6jaUOwzxe11xuA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4ieA.cUunAADYdvrEt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PAmLi50ez1gZh4YIM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tP7HByXUCv3jrOOGRkn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.m0Qzng0S6Yv_Ork0VK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GC4R7P7EaOKqzMuce74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FBwqEZhUWflJ992Yqd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Na1qb8YU6Mw7i9z2HZq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W545cE_kOJKHbkVGeE3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XLaOrCpkSi6dracUYV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Uzj0SREyuG3Zr_Mqe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B6z5WFfk2I5iAcNirEF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gnDHjl2U.QU3P4SKtle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l0ZOx9oEuL2j5ZP8gFv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QoUz2cvU.qqmdnbfj1K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jgESCC_kq05glbMtIr6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4Nua5ZSE2VoYAvtlWhb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dOyJfUXk2HAedEf9Os9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sFuMOPb0myHkZ2XOiJk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Me_IwS0Sm4wIacLQY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427WC2hUmxjUKE05dv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8k0kz.ckihtHvkHihG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EGpyGhEUCsr3qmc3MVe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Ejqb2F06KV6s296gu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MOXSBFrU.0fu4l3Awgi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sWQnKHEijTbPkU0bZ_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0nE3P6cEWd.6SO8knmX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CLTtsGxkmLzyepv8A3z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20IOlmHUau4LNsivwf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vaQ98csEKPT4b0Q_lyQ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2HOqu1n0Gn2uozYwiO2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XhgPGRKE.xWApO_Ofk4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7PHp55AkWpRFXrvTWJ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NTuWbEyUqmsPc2dEFk6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ZWBx9om0yLOdJ6uk2c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g1jOg_wkWxZkHiM.dAF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7JvISc60qMur.M6vkxM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jjAVuwZUyXMySpY0Jaj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Qsds9DykGnk3T27x7vW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qT7reLj0qMBP.1EEf.O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85Zh_yb0.E8SNQn_ZZ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Bj6vaOrEuE7qGo342FY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HMCKZXIkWpUfFm0Xebc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LYUXc6v0yCH0rFyFrO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S_hy3mPEiYP.cDmEfR5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e3SpuDR0y9rIp5jEVTn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2aDDUuzEqAc74Fcql2m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Hf_4.B50Kwji5bDdOCi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yORnp4eE.52Waj1_DoB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Dd7SAfbUS7VGEXTlAGY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0.v2Ocu0iE2PWTedllC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vXHXBW30ezRxjSZ2ip1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crBr_Ftkehv85aN2arM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2qOz4VDkmHn9Wn2WOdx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XTUbMJFkKnTDIAWAp9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r_kprP2Uyc8bDiFJrL8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0IL30QOEqerDHB_vm3h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mb1d3CuU6G_Bh5U07.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JL.2F99EydS629NnBBk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9SDIJRw0Kq3SCrYuNde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evNd0X0iHJECjYsgw0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UvsdJ8O0.ZyEuZT8R2X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ZahsIsDkGyAyfABq_Be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h8qHwDckar3JP7mu95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oYsZeshUiC4Jaomn_cp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dcOMrGcUe1IopgkdV57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uzZR3YCEG8ORvtNnamv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mKA6vXJ0qeJniMxS_z7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stVf3rLE6nVbEVMJ07i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VDk0LsQk6mvZXLOJ3qJ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UawSQUM0qON6UYM9cY8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JVBeXoz0S_7AS_JmXez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Faxfcx40qQRSTaBNxrZ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oW7NSEWkWfxC5NOBuH4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.YXK4UUCWrqiPv_h19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x4PHR14EOkc.kSOkgHW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TRS90lsk2WOOk6B5Sx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TNdJi470iYlSipIyH2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8dU3MFlkaeRMukBgGm4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fP.onm0K_MoNgymSec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OknxNoakezAKUnpagGd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FdaAD1bEuaNOh3jCUk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UHmX2y5k.3._obVX8y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rHyDXaMk.XeFqT4HZ7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CVMmj1CkWJkuJU8eLkX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lCHy35WkCXCZ5YQYqpX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fmK.tov0ethjHR7tv9V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EMccQToUOALVj8DhKm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HaeduQRE2BSD_C9DK0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9RvGzLaEKXgqFZa7zUb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UBcYZBpUWXmuG4gQGC9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eC5pEoHkClB8VA7g32m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32DD8C2EWFnXoG32nd3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.GNbeVXk.nzkwTw88R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oYPAlwu025PWwxZvCtZ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Mo5f8wZ0mqXFZ0DRsv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gK6uECQUmmN_.jQWg0H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FNBULnKESlz1eJS82DA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m229KyNU6_iOQVGHfc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jDLA_ihEqzFqNIYZda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N9yMRqPki5lhTlUZBWc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CJlwURUaAznctnELSc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1CHyUWPkOUqL7_Pprz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myCWJrxUW47lQwiv92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jyHbdQ00yErnnZUCo80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2jx_cPmkmnN__jIZWNz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_96E44RUWMYh7bLb5Og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9BHKJoqUGlAopXpn0s5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U9V_TnJE2yPFCF00Csi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mYnewil0GfLB__9KpNx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ZKol8PbkWn3G0.piV8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Fm_I9u6Uu0bxUJMWGZQ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l.dl3.uESLrWeoAvnVD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q.6EOR5keRBoaba4tiB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wMeZR7VEWg_gd_NSQCA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RYSNKhU2JWV3m_ikQP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lTk03ar02CzrAt_ftpi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hGSYpTUSOYyeZ.O.W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PfVQ4xr0irp9S21vrHX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h.leuPkEC5LlswuPup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2IY9C8s0WpbzioB9jM8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4M30.bYUeBC23GwKul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dGD356dkejbNW6p1wN4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tHvKNlUUmw0myZGpa8u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KbGppieUeDdwG9gWca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vmg3JekqhbpsNPzZgS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EOJVYOEmX57ejIvgSi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XY_xjQ0CCP4moqRfX8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Oq9HrGRU6a8ZaJH4.R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OM1VOeZ0qHLNQiorIT9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7dZh_tk02Utz_gFR3vd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LrBHgqaUem42OLqqqAb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wsvr.bLEWEZ1Ie25uC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OgaE4akU6ZtURcRy3lY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4Y7LUbmEy2yAQAgPkqK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YoGQGmK0qlbx6gDOxrN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6EczHfoEyHts9Rpvy_y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RK75NW.0m2j8oHhjmu5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Enph4dmE2dkWnIRkan6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UjeBw4Sk.OMGQ8JZVED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ABSVnsWka3U6j82PTnm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QmzjgYAEW_iGrU41Cv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zUed40b0CZ0S45UvDBh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KfQ7ZnkGuLv3i3G6N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PKneZajEuWQkEAPCedA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_MxBYm0Uml7SC8i0Feb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oEOBFqrkKclZYnG3tSx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kOAb9m7UWWFFidsc_gF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QBqGCzUm5nQkzeci7w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SxgIUz2kqgCmBgMGzmf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zdEFSd5kqNc2GyE8yJ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Q7jAbrj0eoe6R6g8hBj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CPhPWudU.quGJDDif83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A4beyyuESKu3hJ.lY1r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pVcYeyxUOjS10Swok_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fSskB1KEO.44WVOmPhk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9kxGSk9s02CzS4eDNdf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duaPStK0OJ4_cqrkl62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hKXPY4G0aiEknPgQd_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JPHjKyBEGUe6piJTz6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zEolmwr06o4e9V7AQK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1g332vE0GlcCcPb3XeS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MX90x7Tki.qMxctwSg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RHzZsFUmnYYlUbfZN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LSR3vu80mLiCW7JBwh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UZO1DulUujmpC4Vqgg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9ZV2_48kyuCCUS.MSJ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zciENvakawREZhJrLI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ktbG.sAUmpJ7xaQWUe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U4VhuWkU6ksM49Q.g8s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4QrejN2ECE7L075.39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9FFmwk0qVajfBTFKI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UyupSymkCt55GgYRrY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EqnwpuwEqSiy_imtnf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O950dSYUCVbbZKmEdU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h4uVfjIk.3oDN8uB6D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axNYGW0G09cLqmPnq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afVuccqkqQJnMwXLs0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dCb4N9EKjmreAv9MvO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5mHSoP0yAxozh9MGh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reWWcx_0SqY9nBtONA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1tLnMg0E2custAQZkr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pXfnEKfECmTQqtHglR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ay4.C6lEiZMdehFFhh_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QWNki5.kCJKOmbZrCfR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MYm8JIek.DUWgUgRhk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HtiqvT0EyuKwqXVHLc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C9A4NKEqyoaFMWAuD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Uu5a_gXEWA9gDV_rKT9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PH0g8HkCNyLkQV8_u3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066ZqPAECkz_3_TeXU3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yLoJHoPUeZAmnr0doz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krn2LoGk6tPk0zgNmN2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upif678E6bOnUKKVSt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d4vu22_0.1bK3._G5K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EKXxZBrUyhcSuYfcp5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FCMadwpUSaMMuSNtOk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eWQ8GrB0Sx6SjmWV56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NwOQjCdE2ABdOEYueW4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jaPj5nxUiByInrJoOu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Qq3hHySUahUyR58q0Q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mtBh_jj0K3LrxeRMr_6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lk24VxRk2Fs5aCdqiP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4Nmj7v0K4QMUaxJe1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secareW0i52BqlE6dF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0KkEoLDUiggYm13Bp9T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MiSgZDmkCfeQStdoMI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seCKKJdk.d.61TLHoT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XVeYb5xEqC0HWtjUKI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zTXoYC3kieksfclpLT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4nbJrkXUm9ECinLXqa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VKYT64eUK14nz5JmNf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bqnhXEtk6wp6dNnM0Z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OZKgL.g06Us5cSqOcM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DmgUl.Sk68Zw525krbS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GjC82bGESo1KzuGpvI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oZ.oNKL0yyhvE7MIHkI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o1kKyu3kaW13pvBWk.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zpV.JgJUyv29C_qnTCK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IJxeIjskqxOZJzTIoF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nUjV7S5ESWRllUmbo2f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gChSX0kEeFvqs4eMoA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dsJODY_kKq.2FZJA4FY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TjVofA9E2biDg8hLtGw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xxRs9nz0auoml5eFcXS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UZnmedhEyoQyp.pHqal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Ulv_MX8kqYwqQJVL_r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eNHYtWSUyHcWDNlQYi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W8tyCxFkiOQO9stCTed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8FK7Nm1kOxq35.1zTL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W_HwhrV0mkzE2jlCc7V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99I8Nc9UKeVQScuxKbp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JuyiXAV0mPARYSyWbu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7j3N9efEC1TgzpIdvj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11YH0tOUGUQkhR1rnzf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6kq_x.XkKADCXVelk_9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y9NJ70B0a2eGxnkX8Q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ik_03tDUCA7zLjD6u6rQ"/>
</p:tagLst>
</file>

<file path=ppt/theme/theme1.xml><?xml version="1.0" encoding="utf-8"?>
<a:theme xmlns:a="http://schemas.openxmlformats.org/drawingml/2006/main" name="CRAQ - Intestata">
  <a:themeElements>
    <a:clrScheme name="Craq Design Studio">
      <a:dk1>
        <a:srgbClr val="000000"/>
      </a:dk1>
      <a:lt1>
        <a:srgbClr val="FFFFFF"/>
      </a:lt1>
      <a:dk2>
        <a:srgbClr val="58595B"/>
      </a:dk2>
      <a:lt2>
        <a:srgbClr val="808284"/>
      </a:lt2>
      <a:accent1>
        <a:srgbClr val="00A99D"/>
      </a:accent1>
      <a:accent2>
        <a:srgbClr val="8BC34A"/>
      </a:accent2>
      <a:accent3>
        <a:srgbClr val="3F51B5"/>
      </a:accent3>
      <a:accent4>
        <a:srgbClr val="FFC107"/>
      </a:accent4>
      <a:accent5>
        <a:srgbClr val="FF5722"/>
      </a:accent5>
      <a:accent6>
        <a:srgbClr val="E91E6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RAQ - Vuota">
  <a:themeElements>
    <a:clrScheme name="Craq Design Studio">
      <a:dk1>
        <a:sysClr val="windowText" lastClr="000000"/>
      </a:dk1>
      <a:lt1>
        <a:sysClr val="window" lastClr="FFFFFF"/>
      </a:lt1>
      <a:dk2>
        <a:srgbClr val="3C3C3B"/>
      </a:dk2>
      <a:lt2>
        <a:srgbClr val="EDEDED"/>
      </a:lt2>
      <a:accent1>
        <a:srgbClr val="00A19A"/>
      </a:accent1>
      <a:accent2>
        <a:srgbClr val="D60B52"/>
      </a:accent2>
      <a:accent3>
        <a:srgbClr val="3C3C3B"/>
      </a:accent3>
      <a:accent4>
        <a:srgbClr val="706F6F"/>
      </a:accent4>
      <a:accent5>
        <a:srgbClr val="B2B2B2"/>
      </a:accent5>
      <a:accent6>
        <a:srgbClr val="EDEDE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F77520A5EE4194AAE0E9CCDF0F10380" ma:contentTypeVersion="26" ma:contentTypeDescription="Creare un nuovo documento." ma:contentTypeScope="" ma:versionID="0531010858a2a2528aae2742a7678306">
  <xsd:schema xmlns:xsd="http://www.w3.org/2001/XMLSchema" xmlns:xs="http://www.w3.org/2001/XMLSchema" xmlns:p="http://schemas.microsoft.com/office/2006/metadata/properties" xmlns:ns2="e7c786ba-63a4-4e8f-9b25-6cce7c3cef24" xmlns:ns3="8a7b9350-c968-4981-9d83-fb5f969cfbdd" targetNamespace="http://schemas.microsoft.com/office/2006/metadata/properties" ma:root="true" ma:fieldsID="f7f854722cfd7b22082896dd77743890" ns2:_="" ns3:_="">
    <xsd:import namespace="e7c786ba-63a4-4e8f-9b25-6cce7c3cef24"/>
    <xsd:import namespace="8a7b9350-c968-4981-9d83-fb5f969cfb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c786ba-63a4-4e8f-9b25-6cce7c3cef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7b9350-c968-4981-9d83-fb5f969cfbdd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7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D740AD-6E0A-4C2B-A0C9-35E5ABB69C56}"/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metadata/properties"/>
    <ds:schemaRef ds:uri="http://schemas.microsoft.com/office/infopath/2007/PartnerControls"/>
    <ds:schemaRef ds:uri="http://schemas.microsoft.com/sharepoint/v3/field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6</TotalTime>
  <Words>205</Words>
  <Application>Microsoft Macintosh PowerPoint</Application>
  <PresentationFormat>Personalizzato</PresentationFormat>
  <Paragraphs>27</Paragraphs>
  <Slides>9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Titoli diapositive</vt:lpstr>
      </vt:variant>
      <vt:variant>
        <vt:i4>9</vt:i4>
      </vt:variant>
    </vt:vector>
  </HeadingPairs>
  <TitlesOfParts>
    <vt:vector size="20" baseType="lpstr">
      <vt:lpstr>Arial</vt:lpstr>
      <vt:lpstr>Calibri</vt:lpstr>
      <vt:lpstr>Montserrat</vt:lpstr>
      <vt:lpstr>Montserrat Light</vt:lpstr>
      <vt:lpstr>Montserrat Semi Bold</vt:lpstr>
      <vt:lpstr>Novecento wide Book</vt:lpstr>
      <vt:lpstr>Novecento wide DemiBold</vt:lpstr>
      <vt:lpstr>Open Sans</vt:lpstr>
      <vt:lpstr>Product Sans</vt:lpstr>
      <vt:lpstr>CRAQ - Intestata</vt:lpstr>
      <vt:lpstr>CRAQ - Vuot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e Baruzzi</dc:creator>
  <cp:lastModifiedBy>Pierre Maurice Reverberi</cp:lastModifiedBy>
  <cp:revision>49</cp:revision>
  <dcterms:created xsi:type="dcterms:W3CDTF">2021-03-25T14:43:44Z</dcterms:created>
  <dcterms:modified xsi:type="dcterms:W3CDTF">2021-12-13T10:5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77520A5EE4194AAE0E9CCDF0F10380</vt:lpwstr>
  </property>
</Properties>
</file>